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4"/>
    <p:sldMasterId id="2147483683" r:id="rId5"/>
    <p:sldMasterId id="2147483694" r:id="rId6"/>
  </p:sldMasterIdLst>
  <p:notesMasterIdLst>
    <p:notesMasterId r:id="rId32"/>
  </p:notesMasterIdLst>
  <p:handoutMasterIdLst>
    <p:handoutMasterId r:id="rId33"/>
  </p:handoutMasterIdLst>
  <p:sldIdLst>
    <p:sldId id="420" r:id="rId7"/>
    <p:sldId id="406" r:id="rId8"/>
    <p:sldId id="424" r:id="rId9"/>
    <p:sldId id="302" r:id="rId10"/>
    <p:sldId id="378" r:id="rId11"/>
    <p:sldId id="375" r:id="rId12"/>
    <p:sldId id="396" r:id="rId13"/>
    <p:sldId id="402" r:id="rId14"/>
    <p:sldId id="403" r:id="rId15"/>
    <p:sldId id="407" r:id="rId16"/>
    <p:sldId id="390" r:id="rId17"/>
    <p:sldId id="408" r:id="rId18"/>
    <p:sldId id="380" r:id="rId19"/>
    <p:sldId id="416" r:id="rId20"/>
    <p:sldId id="409" r:id="rId21"/>
    <p:sldId id="414" r:id="rId22"/>
    <p:sldId id="415" r:id="rId23"/>
    <p:sldId id="418" r:id="rId24"/>
    <p:sldId id="422" r:id="rId25"/>
    <p:sldId id="425" r:id="rId26"/>
    <p:sldId id="426" r:id="rId27"/>
    <p:sldId id="427" r:id="rId28"/>
    <p:sldId id="428" r:id="rId29"/>
    <p:sldId id="429" r:id="rId30"/>
    <p:sldId id="430"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71"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vramiotis Falireas Nikolaos Iason" initials="AFNI" lastIdx="2" clrIdx="0"/>
  <p:cmAuthor id="1" name="Ricardo Renedo Williams" initials="RRW" lastIdx="1" clrIdx="1">
    <p:extLst>
      <p:ext uri="{19B8F6BF-5375-455C-9EA6-DF929625EA0E}">
        <p15:presenceInfo xmlns:p15="http://schemas.microsoft.com/office/powerpoint/2012/main" userId="S-1-5-21-2813079074-701566666-4029335131-143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99"/>
    <a:srgbClr val="006600"/>
    <a:srgbClr val="F7A431"/>
    <a:srgbClr val="A6A6A6"/>
    <a:srgbClr val="23618E"/>
    <a:srgbClr val="9999FF"/>
    <a:srgbClr val="734267"/>
    <a:srgbClr val="0000FF"/>
    <a:srgbClr val="008000"/>
    <a:srgbClr val="66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405" autoAdjust="0"/>
    <p:restoredTop sz="83727" autoAdjust="0"/>
  </p:normalViewPr>
  <p:slideViewPr>
    <p:cSldViewPr showGuides="1">
      <p:cViewPr varScale="1">
        <p:scale>
          <a:sx n="68" d="100"/>
          <a:sy n="68" d="100"/>
        </p:scale>
        <p:origin x="96" y="504"/>
      </p:cViewPr>
      <p:guideLst>
        <p:guide orient="horz" pos="1071"/>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howGuides="1">
      <p:cViewPr varScale="1">
        <p:scale>
          <a:sx n="82" d="100"/>
          <a:sy n="82" d="100"/>
        </p:scale>
        <p:origin x="3876" y="84"/>
      </p:cViewPr>
      <p:guideLst>
        <p:guide orient="horz" pos="2880"/>
        <p:guide pos="2160"/>
      </p:guideLst>
    </p:cSldViewPr>
  </p:notesViewPr>
  <p:gridSpacing cx="144001" cy="144001"/>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7EBA1B-7F80-4727-BE40-BB411F45D044}" type="datetimeFigureOut">
              <a:rPr lang="en-GB" smtClean="0"/>
              <a:t> </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57DB559-713B-4E96-84FF-05D9243E812D}" type="slidenum">
              <a:rPr lang="en-GB" smtClean="0"/>
              <a:t>‹#›</a:t>
            </a:fld>
            <a:endParaRPr lang="en-GB"/>
          </a:p>
        </p:txBody>
      </p:sp>
    </p:spTree>
    <p:extLst>
      <p:ext uri="{BB962C8B-B14F-4D97-AF65-F5344CB8AC3E}">
        <p14:creationId xmlns:p14="http://schemas.microsoft.com/office/powerpoint/2010/main" val="37138295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D27406F-B900-4342-8BCB-9C4F95F164A2}" type="datetimeFigureOut">
              <a:rPr lang="en-IE" smtClean="0"/>
              <a:t>27/06/2019</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54F941-CA63-4497-9FC5-B8CC453FABDA}" type="slidenum">
              <a:rPr lang="en-IE" smtClean="0"/>
              <a:t>‹#›</a:t>
            </a:fld>
            <a:endParaRPr lang="en-IE"/>
          </a:p>
        </p:txBody>
      </p:sp>
    </p:spTree>
    <p:extLst>
      <p:ext uri="{BB962C8B-B14F-4D97-AF65-F5344CB8AC3E}">
        <p14:creationId xmlns:p14="http://schemas.microsoft.com/office/powerpoint/2010/main" val="21101252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354F941-CA63-4497-9FC5-B8CC453FABDA}" type="slidenum">
              <a:rPr lang="en-IE" smtClean="0"/>
              <a:t>4</a:t>
            </a:fld>
            <a:endParaRPr lang="en-IE"/>
          </a:p>
        </p:txBody>
      </p:sp>
    </p:spTree>
    <p:extLst>
      <p:ext uri="{BB962C8B-B14F-4D97-AF65-F5344CB8AC3E}">
        <p14:creationId xmlns:p14="http://schemas.microsoft.com/office/powerpoint/2010/main" val="863354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354F941-CA63-4497-9FC5-B8CC453FABDA}" type="slidenum">
              <a:rPr lang="en-IE" smtClean="0"/>
              <a:t>6</a:t>
            </a:fld>
            <a:endParaRPr lang="en-IE"/>
          </a:p>
        </p:txBody>
      </p:sp>
    </p:spTree>
    <p:extLst>
      <p:ext uri="{BB962C8B-B14F-4D97-AF65-F5344CB8AC3E}">
        <p14:creationId xmlns:p14="http://schemas.microsoft.com/office/powerpoint/2010/main" val="6164965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354F941-CA63-4497-9FC5-B8CC453FABDA}" type="slidenum">
              <a:rPr lang="en-IE" smtClean="0"/>
              <a:t>7</a:t>
            </a:fld>
            <a:endParaRPr lang="en-IE"/>
          </a:p>
        </p:txBody>
      </p:sp>
    </p:spTree>
    <p:extLst>
      <p:ext uri="{BB962C8B-B14F-4D97-AF65-F5344CB8AC3E}">
        <p14:creationId xmlns:p14="http://schemas.microsoft.com/office/powerpoint/2010/main" val="16946185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b="1" dirty="0">
              <a:solidFill>
                <a:srgbClr val="FF0000"/>
              </a:solidFill>
            </a:endParaRPr>
          </a:p>
        </p:txBody>
      </p:sp>
      <p:sp>
        <p:nvSpPr>
          <p:cNvPr id="4" name="Foliennummernplatzhalter 3"/>
          <p:cNvSpPr>
            <a:spLocks noGrp="1"/>
          </p:cNvSpPr>
          <p:nvPr>
            <p:ph type="sldNum" sz="quarter" idx="5"/>
          </p:nvPr>
        </p:nvSpPr>
        <p:spPr/>
        <p:txBody>
          <a:bodyPr/>
          <a:lstStyle/>
          <a:p>
            <a:fld id="{8354F941-CA63-4497-9FC5-B8CC453FABDA}" type="slidenum">
              <a:rPr lang="en-US" smtClean="0"/>
              <a:t>11</a:t>
            </a:fld>
            <a:endParaRPr lang="en-US" dirty="0"/>
          </a:p>
        </p:txBody>
      </p:sp>
    </p:spTree>
    <p:extLst>
      <p:ext uri="{BB962C8B-B14F-4D97-AF65-F5344CB8AC3E}">
        <p14:creationId xmlns:p14="http://schemas.microsoft.com/office/powerpoint/2010/main" val="39526892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354F941-CA63-4497-9FC5-B8CC453FABDA}" type="slidenum">
              <a:rPr lang="en-IE" smtClean="0"/>
              <a:t>13</a:t>
            </a:fld>
            <a:endParaRPr lang="en-IE"/>
          </a:p>
        </p:txBody>
      </p:sp>
    </p:spTree>
    <p:extLst>
      <p:ext uri="{BB962C8B-B14F-4D97-AF65-F5344CB8AC3E}">
        <p14:creationId xmlns:p14="http://schemas.microsoft.com/office/powerpoint/2010/main" val="26169835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354F941-CA63-4497-9FC5-B8CC453FABDA}" type="slidenum">
              <a:rPr lang="en-IE" smtClean="0"/>
              <a:t>15</a:t>
            </a:fld>
            <a:endParaRPr lang="en-IE"/>
          </a:p>
        </p:txBody>
      </p:sp>
    </p:spTree>
    <p:extLst>
      <p:ext uri="{BB962C8B-B14F-4D97-AF65-F5344CB8AC3E}">
        <p14:creationId xmlns:p14="http://schemas.microsoft.com/office/powerpoint/2010/main" val="15176979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354F941-CA63-4497-9FC5-B8CC453FABDA}" type="slidenum">
              <a:rPr lang="en-IE" smtClean="0"/>
              <a:t>16</a:t>
            </a:fld>
            <a:endParaRPr lang="en-IE"/>
          </a:p>
        </p:txBody>
      </p:sp>
    </p:spTree>
    <p:extLst>
      <p:ext uri="{BB962C8B-B14F-4D97-AF65-F5344CB8AC3E}">
        <p14:creationId xmlns:p14="http://schemas.microsoft.com/office/powerpoint/2010/main" val="18840094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354F941-CA63-4497-9FC5-B8CC453FABDA}" type="slidenum">
              <a:rPr lang="en-IE" smtClean="0"/>
              <a:t>17</a:t>
            </a:fld>
            <a:endParaRPr lang="en-IE"/>
          </a:p>
        </p:txBody>
      </p:sp>
    </p:spTree>
    <p:extLst>
      <p:ext uri="{BB962C8B-B14F-4D97-AF65-F5344CB8AC3E}">
        <p14:creationId xmlns:p14="http://schemas.microsoft.com/office/powerpoint/2010/main" val="38778845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354F941-CA63-4497-9FC5-B8CC453FABDA}" type="slidenum">
              <a:rPr lang="en-IE" smtClean="0"/>
              <a:t>19</a:t>
            </a:fld>
            <a:endParaRPr lang="en-IE"/>
          </a:p>
        </p:txBody>
      </p:sp>
    </p:spTree>
    <p:extLst>
      <p:ext uri="{BB962C8B-B14F-4D97-AF65-F5344CB8AC3E}">
        <p14:creationId xmlns:p14="http://schemas.microsoft.com/office/powerpoint/2010/main" val="12885139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image" Target="../media/image11.jpeg"/><Relationship Id="rId7" Type="http://schemas.openxmlformats.org/officeDocument/2006/relationships/image" Target="../media/image15.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jpeg"/><Relationship Id="rId7" Type="http://schemas.openxmlformats.org/officeDocument/2006/relationships/image" Target="../media/image14.jpeg"/><Relationship Id="rId2" Type="http://schemas.openxmlformats.org/officeDocument/2006/relationships/image" Target="../media/image17.jpeg"/><Relationship Id="rId1" Type="http://schemas.openxmlformats.org/officeDocument/2006/relationships/slideMaster" Target="../slideMasters/slideMaster2.xml"/><Relationship Id="rId6" Type="http://schemas.openxmlformats.org/officeDocument/2006/relationships/image" Target="../media/image13.jpeg"/><Relationship Id="rId5" Type="http://schemas.openxmlformats.org/officeDocument/2006/relationships/image" Target="../media/image12.jpeg"/><Relationship Id="rId10" Type="http://schemas.openxmlformats.org/officeDocument/2006/relationships/image" Target="../media/image19.png"/><Relationship Id="rId4" Type="http://schemas.openxmlformats.org/officeDocument/2006/relationships/image" Target="../media/image11.jpeg"/><Relationship Id="rId9" Type="http://schemas.openxmlformats.org/officeDocument/2006/relationships/image" Target="../media/image18.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4.jpeg"/><Relationship Id="rId13" Type="http://schemas.openxmlformats.org/officeDocument/2006/relationships/image" Target="../media/image29.png"/><Relationship Id="rId18" Type="http://schemas.openxmlformats.org/officeDocument/2006/relationships/image" Target="../media/image34.png"/><Relationship Id="rId26" Type="http://schemas.openxmlformats.org/officeDocument/2006/relationships/image" Target="../media/image42.jpeg"/><Relationship Id="rId39" Type="http://schemas.openxmlformats.org/officeDocument/2006/relationships/image" Target="../media/image54.png"/><Relationship Id="rId3" Type="http://schemas.openxmlformats.org/officeDocument/2006/relationships/slideMaster" Target="../slideMasters/slideMaster3.xml"/><Relationship Id="rId21" Type="http://schemas.openxmlformats.org/officeDocument/2006/relationships/image" Target="../media/image37.png"/><Relationship Id="rId34" Type="http://schemas.openxmlformats.org/officeDocument/2006/relationships/image" Target="cid:image004.jpg@01D2D870.6B062FB0" TargetMode="External"/><Relationship Id="rId7" Type="http://schemas.openxmlformats.org/officeDocument/2006/relationships/image" Target="../media/image23.jpeg"/><Relationship Id="rId12" Type="http://schemas.openxmlformats.org/officeDocument/2006/relationships/image" Target="../media/image28.jpeg"/><Relationship Id="rId17" Type="http://schemas.openxmlformats.org/officeDocument/2006/relationships/image" Target="../media/image33.png"/><Relationship Id="rId25" Type="http://schemas.openxmlformats.org/officeDocument/2006/relationships/image" Target="../media/image41.jpeg"/><Relationship Id="rId33" Type="http://schemas.openxmlformats.org/officeDocument/2006/relationships/image" Target="../media/image49.jpeg"/><Relationship Id="rId38" Type="http://schemas.openxmlformats.org/officeDocument/2006/relationships/image" Target="../media/image53.png"/><Relationship Id="rId2" Type="http://schemas.openxmlformats.org/officeDocument/2006/relationships/tags" Target="../tags/tag5.xml"/><Relationship Id="rId16" Type="http://schemas.openxmlformats.org/officeDocument/2006/relationships/image" Target="../media/image32.jpeg"/><Relationship Id="rId20" Type="http://schemas.openxmlformats.org/officeDocument/2006/relationships/image" Target="../media/image36.wmf"/><Relationship Id="rId29" Type="http://schemas.openxmlformats.org/officeDocument/2006/relationships/image" Target="../media/image45.png"/><Relationship Id="rId1" Type="http://schemas.openxmlformats.org/officeDocument/2006/relationships/vmlDrawing" Target="../drawings/vmlDrawing4.vml"/><Relationship Id="rId6" Type="http://schemas.openxmlformats.org/officeDocument/2006/relationships/image" Target="../media/image22.png"/><Relationship Id="rId11" Type="http://schemas.openxmlformats.org/officeDocument/2006/relationships/image" Target="../media/image27.png"/><Relationship Id="rId24" Type="http://schemas.openxmlformats.org/officeDocument/2006/relationships/image" Target="../media/image40.jpeg"/><Relationship Id="rId32" Type="http://schemas.openxmlformats.org/officeDocument/2006/relationships/image" Target="../media/image48.png"/><Relationship Id="rId37" Type="http://schemas.openxmlformats.org/officeDocument/2006/relationships/image" Target="../media/image52.png"/><Relationship Id="rId5" Type="http://schemas.openxmlformats.org/officeDocument/2006/relationships/image" Target="../media/image21.emf"/><Relationship Id="rId15" Type="http://schemas.openxmlformats.org/officeDocument/2006/relationships/image" Target="../media/image31.png"/><Relationship Id="rId23" Type="http://schemas.openxmlformats.org/officeDocument/2006/relationships/image" Target="../media/image39.png"/><Relationship Id="rId28" Type="http://schemas.openxmlformats.org/officeDocument/2006/relationships/image" Target="../media/image44.jpeg"/><Relationship Id="rId36" Type="http://schemas.openxmlformats.org/officeDocument/2006/relationships/image" Target="../media/image51.png"/><Relationship Id="rId10" Type="http://schemas.openxmlformats.org/officeDocument/2006/relationships/image" Target="../media/image26.jpeg"/><Relationship Id="rId19" Type="http://schemas.openxmlformats.org/officeDocument/2006/relationships/image" Target="../media/image35.png"/><Relationship Id="rId31" Type="http://schemas.openxmlformats.org/officeDocument/2006/relationships/image" Target="../media/image47.jpeg"/><Relationship Id="rId4" Type="http://schemas.openxmlformats.org/officeDocument/2006/relationships/oleObject" Target="../embeddings/oleObject4.bin"/><Relationship Id="rId9" Type="http://schemas.openxmlformats.org/officeDocument/2006/relationships/image" Target="../media/image25.png"/><Relationship Id="rId14" Type="http://schemas.openxmlformats.org/officeDocument/2006/relationships/image" Target="../media/image30.jpeg"/><Relationship Id="rId22" Type="http://schemas.openxmlformats.org/officeDocument/2006/relationships/image" Target="../media/image38.png"/><Relationship Id="rId27" Type="http://schemas.openxmlformats.org/officeDocument/2006/relationships/image" Target="../media/image43.jpeg"/><Relationship Id="rId30" Type="http://schemas.openxmlformats.org/officeDocument/2006/relationships/image" Target="../media/image46.png"/><Relationship Id="rId35" Type="http://schemas.openxmlformats.org/officeDocument/2006/relationships/image" Target="../media/image50.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f presentation">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4E6D71C-ACD7-49D2-9689-F9C4024FAC38}" type="slidenum">
              <a:rPr lang="en-US" smtClean="0"/>
              <a:t>‹#›</a:t>
            </a:fld>
            <a:endParaRPr lang="en-US" dirty="0"/>
          </a:p>
        </p:txBody>
      </p:sp>
      <p:sp>
        <p:nvSpPr>
          <p:cNvPr id="4" name="Rectangle 3"/>
          <p:cNvSpPr/>
          <p:nvPr userDrawn="1"/>
        </p:nvSpPr>
        <p:spPr>
          <a:xfrm>
            <a:off x="515939" y="549275"/>
            <a:ext cx="11160124" cy="5759450"/>
          </a:xfrm>
          <a:prstGeom prst="rect">
            <a:avLst/>
          </a:prstGeom>
          <a:solidFill>
            <a:srgbClr val="034F8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 name="Straight Connector 4"/>
          <p:cNvCxnSpPr>
            <a:cxnSpLocks/>
          </p:cNvCxnSpPr>
          <p:nvPr userDrawn="1"/>
        </p:nvCxnSpPr>
        <p:spPr>
          <a:xfrm>
            <a:off x="1794933" y="5584775"/>
            <a:ext cx="919710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itle 9"/>
          <p:cNvSpPr>
            <a:spLocks noGrp="1"/>
          </p:cNvSpPr>
          <p:nvPr>
            <p:ph type="title" hasCustomPrompt="1"/>
          </p:nvPr>
        </p:nvSpPr>
        <p:spPr>
          <a:xfrm>
            <a:off x="1794933" y="2002342"/>
            <a:ext cx="8753895" cy="1470288"/>
          </a:xfrm>
        </p:spPr>
        <p:txBody>
          <a:bodyPr/>
          <a:lstStyle>
            <a:lvl1pPr algn="r">
              <a:defRPr sz="6600">
                <a:solidFill>
                  <a:schemeClr val="bg1"/>
                </a:solidFill>
              </a:defRPr>
            </a:lvl1pPr>
          </a:lstStyle>
          <a:p>
            <a:r>
              <a:rPr lang="en-US" sz="6000" dirty="0"/>
              <a:t>TITLE OF THE PRESENTATION</a:t>
            </a:r>
          </a:p>
        </p:txBody>
      </p:sp>
      <p:sp>
        <p:nvSpPr>
          <p:cNvPr id="14" name="Content Placeholder 13"/>
          <p:cNvSpPr>
            <a:spLocks noGrp="1"/>
          </p:cNvSpPr>
          <p:nvPr>
            <p:ph sz="quarter" idx="11" hasCustomPrompt="1"/>
          </p:nvPr>
        </p:nvSpPr>
        <p:spPr>
          <a:xfrm>
            <a:off x="6163092" y="3778245"/>
            <a:ext cx="4326467" cy="946155"/>
          </a:xfrm>
        </p:spPr>
        <p:txBody>
          <a:bodyPr/>
          <a:lstStyle>
            <a:lvl1pPr marL="0" indent="0" algn="r">
              <a:lnSpc>
                <a:spcPct val="100000"/>
              </a:lnSpc>
              <a:buNone/>
              <a:defRPr lang="en-US" sz="2400" b="1" i="0" kern="1200" baseline="0" dirty="0" smtClean="0">
                <a:solidFill>
                  <a:schemeClr val="bg1"/>
                </a:solidFill>
                <a:latin typeface="Arial" charset="0"/>
                <a:ea typeface="Arial" charset="0"/>
                <a:cs typeface="Arial" charset="0"/>
              </a:defRPr>
            </a:lvl1pPr>
          </a:lstStyle>
          <a:p>
            <a:r>
              <a:rPr lang="en-US" sz="2400" dirty="0"/>
              <a:t>Name of the presenter</a:t>
            </a:r>
          </a:p>
          <a:p>
            <a:r>
              <a:rPr lang="en-US" sz="2400" b="0" dirty="0"/>
              <a:t>Title of the presenter</a:t>
            </a:r>
          </a:p>
        </p:txBody>
      </p:sp>
      <p:sp>
        <p:nvSpPr>
          <p:cNvPr id="19" name="Text Placeholder 18"/>
          <p:cNvSpPr>
            <a:spLocks noGrp="1"/>
          </p:cNvSpPr>
          <p:nvPr>
            <p:ph type="body" sz="quarter" idx="12" hasCustomPrompt="1"/>
          </p:nvPr>
        </p:nvSpPr>
        <p:spPr>
          <a:xfrm>
            <a:off x="6162675" y="4724400"/>
            <a:ext cx="4327525" cy="787400"/>
          </a:xfrm>
        </p:spPr>
        <p:txBody>
          <a:bodyPr>
            <a:normAutofit/>
          </a:bodyPr>
          <a:lstStyle>
            <a:lvl1pPr marL="0" indent="0" algn="r" defTabSz="914400" rtl="0" eaLnBrk="1" latinLnBrk="0" hangingPunct="1">
              <a:lnSpc>
                <a:spcPct val="90000"/>
              </a:lnSpc>
              <a:spcBef>
                <a:spcPct val="0"/>
              </a:spcBef>
              <a:buNone/>
              <a:defRPr lang="en-US" sz="1400" b="1" i="0" kern="1200" baseline="0" dirty="0" smtClean="0">
                <a:solidFill>
                  <a:schemeClr val="bg1"/>
                </a:solidFill>
                <a:latin typeface="Arial" charset="0"/>
                <a:ea typeface="Arial" charset="0"/>
                <a:cs typeface="Arial" charset="0"/>
              </a:defRPr>
            </a:lvl1pPr>
          </a:lstStyle>
          <a:p>
            <a:r>
              <a:rPr lang="en-US" sz="1400" dirty="0"/>
              <a:t>Name of the event</a:t>
            </a:r>
          </a:p>
          <a:p>
            <a:r>
              <a:rPr lang="en-US" sz="1400" b="0" dirty="0"/>
              <a:t>Date of the event</a:t>
            </a:r>
          </a:p>
        </p:txBody>
      </p:sp>
      <p:pic>
        <p:nvPicPr>
          <p:cNvPr id="8" name="Picture 7">
            <a:extLst>
              <a:ext uri="{FF2B5EF4-FFF2-40B4-BE49-F238E27FC236}">
                <a16:creationId xmlns:a16="http://schemas.microsoft.com/office/drawing/2014/main" id="{CBA59366-CF9D-46BD-B251-1F2B2C163A2B}"/>
              </a:ext>
            </a:extLst>
          </p:cNvPr>
          <p:cNvPicPr/>
          <p:nvPr userDrawn="1"/>
        </p:nvPicPr>
        <p:blipFill>
          <a:blip r:embed="rId2"/>
          <a:stretch>
            <a:fillRect/>
          </a:stretch>
        </p:blipFill>
        <p:spPr>
          <a:xfrm>
            <a:off x="10187649" y="6308725"/>
            <a:ext cx="1488414" cy="399548"/>
          </a:xfrm>
          <a:prstGeom prst="rect">
            <a:avLst/>
          </a:prstGeom>
        </p:spPr>
      </p:pic>
    </p:spTree>
    <p:extLst>
      <p:ext uri="{BB962C8B-B14F-4D97-AF65-F5344CB8AC3E}">
        <p14:creationId xmlns:p14="http://schemas.microsoft.com/office/powerpoint/2010/main" val="1732957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arguments and tex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4E6D71C-ACD7-49D2-9689-F9C4024FAC38}" type="slidenum">
              <a:rPr lang="en-US" smtClean="0"/>
              <a:t>‹#›</a:t>
            </a:fld>
            <a:endParaRPr lang="en-US" dirty="0"/>
          </a:p>
        </p:txBody>
      </p:sp>
      <p:sp>
        <p:nvSpPr>
          <p:cNvPr id="26" name="Content Placeholder 5"/>
          <p:cNvSpPr>
            <a:spLocks noGrp="1"/>
          </p:cNvSpPr>
          <p:nvPr>
            <p:ph sz="quarter" idx="14" hasCustomPrompt="1"/>
          </p:nvPr>
        </p:nvSpPr>
        <p:spPr>
          <a:xfrm>
            <a:off x="6717506" y="928233"/>
            <a:ext cx="4958107" cy="322710"/>
          </a:xfrm>
          <a:solidFill>
            <a:srgbClr val="397099"/>
          </a:solidFill>
        </p:spPr>
        <p:txBody>
          <a:bodyPr>
            <a:noAutofit/>
          </a:bodyPr>
          <a:lstStyle>
            <a:lvl1pPr marL="0" indent="0">
              <a:buNone/>
              <a:defRPr sz="2000" b="1">
                <a:solidFill>
                  <a:schemeClr val="bg1"/>
                </a:solidFill>
              </a:defRPr>
            </a:lvl1pPr>
          </a:lstStyle>
          <a:p>
            <a:pPr lvl="0"/>
            <a:r>
              <a:rPr lang="en-US" dirty="0"/>
              <a:t>ITEM 1</a:t>
            </a:r>
          </a:p>
        </p:txBody>
      </p:sp>
      <p:sp>
        <p:nvSpPr>
          <p:cNvPr id="27" name="Content Placeholder 5"/>
          <p:cNvSpPr>
            <a:spLocks noGrp="1"/>
          </p:cNvSpPr>
          <p:nvPr>
            <p:ph sz="quarter" idx="20" hasCustomPrompt="1"/>
          </p:nvPr>
        </p:nvSpPr>
        <p:spPr>
          <a:xfrm>
            <a:off x="6717506" y="2775088"/>
            <a:ext cx="4958107" cy="322710"/>
          </a:xfrm>
          <a:solidFill>
            <a:srgbClr val="F08339"/>
          </a:solidFill>
        </p:spPr>
        <p:txBody>
          <a:bodyPr>
            <a:noAutofit/>
          </a:bodyPr>
          <a:lstStyle>
            <a:lvl1pPr marL="0" indent="0">
              <a:buNone/>
              <a:defRPr sz="2000" b="1">
                <a:solidFill>
                  <a:schemeClr val="bg1"/>
                </a:solidFill>
              </a:defRPr>
            </a:lvl1pPr>
          </a:lstStyle>
          <a:p>
            <a:pPr lvl="0"/>
            <a:r>
              <a:rPr lang="en-US" dirty="0"/>
              <a:t>ITEM 2</a:t>
            </a:r>
          </a:p>
        </p:txBody>
      </p:sp>
      <p:sp>
        <p:nvSpPr>
          <p:cNvPr id="28" name="Content Placeholder 5"/>
          <p:cNvSpPr>
            <a:spLocks noGrp="1"/>
          </p:cNvSpPr>
          <p:nvPr>
            <p:ph sz="quarter" idx="21" hasCustomPrompt="1"/>
          </p:nvPr>
        </p:nvSpPr>
        <p:spPr>
          <a:xfrm>
            <a:off x="6717505" y="4630410"/>
            <a:ext cx="4958107" cy="322710"/>
          </a:xfrm>
          <a:solidFill>
            <a:srgbClr val="815576"/>
          </a:solidFill>
        </p:spPr>
        <p:txBody>
          <a:bodyPr>
            <a:noAutofit/>
          </a:bodyPr>
          <a:lstStyle>
            <a:lvl1pPr marL="0" indent="0">
              <a:buNone/>
              <a:defRPr sz="2000" b="1">
                <a:solidFill>
                  <a:schemeClr val="bg1"/>
                </a:solidFill>
              </a:defRPr>
            </a:lvl1pPr>
          </a:lstStyle>
          <a:p>
            <a:pPr lvl="0"/>
            <a:r>
              <a:rPr lang="en-US" dirty="0"/>
              <a:t>ITEM 1</a:t>
            </a:r>
          </a:p>
        </p:txBody>
      </p:sp>
      <p:sp>
        <p:nvSpPr>
          <p:cNvPr id="29" name="Content Placeholder 5"/>
          <p:cNvSpPr>
            <a:spLocks noGrp="1"/>
          </p:cNvSpPr>
          <p:nvPr>
            <p:ph sz="quarter" idx="22" hasCustomPrompt="1"/>
          </p:nvPr>
        </p:nvSpPr>
        <p:spPr>
          <a:xfrm>
            <a:off x="6717505" y="1324123"/>
            <a:ext cx="4967025" cy="1038077"/>
          </a:xfrm>
        </p:spPr>
        <p:txBody>
          <a:bodyPr>
            <a:noAutofit/>
          </a:bodyPr>
          <a:lstStyle>
            <a:lvl1pPr marL="0" indent="0">
              <a:buNone/>
              <a:defRPr sz="1800" b="0">
                <a:solidFill>
                  <a:schemeClr val="tx1"/>
                </a:solidFill>
              </a:defRPr>
            </a:lvl1pPr>
          </a:lstStyle>
          <a:p>
            <a:r>
              <a:rPr lang="en-US" b="1" dirty="0">
                <a:latin typeface="Arial" panose="020B0604020202020204" pitchFamily="34" charset="0"/>
                <a:cs typeface="Arial" panose="020B0604020202020204" pitchFamily="34" charset="0"/>
              </a:rPr>
              <a:t>Lorem ipsum </a:t>
            </a:r>
            <a:r>
              <a:rPr lang="en-US" dirty="0">
                <a:latin typeface="Arial" panose="020B0604020202020204" pitchFamily="34" charset="0"/>
                <a:cs typeface="Arial" panose="020B0604020202020204" pitchFamily="34" charset="0"/>
              </a:rPr>
              <a:t>dolor sit </a:t>
            </a:r>
            <a:r>
              <a:rPr lang="en-US" dirty="0" err="1">
                <a:latin typeface="Arial" panose="020B0604020202020204" pitchFamily="34" charset="0"/>
                <a:cs typeface="Arial" panose="020B0604020202020204" pitchFamily="34" charset="0"/>
              </a:rPr>
              <a:t>ame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onsectetur</a:t>
            </a:r>
            <a:r>
              <a:rPr lang="en-US"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adipiscing</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li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ed</a:t>
            </a:r>
            <a:r>
              <a:rPr lang="en-US" dirty="0">
                <a:latin typeface="Arial" panose="020B0604020202020204" pitchFamily="34" charset="0"/>
                <a:cs typeface="Arial" panose="020B0604020202020204" pitchFamily="34" charset="0"/>
              </a:rPr>
              <a:t> do </a:t>
            </a:r>
            <a:r>
              <a:rPr lang="en-US" dirty="0" err="1">
                <a:latin typeface="Arial" panose="020B0604020202020204" pitchFamily="34" charset="0"/>
                <a:cs typeface="Arial" panose="020B0604020202020204" pitchFamily="34" charset="0"/>
              </a:rPr>
              <a:t>eiusmod</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empo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ncididun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u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bore</a:t>
            </a:r>
            <a:r>
              <a:rPr lang="en-US" dirty="0">
                <a:latin typeface="Arial" panose="020B0604020202020204" pitchFamily="34" charset="0"/>
                <a:cs typeface="Arial" panose="020B0604020202020204" pitchFamily="34" charset="0"/>
              </a:rPr>
              <a:t> et </a:t>
            </a:r>
            <a:r>
              <a:rPr lang="en-US" dirty="0" err="1">
                <a:latin typeface="Arial" panose="020B0604020202020204" pitchFamily="34" charset="0"/>
                <a:cs typeface="Arial" panose="020B0604020202020204" pitchFamily="34" charset="0"/>
              </a:rPr>
              <a:t>dolore</a:t>
            </a:r>
            <a:r>
              <a:rPr lang="en-US" dirty="0">
                <a:latin typeface="Arial" panose="020B0604020202020204" pitchFamily="34" charset="0"/>
                <a:cs typeface="Arial" panose="020B0604020202020204" pitchFamily="34" charset="0"/>
              </a:rPr>
              <a:t> magna </a:t>
            </a:r>
            <a:r>
              <a:rPr lang="en-US" dirty="0" err="1">
                <a:latin typeface="Arial" panose="020B0604020202020204" pitchFamily="34" charset="0"/>
                <a:cs typeface="Arial" panose="020B0604020202020204" pitchFamily="34" charset="0"/>
              </a:rPr>
              <a:t>aliqua</a:t>
            </a:r>
            <a:r>
              <a:rPr lang="en-US" dirty="0">
                <a:latin typeface="Arial" panose="020B0604020202020204" pitchFamily="34" charset="0"/>
                <a:cs typeface="Arial" panose="020B0604020202020204" pitchFamily="34" charset="0"/>
              </a:rPr>
              <a:t>. </a:t>
            </a:r>
          </a:p>
        </p:txBody>
      </p:sp>
      <p:sp>
        <p:nvSpPr>
          <p:cNvPr id="30" name="Content Placeholder 5"/>
          <p:cNvSpPr>
            <a:spLocks noGrp="1"/>
          </p:cNvSpPr>
          <p:nvPr>
            <p:ph sz="quarter" idx="23" hasCustomPrompt="1"/>
          </p:nvPr>
        </p:nvSpPr>
        <p:spPr>
          <a:xfrm>
            <a:off x="6709037" y="5028248"/>
            <a:ext cx="4967025" cy="1101090"/>
          </a:xfrm>
        </p:spPr>
        <p:txBody>
          <a:bodyPr>
            <a:noAutofit/>
          </a:bodyPr>
          <a:lstStyle>
            <a:lvl1pPr marL="0" indent="0">
              <a:buNone/>
              <a:defRPr sz="1800" b="0">
                <a:solidFill>
                  <a:schemeClr val="tx1"/>
                </a:solidFill>
              </a:defRPr>
            </a:lvl1pPr>
          </a:lstStyle>
          <a:p>
            <a:r>
              <a:rPr lang="en-US" b="1" dirty="0">
                <a:latin typeface="Arial" panose="020B0604020202020204" pitchFamily="34" charset="0"/>
                <a:cs typeface="Arial" panose="020B0604020202020204" pitchFamily="34" charset="0"/>
              </a:rPr>
              <a:t>Lorem ipsum </a:t>
            </a:r>
            <a:r>
              <a:rPr lang="en-US" dirty="0">
                <a:latin typeface="Arial" panose="020B0604020202020204" pitchFamily="34" charset="0"/>
                <a:cs typeface="Arial" panose="020B0604020202020204" pitchFamily="34" charset="0"/>
              </a:rPr>
              <a:t>dolor sit </a:t>
            </a:r>
            <a:r>
              <a:rPr lang="en-US" dirty="0" err="1">
                <a:latin typeface="Arial" panose="020B0604020202020204" pitchFamily="34" charset="0"/>
                <a:cs typeface="Arial" panose="020B0604020202020204" pitchFamily="34" charset="0"/>
              </a:rPr>
              <a:t>ame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onsectetur</a:t>
            </a:r>
            <a:r>
              <a:rPr lang="en-US"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adipiscing</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li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ed</a:t>
            </a:r>
            <a:r>
              <a:rPr lang="en-US" dirty="0">
                <a:latin typeface="Arial" panose="020B0604020202020204" pitchFamily="34" charset="0"/>
                <a:cs typeface="Arial" panose="020B0604020202020204" pitchFamily="34" charset="0"/>
              </a:rPr>
              <a:t> do </a:t>
            </a:r>
            <a:r>
              <a:rPr lang="en-US" dirty="0" err="1">
                <a:latin typeface="Arial" panose="020B0604020202020204" pitchFamily="34" charset="0"/>
                <a:cs typeface="Arial" panose="020B0604020202020204" pitchFamily="34" charset="0"/>
              </a:rPr>
              <a:t>eiusmod</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empo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ncididun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u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bore</a:t>
            </a:r>
            <a:r>
              <a:rPr lang="en-US" dirty="0">
                <a:latin typeface="Arial" panose="020B0604020202020204" pitchFamily="34" charset="0"/>
                <a:cs typeface="Arial" panose="020B0604020202020204" pitchFamily="34" charset="0"/>
              </a:rPr>
              <a:t> et </a:t>
            </a:r>
            <a:r>
              <a:rPr lang="en-US" dirty="0" err="1">
                <a:latin typeface="Arial" panose="020B0604020202020204" pitchFamily="34" charset="0"/>
                <a:cs typeface="Arial" panose="020B0604020202020204" pitchFamily="34" charset="0"/>
              </a:rPr>
              <a:t>dolore</a:t>
            </a:r>
            <a:r>
              <a:rPr lang="en-US" dirty="0">
                <a:latin typeface="Arial" panose="020B0604020202020204" pitchFamily="34" charset="0"/>
                <a:cs typeface="Arial" panose="020B0604020202020204" pitchFamily="34" charset="0"/>
              </a:rPr>
              <a:t> magna </a:t>
            </a:r>
            <a:r>
              <a:rPr lang="en-US" dirty="0" err="1">
                <a:latin typeface="Arial" panose="020B0604020202020204" pitchFamily="34" charset="0"/>
                <a:cs typeface="Arial" panose="020B0604020202020204" pitchFamily="34" charset="0"/>
              </a:rPr>
              <a:t>aliqua</a:t>
            </a:r>
            <a:r>
              <a:rPr lang="en-US" dirty="0">
                <a:latin typeface="Arial" panose="020B0604020202020204" pitchFamily="34" charset="0"/>
                <a:cs typeface="Arial" panose="020B0604020202020204" pitchFamily="34" charset="0"/>
              </a:rPr>
              <a:t>. </a:t>
            </a:r>
          </a:p>
        </p:txBody>
      </p:sp>
      <p:sp>
        <p:nvSpPr>
          <p:cNvPr id="31" name="Content Placeholder 5"/>
          <p:cNvSpPr>
            <a:spLocks noGrp="1"/>
          </p:cNvSpPr>
          <p:nvPr>
            <p:ph sz="quarter" idx="24" hasCustomPrompt="1"/>
          </p:nvPr>
        </p:nvSpPr>
        <p:spPr>
          <a:xfrm>
            <a:off x="6717505" y="3157852"/>
            <a:ext cx="4967025" cy="1038077"/>
          </a:xfrm>
        </p:spPr>
        <p:txBody>
          <a:bodyPr>
            <a:noAutofit/>
          </a:bodyPr>
          <a:lstStyle>
            <a:lvl1pPr marL="0" indent="0">
              <a:buNone/>
              <a:defRPr sz="1800" b="0">
                <a:solidFill>
                  <a:schemeClr val="tx1"/>
                </a:solidFill>
              </a:defRPr>
            </a:lvl1pPr>
          </a:lstStyle>
          <a:p>
            <a:r>
              <a:rPr lang="en-US" b="1" dirty="0">
                <a:latin typeface="Arial" panose="020B0604020202020204" pitchFamily="34" charset="0"/>
                <a:cs typeface="Arial" panose="020B0604020202020204" pitchFamily="34" charset="0"/>
              </a:rPr>
              <a:t>Lorem ipsum </a:t>
            </a:r>
            <a:r>
              <a:rPr lang="en-US" dirty="0">
                <a:latin typeface="Arial" panose="020B0604020202020204" pitchFamily="34" charset="0"/>
                <a:cs typeface="Arial" panose="020B0604020202020204" pitchFamily="34" charset="0"/>
              </a:rPr>
              <a:t>dolor sit </a:t>
            </a:r>
            <a:r>
              <a:rPr lang="en-US" dirty="0" err="1">
                <a:latin typeface="Arial" panose="020B0604020202020204" pitchFamily="34" charset="0"/>
                <a:cs typeface="Arial" panose="020B0604020202020204" pitchFamily="34" charset="0"/>
              </a:rPr>
              <a:t>ame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onsectetur</a:t>
            </a:r>
            <a:r>
              <a:rPr lang="en-US"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adipiscing</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li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ed</a:t>
            </a:r>
            <a:r>
              <a:rPr lang="en-US" dirty="0">
                <a:latin typeface="Arial" panose="020B0604020202020204" pitchFamily="34" charset="0"/>
                <a:cs typeface="Arial" panose="020B0604020202020204" pitchFamily="34" charset="0"/>
              </a:rPr>
              <a:t> do </a:t>
            </a:r>
            <a:r>
              <a:rPr lang="en-US" dirty="0" err="1">
                <a:latin typeface="Arial" panose="020B0604020202020204" pitchFamily="34" charset="0"/>
                <a:cs typeface="Arial" panose="020B0604020202020204" pitchFamily="34" charset="0"/>
              </a:rPr>
              <a:t>eiusmod</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empo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ncididun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u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bore</a:t>
            </a:r>
            <a:r>
              <a:rPr lang="en-US" dirty="0">
                <a:latin typeface="Arial" panose="020B0604020202020204" pitchFamily="34" charset="0"/>
                <a:cs typeface="Arial" panose="020B0604020202020204" pitchFamily="34" charset="0"/>
              </a:rPr>
              <a:t> et </a:t>
            </a:r>
            <a:r>
              <a:rPr lang="en-US" dirty="0" err="1">
                <a:latin typeface="Arial" panose="020B0604020202020204" pitchFamily="34" charset="0"/>
                <a:cs typeface="Arial" panose="020B0604020202020204" pitchFamily="34" charset="0"/>
              </a:rPr>
              <a:t>dolore</a:t>
            </a:r>
            <a:r>
              <a:rPr lang="en-US" dirty="0">
                <a:latin typeface="Arial" panose="020B0604020202020204" pitchFamily="34" charset="0"/>
                <a:cs typeface="Arial" panose="020B0604020202020204" pitchFamily="34" charset="0"/>
              </a:rPr>
              <a:t> magna </a:t>
            </a:r>
            <a:r>
              <a:rPr lang="en-US" dirty="0" err="1">
                <a:latin typeface="Arial" panose="020B0604020202020204" pitchFamily="34" charset="0"/>
                <a:cs typeface="Arial" panose="020B0604020202020204" pitchFamily="34" charset="0"/>
              </a:rPr>
              <a:t>aliqua</a:t>
            </a:r>
            <a:r>
              <a:rPr lang="en-US" dirty="0">
                <a:latin typeface="Arial" panose="020B0604020202020204" pitchFamily="34" charset="0"/>
                <a:cs typeface="Arial" panose="020B0604020202020204" pitchFamily="34" charset="0"/>
              </a:rPr>
              <a:t>. </a:t>
            </a:r>
          </a:p>
        </p:txBody>
      </p:sp>
      <p:sp>
        <p:nvSpPr>
          <p:cNvPr id="34" name="Content Placeholder 5"/>
          <p:cNvSpPr>
            <a:spLocks noGrp="1" noChangeAspect="1"/>
          </p:cNvSpPr>
          <p:nvPr>
            <p:ph sz="quarter" idx="26" hasCustomPrompt="1"/>
          </p:nvPr>
        </p:nvSpPr>
        <p:spPr>
          <a:xfrm>
            <a:off x="483028" y="3153663"/>
            <a:ext cx="2818800" cy="2818800"/>
          </a:xfrm>
          <a:prstGeom prst="ellipse">
            <a:avLst/>
          </a:prstGeom>
          <a:solidFill>
            <a:srgbClr val="C56727">
              <a:alpha val="90000"/>
            </a:srgbClr>
          </a:solidFill>
        </p:spPr>
        <p:txBody>
          <a:bodyPr anchor="ctr" anchorCtr="0">
            <a:noAutofit/>
          </a:bodyPr>
          <a:lstStyle>
            <a:lvl1pPr marL="0" indent="0" algn="ctr">
              <a:buNone/>
              <a:defRPr sz="3200" b="1" baseline="0">
                <a:solidFill>
                  <a:schemeClr val="bg1"/>
                </a:solidFill>
              </a:defRPr>
            </a:lvl1pPr>
          </a:lstStyle>
          <a:p>
            <a:pPr lvl="0"/>
            <a:r>
              <a:rPr lang="en-US" dirty="0"/>
              <a:t>INSERT KEY WORD</a:t>
            </a:r>
          </a:p>
        </p:txBody>
      </p:sp>
      <p:sp>
        <p:nvSpPr>
          <p:cNvPr id="35" name="Content Placeholder 5"/>
          <p:cNvSpPr>
            <a:spLocks noGrp="1" noChangeAspect="1"/>
          </p:cNvSpPr>
          <p:nvPr>
            <p:ph sz="quarter" idx="27" hasCustomPrompt="1"/>
          </p:nvPr>
        </p:nvSpPr>
        <p:spPr>
          <a:xfrm>
            <a:off x="2942992" y="3145047"/>
            <a:ext cx="2818800" cy="2818800"/>
          </a:xfrm>
          <a:prstGeom prst="ellipse">
            <a:avLst/>
          </a:prstGeom>
          <a:solidFill>
            <a:srgbClr val="815576">
              <a:alpha val="90000"/>
            </a:srgbClr>
          </a:solidFill>
        </p:spPr>
        <p:txBody>
          <a:bodyPr anchor="ctr" anchorCtr="0">
            <a:noAutofit/>
          </a:bodyPr>
          <a:lstStyle>
            <a:lvl1pPr marL="0" indent="0" algn="ctr">
              <a:buNone/>
              <a:defRPr sz="3200" b="1" baseline="0">
                <a:solidFill>
                  <a:schemeClr val="bg1"/>
                </a:solidFill>
              </a:defRPr>
            </a:lvl1pPr>
          </a:lstStyle>
          <a:p>
            <a:pPr lvl="0"/>
            <a:r>
              <a:rPr lang="en-US" dirty="0"/>
              <a:t>INSERT KEY WORD</a:t>
            </a:r>
          </a:p>
        </p:txBody>
      </p:sp>
      <p:sp>
        <p:nvSpPr>
          <p:cNvPr id="36" name="Content Placeholder 5"/>
          <p:cNvSpPr>
            <a:spLocks noGrp="1" noChangeAspect="1"/>
          </p:cNvSpPr>
          <p:nvPr>
            <p:ph sz="quarter" idx="25" hasCustomPrompt="1"/>
          </p:nvPr>
        </p:nvSpPr>
        <p:spPr>
          <a:xfrm>
            <a:off x="1687423" y="1053737"/>
            <a:ext cx="2818800" cy="2818800"/>
          </a:xfrm>
          <a:prstGeom prst="ellipse">
            <a:avLst/>
          </a:prstGeom>
          <a:solidFill>
            <a:srgbClr val="397099">
              <a:alpha val="90000"/>
            </a:srgbClr>
          </a:solidFill>
        </p:spPr>
        <p:txBody>
          <a:bodyPr anchor="ctr" anchorCtr="0">
            <a:noAutofit/>
          </a:bodyPr>
          <a:lstStyle>
            <a:lvl1pPr marL="0" indent="0" algn="ctr">
              <a:buNone/>
              <a:defRPr sz="3200" b="1" baseline="0">
                <a:solidFill>
                  <a:schemeClr val="bg1"/>
                </a:solidFill>
              </a:defRPr>
            </a:lvl1pPr>
          </a:lstStyle>
          <a:p>
            <a:pPr lvl="0"/>
            <a:r>
              <a:rPr lang="en-US" dirty="0"/>
              <a:t>INSERT KEY WORD</a:t>
            </a:r>
          </a:p>
        </p:txBody>
      </p:sp>
      <p:pic>
        <p:nvPicPr>
          <p:cNvPr id="12" name="Picture 11">
            <a:extLst>
              <a:ext uri="{FF2B5EF4-FFF2-40B4-BE49-F238E27FC236}">
                <a16:creationId xmlns:a16="http://schemas.microsoft.com/office/drawing/2014/main" id="{337DA43E-E2E7-4041-B3C8-1E62AD922FC2}"/>
              </a:ext>
            </a:extLst>
          </p:cNvPr>
          <p:cNvPicPr/>
          <p:nvPr userDrawn="1"/>
        </p:nvPicPr>
        <p:blipFill>
          <a:blip r:embed="rId2"/>
          <a:stretch>
            <a:fillRect/>
          </a:stretch>
        </p:blipFill>
        <p:spPr>
          <a:xfrm>
            <a:off x="10187649" y="6337275"/>
            <a:ext cx="1488414" cy="399548"/>
          </a:xfrm>
          <a:prstGeom prst="rect">
            <a:avLst/>
          </a:prstGeom>
        </p:spPr>
      </p:pic>
    </p:spTree>
    <p:extLst>
      <p:ext uri="{BB962C8B-B14F-4D97-AF65-F5344CB8AC3E}">
        <p14:creationId xmlns:p14="http://schemas.microsoft.com/office/powerpoint/2010/main" val="3142335411"/>
      </p:ext>
    </p:extLst>
  </p:cSld>
  <p:clrMapOvr>
    <a:masterClrMapping/>
  </p:clrMapOvr>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 Title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4E6D71C-ACD7-49D2-9689-F9C4024FAC38}" type="slidenum">
              <a:rPr lang="en-US" smtClean="0"/>
              <a:pPr/>
              <a:t>‹#›</a:t>
            </a:fld>
            <a:endParaRPr lang="en-US" dirty="0"/>
          </a:p>
        </p:txBody>
      </p:sp>
      <p:sp>
        <p:nvSpPr>
          <p:cNvPr id="14" name="Content Placeholder 13"/>
          <p:cNvSpPr>
            <a:spLocks noGrp="1"/>
          </p:cNvSpPr>
          <p:nvPr>
            <p:ph sz="quarter" idx="11"/>
          </p:nvPr>
        </p:nvSpPr>
        <p:spPr>
          <a:xfrm>
            <a:off x="2964007" y="1356824"/>
            <a:ext cx="7456940" cy="1260002"/>
          </a:xfrm>
          <a:solidFill>
            <a:srgbClr val="F7A431"/>
          </a:solidFill>
        </p:spPr>
        <p:txBody>
          <a:bodyPr wrap="square" lIns="180000" tIns="360000" rIns="360000" bIns="360000" anchor="ctr" anchorCtr="0">
            <a:noAutofit/>
          </a:bodyPr>
          <a:lstStyle>
            <a:lvl1pPr marL="0" indent="0">
              <a:buNone/>
              <a:defRPr b="1">
                <a:solidFill>
                  <a:schemeClr val="bg1"/>
                </a:solidFill>
              </a:defRPr>
            </a:lvl1pPr>
          </a:lstStyle>
          <a:p>
            <a:pPr lvl="0"/>
            <a:r>
              <a:rPr lang="en-US" dirty="0"/>
              <a:t>Edit Master text styles</a:t>
            </a:r>
          </a:p>
        </p:txBody>
      </p:sp>
      <p:sp>
        <p:nvSpPr>
          <p:cNvPr id="12" name="Content Placeholder 13"/>
          <p:cNvSpPr>
            <a:spLocks noGrp="1"/>
          </p:cNvSpPr>
          <p:nvPr>
            <p:ph sz="quarter" idx="12"/>
          </p:nvPr>
        </p:nvSpPr>
        <p:spPr>
          <a:xfrm>
            <a:off x="2964007" y="2800302"/>
            <a:ext cx="7456940" cy="1260002"/>
          </a:xfrm>
          <a:solidFill>
            <a:srgbClr val="815576"/>
          </a:solidFill>
        </p:spPr>
        <p:txBody>
          <a:bodyPr wrap="square" lIns="180000" tIns="360000" rIns="360000" bIns="360000" anchor="ctr" anchorCtr="0">
            <a:noAutofit/>
          </a:bodyPr>
          <a:lstStyle>
            <a:lvl1pPr marL="0" indent="0">
              <a:buNone/>
              <a:defRPr b="1">
                <a:solidFill>
                  <a:schemeClr val="bg1"/>
                </a:solidFill>
              </a:defRPr>
            </a:lvl1pPr>
          </a:lstStyle>
          <a:p>
            <a:pPr lvl="0"/>
            <a:r>
              <a:rPr lang="en-US" dirty="0"/>
              <a:t>Edit Master text styles</a:t>
            </a:r>
          </a:p>
        </p:txBody>
      </p:sp>
      <p:sp>
        <p:nvSpPr>
          <p:cNvPr id="13" name="Content Placeholder 13"/>
          <p:cNvSpPr>
            <a:spLocks noGrp="1"/>
          </p:cNvSpPr>
          <p:nvPr>
            <p:ph sz="quarter" idx="13"/>
          </p:nvPr>
        </p:nvSpPr>
        <p:spPr>
          <a:xfrm>
            <a:off x="2964007" y="4241173"/>
            <a:ext cx="7456940" cy="1260002"/>
          </a:xfrm>
          <a:solidFill>
            <a:srgbClr val="397099"/>
          </a:solidFill>
        </p:spPr>
        <p:txBody>
          <a:bodyPr wrap="square" lIns="180000" tIns="360000" rIns="360000" bIns="360000" anchor="ctr" anchorCtr="0">
            <a:noAutofit/>
          </a:bodyPr>
          <a:lstStyle>
            <a:lvl1pPr marL="0" indent="0">
              <a:buNone/>
              <a:defRPr b="1">
                <a:solidFill>
                  <a:schemeClr val="bg1"/>
                </a:solidFill>
              </a:defRPr>
            </a:lvl1pPr>
          </a:lstStyle>
          <a:p>
            <a:pPr lvl="0"/>
            <a:r>
              <a:rPr lang="en-US" dirty="0"/>
              <a:t>Edit Master text styles</a:t>
            </a:r>
          </a:p>
        </p:txBody>
      </p:sp>
      <p:sp>
        <p:nvSpPr>
          <p:cNvPr id="22" name="Text Placeholder 21"/>
          <p:cNvSpPr>
            <a:spLocks noGrp="1"/>
          </p:cNvSpPr>
          <p:nvPr>
            <p:ph type="body" sz="quarter" idx="17" hasCustomPrompt="1"/>
          </p:nvPr>
        </p:nvSpPr>
        <p:spPr>
          <a:xfrm>
            <a:off x="1770063" y="1357313"/>
            <a:ext cx="1192212" cy="1258887"/>
          </a:xfrm>
          <a:solidFill>
            <a:schemeClr val="bg1">
              <a:lumMod val="95000"/>
            </a:schemeClr>
          </a:solidFill>
        </p:spPr>
        <p:txBody>
          <a:bodyPr wrap="square" lIns="0" tIns="0" rIns="0" bIns="0" anchor="ctr" anchorCtr="1">
            <a:noAutofit/>
          </a:bodyPr>
          <a:lstStyle>
            <a:lvl1pPr>
              <a:defRPr sz="6000">
                <a:solidFill>
                  <a:schemeClr val="bg1">
                    <a:lumMod val="50000"/>
                  </a:schemeClr>
                </a:solidFill>
                <a:latin typeface="Arial Black" panose="020B0A04020102020204" pitchFamily="34" charset="0"/>
              </a:defRPr>
            </a:lvl1pPr>
          </a:lstStyle>
          <a:p>
            <a:pPr lvl="0"/>
            <a:r>
              <a:rPr lang="en-US" dirty="0"/>
              <a:t>1</a:t>
            </a:r>
          </a:p>
        </p:txBody>
      </p:sp>
      <p:sp>
        <p:nvSpPr>
          <p:cNvPr id="23" name="Text Placeholder 21"/>
          <p:cNvSpPr>
            <a:spLocks noGrp="1"/>
          </p:cNvSpPr>
          <p:nvPr>
            <p:ph type="body" sz="quarter" idx="18" hasCustomPrompt="1"/>
          </p:nvPr>
        </p:nvSpPr>
        <p:spPr>
          <a:xfrm>
            <a:off x="1770063" y="2801417"/>
            <a:ext cx="1192212" cy="1258887"/>
          </a:xfrm>
          <a:solidFill>
            <a:schemeClr val="bg1">
              <a:lumMod val="95000"/>
            </a:schemeClr>
          </a:solidFill>
        </p:spPr>
        <p:txBody>
          <a:bodyPr wrap="square" lIns="0" tIns="0" rIns="0" bIns="0" anchor="ctr" anchorCtr="1">
            <a:noAutofit/>
          </a:bodyPr>
          <a:lstStyle>
            <a:lvl1pPr>
              <a:defRPr sz="6000">
                <a:solidFill>
                  <a:schemeClr val="bg1">
                    <a:lumMod val="50000"/>
                  </a:schemeClr>
                </a:solidFill>
                <a:latin typeface="Arial Black" panose="020B0A04020102020204" pitchFamily="34" charset="0"/>
              </a:defRPr>
            </a:lvl1pPr>
          </a:lstStyle>
          <a:p>
            <a:pPr lvl="0"/>
            <a:r>
              <a:rPr lang="en-US" dirty="0"/>
              <a:t>1</a:t>
            </a:r>
          </a:p>
        </p:txBody>
      </p:sp>
      <p:sp>
        <p:nvSpPr>
          <p:cNvPr id="24" name="Text Placeholder 21"/>
          <p:cNvSpPr>
            <a:spLocks noGrp="1"/>
          </p:cNvSpPr>
          <p:nvPr>
            <p:ph type="body" sz="quarter" idx="19" hasCustomPrompt="1"/>
          </p:nvPr>
        </p:nvSpPr>
        <p:spPr>
          <a:xfrm>
            <a:off x="1770063" y="4240547"/>
            <a:ext cx="1192212" cy="1258887"/>
          </a:xfrm>
          <a:solidFill>
            <a:schemeClr val="bg1">
              <a:lumMod val="95000"/>
            </a:schemeClr>
          </a:solidFill>
        </p:spPr>
        <p:txBody>
          <a:bodyPr wrap="square" lIns="0" tIns="0" rIns="0" bIns="0" anchor="ctr" anchorCtr="1">
            <a:noAutofit/>
          </a:bodyPr>
          <a:lstStyle>
            <a:lvl1pPr>
              <a:defRPr sz="6000">
                <a:solidFill>
                  <a:schemeClr val="bg1">
                    <a:lumMod val="50000"/>
                  </a:schemeClr>
                </a:solidFill>
                <a:latin typeface="Arial Black" panose="020B0A04020102020204" pitchFamily="34" charset="0"/>
              </a:defRPr>
            </a:lvl1pPr>
          </a:lstStyle>
          <a:p>
            <a:pPr lvl="0"/>
            <a:r>
              <a:rPr lang="en-US" dirty="0"/>
              <a:t>1</a:t>
            </a:r>
          </a:p>
        </p:txBody>
      </p:sp>
      <p:pic>
        <p:nvPicPr>
          <p:cNvPr id="9" name="Picture 8">
            <a:extLst>
              <a:ext uri="{FF2B5EF4-FFF2-40B4-BE49-F238E27FC236}">
                <a16:creationId xmlns:a16="http://schemas.microsoft.com/office/drawing/2014/main" id="{87A110DD-8245-4115-AF9A-37AD5D8068FC}"/>
              </a:ext>
            </a:extLst>
          </p:cNvPr>
          <p:cNvPicPr/>
          <p:nvPr userDrawn="1"/>
        </p:nvPicPr>
        <p:blipFill>
          <a:blip r:embed="rId2"/>
          <a:stretch>
            <a:fillRect/>
          </a:stretch>
        </p:blipFill>
        <p:spPr>
          <a:xfrm>
            <a:off x="10187649" y="6337275"/>
            <a:ext cx="1488414" cy="399548"/>
          </a:xfrm>
          <a:prstGeom prst="rect">
            <a:avLst/>
          </a:prstGeom>
        </p:spPr>
      </p:pic>
    </p:spTree>
    <p:extLst>
      <p:ext uri="{BB962C8B-B14F-4D97-AF65-F5344CB8AC3E}">
        <p14:creationId xmlns:p14="http://schemas.microsoft.com/office/powerpoint/2010/main" val="10570338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9738" y="297709"/>
            <a:ext cx="10693400" cy="962025"/>
          </a:xfrm>
        </p:spPr>
        <p:txBody>
          <a:bodyPr/>
          <a:lstStyle>
            <a:lvl1pPr>
              <a:defRPr sz="4000">
                <a:latin typeface="Century Gothic" panose="020B0502020202020204"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4E6D71C-ACD7-49D2-9689-F9C4024FAC38}" type="slidenum">
              <a:rPr lang="en-US" smtClean="0"/>
              <a:pPr/>
              <a:t>‹#›</a:t>
            </a:fld>
            <a:endParaRPr lang="en-US" dirty="0"/>
          </a:p>
        </p:txBody>
      </p:sp>
      <p:sp>
        <p:nvSpPr>
          <p:cNvPr id="39" name="Content Placeholder 4"/>
          <p:cNvSpPr>
            <a:spLocks noGrp="1"/>
          </p:cNvSpPr>
          <p:nvPr>
            <p:ph sz="quarter" idx="11" hasCustomPrompt="1"/>
          </p:nvPr>
        </p:nvSpPr>
        <p:spPr>
          <a:xfrm>
            <a:off x="3271488" y="2709069"/>
            <a:ext cx="2809455" cy="1439862"/>
          </a:xfrm>
          <a:custGeom>
            <a:avLst/>
            <a:gdLst>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0 w 2809455"/>
              <a:gd name="connsiteY5" fmla="*/ 0 h 1439862"/>
              <a:gd name="connsiteX0" fmla="*/ 353064 w 3162519"/>
              <a:gd name="connsiteY0" fmla="*/ 0 h 1439862"/>
              <a:gd name="connsiteX1" fmla="*/ 2937886 w 3162519"/>
              <a:gd name="connsiteY1" fmla="*/ 0 h 1439862"/>
              <a:gd name="connsiteX2" fmla="*/ 3162519 w 3162519"/>
              <a:gd name="connsiteY2" fmla="*/ 719931 h 1439862"/>
              <a:gd name="connsiteX3" fmla="*/ 2937886 w 3162519"/>
              <a:gd name="connsiteY3" fmla="*/ 1439862 h 1439862"/>
              <a:gd name="connsiteX4" fmla="*/ 353064 w 3162519"/>
              <a:gd name="connsiteY4" fmla="*/ 1439862 h 1439862"/>
              <a:gd name="connsiteX5" fmla="*/ 1 w 3162519"/>
              <a:gd name="connsiteY5" fmla="*/ 734578 h 1439862"/>
              <a:gd name="connsiteX6" fmla="*/ 353064 w 3162519"/>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67637 w 2809455"/>
              <a:gd name="connsiteY5" fmla="*/ 6329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42237 w 2809455"/>
              <a:gd name="connsiteY5" fmla="*/ 9631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93037 w 2809455"/>
              <a:gd name="connsiteY5" fmla="*/ 7218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83537 w 2809455"/>
              <a:gd name="connsiteY5" fmla="*/ 6583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9455" h="1439862">
                <a:moveTo>
                  <a:pt x="0" y="0"/>
                </a:moveTo>
                <a:lnTo>
                  <a:pt x="2584822" y="0"/>
                </a:lnTo>
                <a:lnTo>
                  <a:pt x="2809455" y="719931"/>
                </a:lnTo>
                <a:lnTo>
                  <a:pt x="2584822" y="1439862"/>
                </a:lnTo>
                <a:lnTo>
                  <a:pt x="0" y="1439862"/>
                </a:lnTo>
                <a:cubicBezTo>
                  <a:pt x="238734" y="790657"/>
                  <a:pt x="201852" y="902101"/>
                  <a:pt x="252055" y="700213"/>
                </a:cubicBezTo>
                <a:cubicBezTo>
                  <a:pt x="156530" y="441550"/>
                  <a:pt x="84018" y="233404"/>
                  <a:pt x="0" y="0"/>
                </a:cubicBezTo>
                <a:close/>
              </a:path>
            </a:pathLst>
          </a:custGeom>
          <a:solidFill>
            <a:srgbClr val="23618E"/>
          </a:solidFill>
        </p:spPr>
        <p:txBody>
          <a:bodyPr lIns="360000" rIns="360000" anchor="ctr" anchorCtr="1">
            <a:noAutofit/>
          </a:bodyPr>
          <a:lstStyle>
            <a:lvl1pPr algn="ctr">
              <a:defRPr b="1">
                <a:solidFill>
                  <a:schemeClr val="bg1"/>
                </a:solidFill>
                <a:latin typeface="+mj-lt"/>
              </a:defRPr>
            </a:lvl1pPr>
          </a:lstStyle>
          <a:p>
            <a:pPr lvl="0"/>
            <a:r>
              <a:rPr lang="en-US" dirty="0"/>
              <a:t>ITEM</a:t>
            </a:r>
          </a:p>
        </p:txBody>
      </p:sp>
      <p:sp>
        <p:nvSpPr>
          <p:cNvPr id="40" name="Content Placeholder 4"/>
          <p:cNvSpPr>
            <a:spLocks noGrp="1"/>
          </p:cNvSpPr>
          <p:nvPr>
            <p:ph sz="quarter" idx="12" hasCustomPrompt="1"/>
          </p:nvPr>
        </p:nvSpPr>
        <p:spPr>
          <a:xfrm>
            <a:off x="515938" y="2709069"/>
            <a:ext cx="2809455" cy="1439862"/>
          </a:xfrm>
          <a:custGeom>
            <a:avLst/>
            <a:gdLst>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0 w 2809455"/>
              <a:gd name="connsiteY5" fmla="*/ 0 h 1439862"/>
              <a:gd name="connsiteX0" fmla="*/ 353064 w 3162519"/>
              <a:gd name="connsiteY0" fmla="*/ 0 h 1439862"/>
              <a:gd name="connsiteX1" fmla="*/ 2937886 w 3162519"/>
              <a:gd name="connsiteY1" fmla="*/ 0 h 1439862"/>
              <a:gd name="connsiteX2" fmla="*/ 3162519 w 3162519"/>
              <a:gd name="connsiteY2" fmla="*/ 719931 h 1439862"/>
              <a:gd name="connsiteX3" fmla="*/ 2937886 w 3162519"/>
              <a:gd name="connsiteY3" fmla="*/ 1439862 h 1439862"/>
              <a:gd name="connsiteX4" fmla="*/ 353064 w 3162519"/>
              <a:gd name="connsiteY4" fmla="*/ 1439862 h 1439862"/>
              <a:gd name="connsiteX5" fmla="*/ 1 w 3162519"/>
              <a:gd name="connsiteY5" fmla="*/ 734578 h 1439862"/>
              <a:gd name="connsiteX6" fmla="*/ 353064 w 3162519"/>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67637 w 2809455"/>
              <a:gd name="connsiteY5" fmla="*/ 6329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42237 w 2809455"/>
              <a:gd name="connsiteY5" fmla="*/ 9631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93037 w 2809455"/>
              <a:gd name="connsiteY5" fmla="*/ 7218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83537 w 2809455"/>
              <a:gd name="connsiteY5" fmla="*/ 6583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9455" h="1439862">
                <a:moveTo>
                  <a:pt x="0" y="0"/>
                </a:moveTo>
                <a:lnTo>
                  <a:pt x="2584822" y="0"/>
                </a:lnTo>
                <a:lnTo>
                  <a:pt x="2809455" y="719931"/>
                </a:lnTo>
                <a:lnTo>
                  <a:pt x="2584822" y="1439862"/>
                </a:lnTo>
                <a:lnTo>
                  <a:pt x="0" y="1439862"/>
                </a:lnTo>
                <a:cubicBezTo>
                  <a:pt x="238734" y="790657"/>
                  <a:pt x="201852" y="902101"/>
                  <a:pt x="252055" y="700213"/>
                </a:cubicBezTo>
                <a:cubicBezTo>
                  <a:pt x="156530" y="441550"/>
                  <a:pt x="84018" y="233404"/>
                  <a:pt x="0" y="0"/>
                </a:cubicBezTo>
                <a:close/>
              </a:path>
            </a:pathLst>
          </a:custGeom>
          <a:solidFill>
            <a:srgbClr val="1A496A"/>
          </a:solidFill>
        </p:spPr>
        <p:txBody>
          <a:bodyPr lIns="360000" rIns="360000" anchor="ctr" anchorCtr="1">
            <a:noAutofit/>
          </a:bodyPr>
          <a:lstStyle>
            <a:lvl1pPr algn="ctr">
              <a:defRPr b="1">
                <a:solidFill>
                  <a:schemeClr val="bg1"/>
                </a:solidFill>
                <a:latin typeface="+mj-lt"/>
              </a:defRPr>
            </a:lvl1pPr>
          </a:lstStyle>
          <a:p>
            <a:pPr lvl="0"/>
            <a:r>
              <a:rPr lang="en-US" dirty="0"/>
              <a:t>ITEM</a:t>
            </a:r>
          </a:p>
        </p:txBody>
      </p:sp>
      <p:sp>
        <p:nvSpPr>
          <p:cNvPr id="41" name="Content Placeholder 4"/>
          <p:cNvSpPr>
            <a:spLocks noGrp="1"/>
          </p:cNvSpPr>
          <p:nvPr>
            <p:ph sz="quarter" idx="13" hasCustomPrompt="1"/>
          </p:nvPr>
        </p:nvSpPr>
        <p:spPr>
          <a:xfrm>
            <a:off x="6016583" y="2709069"/>
            <a:ext cx="2809455" cy="1439862"/>
          </a:xfrm>
          <a:custGeom>
            <a:avLst/>
            <a:gdLst>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0 w 2809455"/>
              <a:gd name="connsiteY5" fmla="*/ 0 h 1439862"/>
              <a:gd name="connsiteX0" fmla="*/ 353064 w 3162519"/>
              <a:gd name="connsiteY0" fmla="*/ 0 h 1439862"/>
              <a:gd name="connsiteX1" fmla="*/ 2937886 w 3162519"/>
              <a:gd name="connsiteY1" fmla="*/ 0 h 1439862"/>
              <a:gd name="connsiteX2" fmla="*/ 3162519 w 3162519"/>
              <a:gd name="connsiteY2" fmla="*/ 719931 h 1439862"/>
              <a:gd name="connsiteX3" fmla="*/ 2937886 w 3162519"/>
              <a:gd name="connsiteY3" fmla="*/ 1439862 h 1439862"/>
              <a:gd name="connsiteX4" fmla="*/ 353064 w 3162519"/>
              <a:gd name="connsiteY4" fmla="*/ 1439862 h 1439862"/>
              <a:gd name="connsiteX5" fmla="*/ 1 w 3162519"/>
              <a:gd name="connsiteY5" fmla="*/ 734578 h 1439862"/>
              <a:gd name="connsiteX6" fmla="*/ 353064 w 3162519"/>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67637 w 2809455"/>
              <a:gd name="connsiteY5" fmla="*/ 6329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42237 w 2809455"/>
              <a:gd name="connsiteY5" fmla="*/ 9631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93037 w 2809455"/>
              <a:gd name="connsiteY5" fmla="*/ 7218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83537 w 2809455"/>
              <a:gd name="connsiteY5" fmla="*/ 6583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9455" h="1439862">
                <a:moveTo>
                  <a:pt x="0" y="0"/>
                </a:moveTo>
                <a:lnTo>
                  <a:pt x="2584822" y="0"/>
                </a:lnTo>
                <a:lnTo>
                  <a:pt x="2809455" y="719931"/>
                </a:lnTo>
                <a:lnTo>
                  <a:pt x="2584822" y="1439862"/>
                </a:lnTo>
                <a:lnTo>
                  <a:pt x="0" y="1439862"/>
                </a:lnTo>
                <a:cubicBezTo>
                  <a:pt x="238734" y="790657"/>
                  <a:pt x="201852" y="902101"/>
                  <a:pt x="252055" y="700213"/>
                </a:cubicBezTo>
                <a:cubicBezTo>
                  <a:pt x="156530" y="441550"/>
                  <a:pt x="84018" y="233404"/>
                  <a:pt x="0" y="0"/>
                </a:cubicBezTo>
                <a:close/>
              </a:path>
            </a:pathLst>
          </a:custGeom>
          <a:solidFill>
            <a:srgbClr val="2971A7"/>
          </a:solidFill>
        </p:spPr>
        <p:txBody>
          <a:bodyPr lIns="360000" rIns="360000" anchor="ctr" anchorCtr="1">
            <a:noAutofit/>
          </a:bodyPr>
          <a:lstStyle>
            <a:lvl1pPr algn="ctr">
              <a:defRPr b="1">
                <a:solidFill>
                  <a:schemeClr val="bg1"/>
                </a:solidFill>
                <a:latin typeface="+mj-lt"/>
              </a:defRPr>
            </a:lvl1pPr>
          </a:lstStyle>
          <a:p>
            <a:pPr lvl="0"/>
            <a:r>
              <a:rPr lang="en-US" dirty="0"/>
              <a:t>ITEM</a:t>
            </a:r>
          </a:p>
        </p:txBody>
      </p:sp>
      <p:sp>
        <p:nvSpPr>
          <p:cNvPr id="42" name="Content Placeholder 4"/>
          <p:cNvSpPr>
            <a:spLocks noGrp="1"/>
          </p:cNvSpPr>
          <p:nvPr>
            <p:ph sz="quarter" idx="14" hasCustomPrompt="1"/>
          </p:nvPr>
        </p:nvSpPr>
        <p:spPr>
          <a:xfrm>
            <a:off x="8793765" y="2709069"/>
            <a:ext cx="2809455" cy="1439862"/>
          </a:xfrm>
          <a:custGeom>
            <a:avLst/>
            <a:gdLst>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0 w 2809455"/>
              <a:gd name="connsiteY5" fmla="*/ 0 h 1439862"/>
              <a:gd name="connsiteX0" fmla="*/ 353064 w 3162519"/>
              <a:gd name="connsiteY0" fmla="*/ 0 h 1439862"/>
              <a:gd name="connsiteX1" fmla="*/ 2937886 w 3162519"/>
              <a:gd name="connsiteY1" fmla="*/ 0 h 1439862"/>
              <a:gd name="connsiteX2" fmla="*/ 3162519 w 3162519"/>
              <a:gd name="connsiteY2" fmla="*/ 719931 h 1439862"/>
              <a:gd name="connsiteX3" fmla="*/ 2937886 w 3162519"/>
              <a:gd name="connsiteY3" fmla="*/ 1439862 h 1439862"/>
              <a:gd name="connsiteX4" fmla="*/ 353064 w 3162519"/>
              <a:gd name="connsiteY4" fmla="*/ 1439862 h 1439862"/>
              <a:gd name="connsiteX5" fmla="*/ 1 w 3162519"/>
              <a:gd name="connsiteY5" fmla="*/ 734578 h 1439862"/>
              <a:gd name="connsiteX6" fmla="*/ 353064 w 3162519"/>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67637 w 2809455"/>
              <a:gd name="connsiteY5" fmla="*/ 6329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42237 w 2809455"/>
              <a:gd name="connsiteY5" fmla="*/ 9631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93037 w 2809455"/>
              <a:gd name="connsiteY5" fmla="*/ 7218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83537 w 2809455"/>
              <a:gd name="connsiteY5" fmla="*/ 6583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9455" h="1439862">
                <a:moveTo>
                  <a:pt x="0" y="0"/>
                </a:moveTo>
                <a:lnTo>
                  <a:pt x="2584822" y="0"/>
                </a:lnTo>
                <a:lnTo>
                  <a:pt x="2809455" y="719931"/>
                </a:lnTo>
                <a:lnTo>
                  <a:pt x="2584822" y="1439862"/>
                </a:lnTo>
                <a:lnTo>
                  <a:pt x="0" y="1439862"/>
                </a:lnTo>
                <a:cubicBezTo>
                  <a:pt x="238734" y="790657"/>
                  <a:pt x="201852" y="902101"/>
                  <a:pt x="252055" y="700213"/>
                </a:cubicBezTo>
                <a:cubicBezTo>
                  <a:pt x="156530" y="441550"/>
                  <a:pt x="84018" y="233404"/>
                  <a:pt x="0" y="0"/>
                </a:cubicBezTo>
                <a:close/>
              </a:path>
            </a:pathLst>
          </a:custGeom>
          <a:solidFill>
            <a:srgbClr val="94C3E5"/>
          </a:solidFill>
        </p:spPr>
        <p:txBody>
          <a:bodyPr lIns="360000" rIns="360000" anchor="ctr" anchorCtr="1">
            <a:noAutofit/>
          </a:bodyPr>
          <a:lstStyle>
            <a:lvl1pPr algn="ctr">
              <a:defRPr b="1">
                <a:solidFill>
                  <a:schemeClr val="tx1"/>
                </a:solidFill>
                <a:latin typeface="+mj-lt"/>
              </a:defRPr>
            </a:lvl1pPr>
          </a:lstStyle>
          <a:p>
            <a:pPr lvl="0"/>
            <a:r>
              <a:rPr lang="en-US" dirty="0"/>
              <a:t>ITEM</a:t>
            </a:r>
          </a:p>
        </p:txBody>
      </p:sp>
      <p:pic>
        <p:nvPicPr>
          <p:cNvPr id="8" name="Picture 7">
            <a:extLst>
              <a:ext uri="{FF2B5EF4-FFF2-40B4-BE49-F238E27FC236}">
                <a16:creationId xmlns:a16="http://schemas.microsoft.com/office/drawing/2014/main" id="{2B70388A-C086-44D0-BC3F-0CFF7F8D083F}"/>
              </a:ext>
            </a:extLst>
          </p:cNvPr>
          <p:cNvPicPr/>
          <p:nvPr userDrawn="1"/>
        </p:nvPicPr>
        <p:blipFill>
          <a:blip r:embed="rId2"/>
          <a:stretch>
            <a:fillRect/>
          </a:stretch>
        </p:blipFill>
        <p:spPr>
          <a:xfrm>
            <a:off x="10187649" y="6337275"/>
            <a:ext cx="1488414" cy="399548"/>
          </a:xfrm>
          <a:prstGeom prst="rect">
            <a:avLst/>
          </a:prstGeom>
        </p:spPr>
      </p:pic>
    </p:spTree>
    <p:extLst>
      <p:ext uri="{BB962C8B-B14F-4D97-AF65-F5344CB8AC3E}">
        <p14:creationId xmlns:p14="http://schemas.microsoft.com/office/powerpoint/2010/main" val="2817414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D4E6D71C-ACD7-49D2-9689-F9C4024FAC38}" type="slidenum">
              <a:rPr lang="en-US" smtClean="0"/>
              <a:t>‹#›</a:t>
            </a:fld>
            <a:endParaRPr lang="en-US" dirty="0"/>
          </a:p>
        </p:txBody>
      </p:sp>
      <p:sp>
        <p:nvSpPr>
          <p:cNvPr id="6" name="Picture Placeholder 5"/>
          <p:cNvSpPr>
            <a:spLocks noGrp="1"/>
          </p:cNvSpPr>
          <p:nvPr>
            <p:ph type="pic" sz="quarter" idx="13"/>
          </p:nvPr>
        </p:nvSpPr>
        <p:spPr>
          <a:xfrm>
            <a:off x="515938" y="549275"/>
            <a:ext cx="5597525" cy="5759450"/>
          </a:xfrm>
        </p:spPr>
        <p:txBody>
          <a:bodyPr/>
          <a:lstStyle/>
          <a:p>
            <a:r>
              <a:rPr lang="en-US" dirty="0"/>
              <a:t>Click icon to add picture</a:t>
            </a:r>
          </a:p>
        </p:txBody>
      </p:sp>
      <p:sp>
        <p:nvSpPr>
          <p:cNvPr id="12" name="Content Placeholder 5"/>
          <p:cNvSpPr>
            <a:spLocks noGrp="1"/>
          </p:cNvSpPr>
          <p:nvPr>
            <p:ph sz="quarter" idx="19" hasCustomPrompt="1"/>
          </p:nvPr>
        </p:nvSpPr>
        <p:spPr>
          <a:xfrm>
            <a:off x="6731646" y="1836052"/>
            <a:ext cx="4693592" cy="1181621"/>
          </a:xfrm>
        </p:spPr>
        <p:txBody>
          <a:bodyPr>
            <a:noAutofit/>
          </a:bodyPr>
          <a:lstStyle>
            <a:lvl1pPr marL="0" indent="0">
              <a:buNone/>
              <a:defRPr sz="1800" b="0">
                <a:solidFill>
                  <a:schemeClr val="tx1"/>
                </a:solidFill>
              </a:defRPr>
            </a:lvl1pPr>
          </a:lstStyle>
          <a:p>
            <a:r>
              <a:rPr lang="en-US" b="1" dirty="0">
                <a:latin typeface="Arial" panose="020B0604020202020204" pitchFamily="34" charset="0"/>
                <a:cs typeface="Arial" panose="020B0604020202020204" pitchFamily="34" charset="0"/>
              </a:rPr>
              <a:t>Lorem ipsum </a:t>
            </a:r>
            <a:r>
              <a:rPr lang="en-US" dirty="0">
                <a:latin typeface="Arial" panose="020B0604020202020204" pitchFamily="34" charset="0"/>
                <a:cs typeface="Arial" panose="020B0604020202020204" pitchFamily="34" charset="0"/>
              </a:rPr>
              <a:t>dolor sit </a:t>
            </a:r>
            <a:r>
              <a:rPr lang="en-US" dirty="0" err="1">
                <a:latin typeface="Arial" panose="020B0604020202020204" pitchFamily="34" charset="0"/>
                <a:cs typeface="Arial" panose="020B0604020202020204" pitchFamily="34" charset="0"/>
              </a:rPr>
              <a:t>ame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onsectetur</a:t>
            </a:r>
            <a:r>
              <a:rPr lang="en-US"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adipiscing</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li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ed</a:t>
            </a:r>
            <a:r>
              <a:rPr lang="en-US" dirty="0">
                <a:latin typeface="Arial" panose="020B0604020202020204" pitchFamily="34" charset="0"/>
                <a:cs typeface="Arial" panose="020B0604020202020204" pitchFamily="34" charset="0"/>
              </a:rPr>
              <a:t> do </a:t>
            </a:r>
            <a:r>
              <a:rPr lang="en-US" dirty="0" err="1">
                <a:latin typeface="Arial" panose="020B0604020202020204" pitchFamily="34" charset="0"/>
                <a:cs typeface="Arial" panose="020B0604020202020204" pitchFamily="34" charset="0"/>
              </a:rPr>
              <a:t>eiusmod</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empo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ncididun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u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bore</a:t>
            </a:r>
            <a:r>
              <a:rPr lang="en-US" dirty="0">
                <a:latin typeface="Arial" panose="020B0604020202020204" pitchFamily="34" charset="0"/>
                <a:cs typeface="Arial" panose="020B0604020202020204" pitchFamily="34" charset="0"/>
              </a:rPr>
              <a:t> et </a:t>
            </a:r>
            <a:r>
              <a:rPr lang="en-US" dirty="0" err="1">
                <a:latin typeface="Arial" panose="020B0604020202020204" pitchFamily="34" charset="0"/>
                <a:cs typeface="Arial" panose="020B0604020202020204" pitchFamily="34" charset="0"/>
              </a:rPr>
              <a:t>dolore</a:t>
            </a:r>
            <a:r>
              <a:rPr lang="en-US" dirty="0">
                <a:latin typeface="Arial" panose="020B0604020202020204" pitchFamily="34" charset="0"/>
                <a:cs typeface="Arial" panose="020B0604020202020204" pitchFamily="34" charset="0"/>
              </a:rPr>
              <a:t> magna </a:t>
            </a:r>
            <a:r>
              <a:rPr lang="en-US" dirty="0" err="1">
                <a:latin typeface="Arial" panose="020B0604020202020204" pitchFamily="34" charset="0"/>
                <a:cs typeface="Arial" panose="020B0604020202020204" pitchFamily="34" charset="0"/>
              </a:rPr>
              <a:t>aliqua</a:t>
            </a:r>
            <a:r>
              <a:rPr lang="en-US" dirty="0">
                <a:latin typeface="Arial" panose="020B0604020202020204" pitchFamily="34" charset="0"/>
                <a:cs typeface="Arial" panose="020B0604020202020204" pitchFamily="34" charset="0"/>
              </a:rPr>
              <a:t>. </a:t>
            </a:r>
          </a:p>
        </p:txBody>
      </p:sp>
      <p:sp>
        <p:nvSpPr>
          <p:cNvPr id="13" name="Content Placeholder 5"/>
          <p:cNvSpPr>
            <a:spLocks noGrp="1"/>
          </p:cNvSpPr>
          <p:nvPr>
            <p:ph sz="quarter" idx="20" hasCustomPrompt="1"/>
          </p:nvPr>
        </p:nvSpPr>
        <p:spPr>
          <a:xfrm>
            <a:off x="6723178" y="3770467"/>
            <a:ext cx="4702060" cy="1181621"/>
          </a:xfrm>
        </p:spPr>
        <p:txBody>
          <a:bodyPr>
            <a:noAutofit/>
          </a:bodyPr>
          <a:lstStyle>
            <a:lvl1pPr marL="0" indent="0">
              <a:buNone/>
              <a:defRPr sz="1800" b="0">
                <a:solidFill>
                  <a:schemeClr val="tx1"/>
                </a:solidFill>
              </a:defRPr>
            </a:lvl1pPr>
          </a:lstStyle>
          <a:p>
            <a:r>
              <a:rPr lang="en-US" b="1" dirty="0">
                <a:latin typeface="Arial" panose="020B0604020202020204" pitchFamily="34" charset="0"/>
                <a:cs typeface="Arial" panose="020B0604020202020204" pitchFamily="34" charset="0"/>
              </a:rPr>
              <a:t>Lorem ipsum </a:t>
            </a:r>
            <a:r>
              <a:rPr lang="en-US" dirty="0">
                <a:latin typeface="Arial" panose="020B0604020202020204" pitchFamily="34" charset="0"/>
                <a:cs typeface="Arial" panose="020B0604020202020204" pitchFamily="34" charset="0"/>
              </a:rPr>
              <a:t>dolor sit </a:t>
            </a:r>
            <a:r>
              <a:rPr lang="en-US" dirty="0" err="1">
                <a:latin typeface="Arial" panose="020B0604020202020204" pitchFamily="34" charset="0"/>
                <a:cs typeface="Arial" panose="020B0604020202020204" pitchFamily="34" charset="0"/>
              </a:rPr>
              <a:t>ame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onsectetur</a:t>
            </a:r>
            <a:r>
              <a:rPr lang="en-US"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adipiscing</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li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ed</a:t>
            </a:r>
            <a:r>
              <a:rPr lang="en-US" dirty="0">
                <a:latin typeface="Arial" panose="020B0604020202020204" pitchFamily="34" charset="0"/>
                <a:cs typeface="Arial" panose="020B0604020202020204" pitchFamily="34" charset="0"/>
              </a:rPr>
              <a:t> do </a:t>
            </a:r>
            <a:r>
              <a:rPr lang="en-US" dirty="0" err="1">
                <a:latin typeface="Arial" panose="020B0604020202020204" pitchFamily="34" charset="0"/>
                <a:cs typeface="Arial" panose="020B0604020202020204" pitchFamily="34" charset="0"/>
              </a:rPr>
              <a:t>eiusmod</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empo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ncididun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u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bore</a:t>
            </a:r>
            <a:r>
              <a:rPr lang="en-US" dirty="0">
                <a:latin typeface="Arial" panose="020B0604020202020204" pitchFamily="34" charset="0"/>
                <a:cs typeface="Arial" panose="020B0604020202020204" pitchFamily="34" charset="0"/>
              </a:rPr>
              <a:t> et </a:t>
            </a:r>
            <a:r>
              <a:rPr lang="en-US" dirty="0" err="1">
                <a:latin typeface="Arial" panose="020B0604020202020204" pitchFamily="34" charset="0"/>
                <a:cs typeface="Arial" panose="020B0604020202020204" pitchFamily="34" charset="0"/>
              </a:rPr>
              <a:t>dolore</a:t>
            </a:r>
            <a:r>
              <a:rPr lang="en-US" dirty="0">
                <a:latin typeface="Arial" panose="020B0604020202020204" pitchFamily="34" charset="0"/>
                <a:cs typeface="Arial" panose="020B0604020202020204" pitchFamily="34" charset="0"/>
              </a:rPr>
              <a:t> magna </a:t>
            </a:r>
            <a:r>
              <a:rPr lang="en-US" dirty="0" err="1">
                <a:latin typeface="Arial" panose="020B0604020202020204" pitchFamily="34" charset="0"/>
                <a:cs typeface="Arial" panose="020B0604020202020204" pitchFamily="34" charset="0"/>
              </a:rPr>
              <a:t>aliqua</a:t>
            </a:r>
            <a:r>
              <a:rPr lang="en-US" dirty="0">
                <a:latin typeface="Arial" panose="020B0604020202020204" pitchFamily="34" charset="0"/>
                <a:cs typeface="Arial" panose="020B0604020202020204" pitchFamily="34" charset="0"/>
              </a:rPr>
              <a:t>. </a:t>
            </a:r>
          </a:p>
        </p:txBody>
      </p:sp>
      <p:pic>
        <p:nvPicPr>
          <p:cNvPr id="7" name="Picture 6">
            <a:extLst>
              <a:ext uri="{FF2B5EF4-FFF2-40B4-BE49-F238E27FC236}">
                <a16:creationId xmlns:a16="http://schemas.microsoft.com/office/drawing/2014/main" id="{5E94C647-11C3-44DB-9EA8-3EB477583C97}"/>
              </a:ext>
            </a:extLst>
          </p:cNvPr>
          <p:cNvPicPr/>
          <p:nvPr userDrawn="1"/>
        </p:nvPicPr>
        <p:blipFill>
          <a:blip r:embed="rId2"/>
          <a:stretch>
            <a:fillRect/>
          </a:stretch>
        </p:blipFill>
        <p:spPr>
          <a:xfrm>
            <a:off x="10187649" y="6337275"/>
            <a:ext cx="1488414" cy="399548"/>
          </a:xfrm>
          <a:prstGeom prst="rect">
            <a:avLst/>
          </a:prstGeom>
        </p:spPr>
      </p:pic>
    </p:spTree>
    <p:extLst>
      <p:ext uri="{BB962C8B-B14F-4D97-AF65-F5344CB8AC3E}">
        <p14:creationId xmlns:p14="http://schemas.microsoft.com/office/powerpoint/2010/main" val="25633215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arguments 2">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4E6D71C-ACD7-49D2-9689-F9C4024FAC38}" type="slidenum">
              <a:rPr lang="en-US" smtClean="0"/>
              <a:t>‹#›</a:t>
            </a:fld>
            <a:endParaRPr lang="en-US" dirty="0"/>
          </a:p>
        </p:txBody>
      </p:sp>
      <p:sp>
        <p:nvSpPr>
          <p:cNvPr id="21" name="Content Placeholder 5"/>
          <p:cNvSpPr>
            <a:spLocks noGrp="1"/>
          </p:cNvSpPr>
          <p:nvPr>
            <p:ph sz="quarter" idx="16" hasCustomPrompt="1"/>
          </p:nvPr>
        </p:nvSpPr>
        <p:spPr>
          <a:xfrm>
            <a:off x="3724851" y="710673"/>
            <a:ext cx="6147812" cy="606612"/>
          </a:xfrm>
        </p:spPr>
        <p:txBody>
          <a:bodyPr>
            <a:noAutofit/>
          </a:bodyPr>
          <a:lstStyle>
            <a:lvl1pPr marL="0" indent="0">
              <a:buNone/>
              <a:defRPr sz="2000" b="1"/>
            </a:lvl1pPr>
          </a:lstStyle>
          <a:p>
            <a:pPr lvl="0"/>
            <a:r>
              <a:rPr lang="en-US" dirty="0"/>
              <a:t>INSERT ITEM HERE</a:t>
            </a:r>
          </a:p>
        </p:txBody>
      </p:sp>
      <p:sp>
        <p:nvSpPr>
          <p:cNvPr id="22" name="Content Placeholder 5"/>
          <p:cNvSpPr>
            <a:spLocks noGrp="1"/>
          </p:cNvSpPr>
          <p:nvPr>
            <p:ph sz="quarter" idx="17" hasCustomPrompt="1"/>
          </p:nvPr>
        </p:nvSpPr>
        <p:spPr>
          <a:xfrm>
            <a:off x="3724851" y="2332143"/>
            <a:ext cx="6156280" cy="606612"/>
          </a:xfrm>
        </p:spPr>
        <p:txBody>
          <a:bodyPr>
            <a:noAutofit/>
          </a:bodyPr>
          <a:lstStyle>
            <a:lvl1pPr marL="0" indent="0">
              <a:buNone/>
              <a:defRPr sz="2000" b="1"/>
            </a:lvl1pPr>
          </a:lstStyle>
          <a:p>
            <a:pPr lvl="0"/>
            <a:r>
              <a:rPr lang="en-US" dirty="0"/>
              <a:t>INSERT ITEM HERE</a:t>
            </a:r>
          </a:p>
        </p:txBody>
      </p:sp>
      <p:sp>
        <p:nvSpPr>
          <p:cNvPr id="23" name="Content Placeholder 5"/>
          <p:cNvSpPr>
            <a:spLocks noGrp="1"/>
          </p:cNvSpPr>
          <p:nvPr>
            <p:ph sz="quarter" idx="18" hasCustomPrompt="1"/>
          </p:nvPr>
        </p:nvSpPr>
        <p:spPr>
          <a:xfrm>
            <a:off x="3733317" y="3761205"/>
            <a:ext cx="6147813" cy="606612"/>
          </a:xfrm>
        </p:spPr>
        <p:txBody>
          <a:bodyPr>
            <a:noAutofit/>
          </a:bodyPr>
          <a:lstStyle>
            <a:lvl1pPr marL="0" indent="0">
              <a:buNone/>
              <a:defRPr sz="2000" b="1"/>
            </a:lvl1pPr>
          </a:lstStyle>
          <a:p>
            <a:pPr lvl="0"/>
            <a:r>
              <a:rPr lang="en-US" dirty="0"/>
              <a:t>INSERT ITEM HERE</a:t>
            </a:r>
          </a:p>
        </p:txBody>
      </p:sp>
      <p:sp>
        <p:nvSpPr>
          <p:cNvPr id="24" name="Content Placeholder 5"/>
          <p:cNvSpPr>
            <a:spLocks noGrp="1"/>
          </p:cNvSpPr>
          <p:nvPr>
            <p:ph sz="quarter" idx="19" hasCustomPrompt="1"/>
          </p:nvPr>
        </p:nvSpPr>
        <p:spPr>
          <a:xfrm>
            <a:off x="3733318" y="5465489"/>
            <a:ext cx="6147812" cy="606612"/>
          </a:xfrm>
        </p:spPr>
        <p:txBody>
          <a:bodyPr>
            <a:noAutofit/>
          </a:bodyPr>
          <a:lstStyle>
            <a:lvl1pPr marL="0" indent="0">
              <a:buNone/>
              <a:defRPr sz="2000" b="1"/>
            </a:lvl1pPr>
          </a:lstStyle>
          <a:p>
            <a:pPr lvl="0"/>
            <a:r>
              <a:rPr lang="en-US" dirty="0"/>
              <a:t>INSERT ITEM HERE</a:t>
            </a:r>
          </a:p>
        </p:txBody>
      </p:sp>
      <p:sp>
        <p:nvSpPr>
          <p:cNvPr id="5" name="Picture Placeholder 4"/>
          <p:cNvSpPr>
            <a:spLocks noGrp="1"/>
          </p:cNvSpPr>
          <p:nvPr>
            <p:ph type="pic" sz="quarter" idx="20" hasCustomPrompt="1"/>
          </p:nvPr>
        </p:nvSpPr>
        <p:spPr>
          <a:xfrm>
            <a:off x="2562225" y="711200"/>
            <a:ext cx="657225" cy="606425"/>
          </a:xfrm>
        </p:spPr>
        <p:txBody>
          <a:bodyPr>
            <a:noAutofit/>
          </a:bodyPr>
          <a:lstStyle>
            <a:lvl1pPr marL="0" indent="0">
              <a:buNone/>
              <a:defRPr sz="1400" baseline="0"/>
            </a:lvl1pPr>
          </a:lstStyle>
          <a:p>
            <a:r>
              <a:rPr lang="en-US" dirty="0"/>
              <a:t>Insert Icon</a:t>
            </a:r>
          </a:p>
        </p:txBody>
      </p:sp>
      <p:sp>
        <p:nvSpPr>
          <p:cNvPr id="15" name="Picture Placeholder 4"/>
          <p:cNvSpPr>
            <a:spLocks noGrp="1"/>
          </p:cNvSpPr>
          <p:nvPr>
            <p:ph type="pic" sz="quarter" idx="21" hasCustomPrompt="1"/>
          </p:nvPr>
        </p:nvSpPr>
        <p:spPr>
          <a:xfrm>
            <a:off x="2562225" y="2328441"/>
            <a:ext cx="657225" cy="606425"/>
          </a:xfrm>
        </p:spPr>
        <p:txBody>
          <a:bodyPr>
            <a:noAutofit/>
          </a:bodyPr>
          <a:lstStyle>
            <a:lvl1pPr marL="0" indent="0">
              <a:buNone/>
              <a:defRPr sz="1400" baseline="0"/>
            </a:lvl1pPr>
          </a:lstStyle>
          <a:p>
            <a:r>
              <a:rPr lang="en-US" dirty="0"/>
              <a:t>Insert Icon</a:t>
            </a:r>
          </a:p>
        </p:txBody>
      </p:sp>
      <p:sp>
        <p:nvSpPr>
          <p:cNvPr id="17" name="Picture Placeholder 4"/>
          <p:cNvSpPr>
            <a:spLocks noGrp="1"/>
          </p:cNvSpPr>
          <p:nvPr>
            <p:ph type="pic" sz="quarter" idx="22" hasCustomPrompt="1"/>
          </p:nvPr>
        </p:nvSpPr>
        <p:spPr>
          <a:xfrm>
            <a:off x="2562225" y="3761205"/>
            <a:ext cx="657225" cy="606425"/>
          </a:xfrm>
        </p:spPr>
        <p:txBody>
          <a:bodyPr>
            <a:noAutofit/>
          </a:bodyPr>
          <a:lstStyle>
            <a:lvl1pPr marL="0" indent="0">
              <a:buNone/>
              <a:defRPr sz="1400" baseline="0"/>
            </a:lvl1pPr>
          </a:lstStyle>
          <a:p>
            <a:r>
              <a:rPr lang="en-US" dirty="0"/>
              <a:t>Insert Icon</a:t>
            </a:r>
          </a:p>
        </p:txBody>
      </p:sp>
      <p:sp>
        <p:nvSpPr>
          <p:cNvPr id="19" name="Picture Placeholder 4"/>
          <p:cNvSpPr>
            <a:spLocks noGrp="1"/>
          </p:cNvSpPr>
          <p:nvPr>
            <p:ph type="pic" sz="quarter" idx="23" hasCustomPrompt="1"/>
          </p:nvPr>
        </p:nvSpPr>
        <p:spPr>
          <a:xfrm>
            <a:off x="2562225" y="5465676"/>
            <a:ext cx="657225" cy="606425"/>
          </a:xfrm>
        </p:spPr>
        <p:txBody>
          <a:bodyPr>
            <a:noAutofit/>
          </a:bodyPr>
          <a:lstStyle>
            <a:lvl1pPr marL="0" indent="0">
              <a:buNone/>
              <a:defRPr sz="1400" baseline="0"/>
            </a:lvl1pPr>
          </a:lstStyle>
          <a:p>
            <a:r>
              <a:rPr lang="en-US" dirty="0"/>
              <a:t>Insert Icon</a:t>
            </a:r>
          </a:p>
        </p:txBody>
      </p:sp>
      <p:pic>
        <p:nvPicPr>
          <p:cNvPr id="11" name="Picture 10">
            <a:extLst>
              <a:ext uri="{FF2B5EF4-FFF2-40B4-BE49-F238E27FC236}">
                <a16:creationId xmlns:a16="http://schemas.microsoft.com/office/drawing/2014/main" id="{C479630F-8609-4308-885B-E2545F02868B}"/>
              </a:ext>
            </a:extLst>
          </p:cNvPr>
          <p:cNvPicPr/>
          <p:nvPr userDrawn="1"/>
        </p:nvPicPr>
        <p:blipFill>
          <a:blip r:embed="rId2"/>
          <a:stretch>
            <a:fillRect/>
          </a:stretch>
        </p:blipFill>
        <p:spPr>
          <a:xfrm>
            <a:off x="10187649" y="6337275"/>
            <a:ext cx="1488414" cy="399548"/>
          </a:xfrm>
          <a:prstGeom prst="rect">
            <a:avLst/>
          </a:prstGeom>
        </p:spPr>
      </p:pic>
    </p:spTree>
    <p:extLst>
      <p:ext uri="{BB962C8B-B14F-4D97-AF65-F5344CB8AC3E}">
        <p14:creationId xmlns:p14="http://schemas.microsoft.com/office/powerpoint/2010/main" val="16651876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720" y="549276"/>
            <a:ext cx="10693400" cy="962025"/>
          </a:xfrm>
        </p:spPr>
        <p:txBody>
          <a:bodyPr/>
          <a:lstStyle>
            <a:lvl1pPr algn="ctr">
              <a:defRPr sz="4000">
                <a:solidFill>
                  <a:schemeClr val="tx1"/>
                </a:solidFill>
                <a:latin typeface="Century Gothic" panose="020B0502020202020204"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4E6D71C-ACD7-49D2-9689-F9C4024FAC38}" type="slidenum">
              <a:rPr lang="en-US" smtClean="0"/>
              <a:pPr/>
              <a:t>‹#›</a:t>
            </a:fld>
            <a:endParaRPr lang="en-US" dirty="0"/>
          </a:p>
        </p:txBody>
      </p:sp>
      <p:sp>
        <p:nvSpPr>
          <p:cNvPr id="4" name="Bent Arrow 3"/>
          <p:cNvSpPr/>
          <p:nvPr userDrawn="1"/>
        </p:nvSpPr>
        <p:spPr>
          <a:xfrm flipV="1">
            <a:off x="6281510" y="1522910"/>
            <a:ext cx="1127539" cy="3373940"/>
          </a:xfrm>
          <a:prstGeom prst="bentArrow">
            <a:avLst>
              <a:gd name="adj1" fmla="val 18536"/>
              <a:gd name="adj2" fmla="val 18435"/>
              <a:gd name="adj3" fmla="val 25000"/>
              <a:gd name="adj4" fmla="val 16992"/>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 name="Bent Arrow 4"/>
          <p:cNvSpPr/>
          <p:nvPr userDrawn="1"/>
        </p:nvSpPr>
        <p:spPr>
          <a:xfrm flipV="1">
            <a:off x="6052803" y="1522910"/>
            <a:ext cx="1127539" cy="4606427"/>
          </a:xfrm>
          <a:prstGeom prst="bentArrow">
            <a:avLst>
              <a:gd name="adj1" fmla="val 18536"/>
              <a:gd name="adj2" fmla="val 18435"/>
              <a:gd name="adj3" fmla="val 25000"/>
              <a:gd name="adj4" fmla="val 1699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 name="Bent Arrow 5"/>
          <p:cNvSpPr/>
          <p:nvPr userDrawn="1"/>
        </p:nvSpPr>
        <p:spPr>
          <a:xfrm flipH="1" flipV="1">
            <a:off x="4905553" y="1522910"/>
            <a:ext cx="1127539" cy="4606427"/>
          </a:xfrm>
          <a:prstGeom prst="bentArrow">
            <a:avLst>
              <a:gd name="adj1" fmla="val 18536"/>
              <a:gd name="adj2" fmla="val 18435"/>
              <a:gd name="adj3" fmla="val 25000"/>
              <a:gd name="adj4" fmla="val 16992"/>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 name="Bent Arrow 6"/>
          <p:cNvSpPr/>
          <p:nvPr userDrawn="1"/>
        </p:nvSpPr>
        <p:spPr>
          <a:xfrm flipH="1" flipV="1">
            <a:off x="4675107" y="1522909"/>
            <a:ext cx="1127539" cy="3373941"/>
          </a:xfrm>
          <a:prstGeom prst="bentArrow">
            <a:avLst>
              <a:gd name="adj1" fmla="val 18536"/>
              <a:gd name="adj2" fmla="val 18435"/>
              <a:gd name="adj3" fmla="val 25000"/>
              <a:gd name="adj4" fmla="val 16992"/>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8" name="Rectangle 7"/>
          <p:cNvSpPr/>
          <p:nvPr userDrawn="1"/>
        </p:nvSpPr>
        <p:spPr>
          <a:xfrm>
            <a:off x="5591175" y="0"/>
            <a:ext cx="235126" cy="549276"/>
          </a:xfrm>
          <a:prstGeom prst="rect">
            <a:avLst/>
          </a:prstGeom>
          <a:solidFill>
            <a:srgbClr val="BF56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userDrawn="1"/>
        </p:nvSpPr>
        <p:spPr>
          <a:xfrm>
            <a:off x="5821620" y="0"/>
            <a:ext cx="235126" cy="549276"/>
          </a:xfrm>
          <a:prstGeom prst="rect">
            <a:avLst/>
          </a:prstGeom>
          <a:solidFill>
            <a:srgbClr val="D680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a:off x="6046384" y="0"/>
            <a:ext cx="235126" cy="549276"/>
          </a:xfrm>
          <a:prstGeom prst="rect">
            <a:avLst/>
          </a:prstGeom>
          <a:solidFill>
            <a:srgbClr val="F7A4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userDrawn="1"/>
        </p:nvSpPr>
        <p:spPr>
          <a:xfrm>
            <a:off x="6275967" y="0"/>
            <a:ext cx="235126" cy="549276"/>
          </a:xfrm>
          <a:prstGeom prst="rect">
            <a:avLst/>
          </a:prstGeom>
          <a:solidFill>
            <a:srgbClr val="FAC8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Content Placeholder 12"/>
          <p:cNvSpPr>
            <a:spLocks noGrp="1"/>
          </p:cNvSpPr>
          <p:nvPr>
            <p:ph sz="quarter" idx="11" hasCustomPrompt="1"/>
          </p:nvPr>
        </p:nvSpPr>
        <p:spPr>
          <a:xfrm>
            <a:off x="7486650" y="4515850"/>
            <a:ext cx="2609850" cy="361950"/>
          </a:xfrm>
        </p:spPr>
        <p:txBody>
          <a:bodyPr>
            <a:normAutofit/>
          </a:bodyPr>
          <a:lstStyle>
            <a:lvl1pPr marL="0" indent="0">
              <a:buNone/>
              <a:defRPr sz="2000" b="1"/>
            </a:lvl1pPr>
          </a:lstStyle>
          <a:p>
            <a:pPr lvl="0"/>
            <a:r>
              <a:rPr lang="en-US" dirty="0"/>
              <a:t>Insert item</a:t>
            </a:r>
          </a:p>
        </p:txBody>
      </p:sp>
      <p:sp>
        <p:nvSpPr>
          <p:cNvPr id="14" name="Content Placeholder 12"/>
          <p:cNvSpPr>
            <a:spLocks noGrp="1"/>
          </p:cNvSpPr>
          <p:nvPr>
            <p:ph sz="quarter" idx="12" hasCustomPrompt="1"/>
          </p:nvPr>
        </p:nvSpPr>
        <p:spPr>
          <a:xfrm>
            <a:off x="7239000" y="5738812"/>
            <a:ext cx="2609850" cy="361950"/>
          </a:xfrm>
        </p:spPr>
        <p:txBody>
          <a:bodyPr>
            <a:normAutofit/>
          </a:bodyPr>
          <a:lstStyle>
            <a:lvl1pPr marL="0" indent="0">
              <a:buNone/>
              <a:defRPr sz="2000" b="1"/>
            </a:lvl1pPr>
          </a:lstStyle>
          <a:p>
            <a:pPr lvl="0"/>
            <a:r>
              <a:rPr lang="en-US" dirty="0"/>
              <a:t>Insert item</a:t>
            </a:r>
          </a:p>
        </p:txBody>
      </p:sp>
      <p:sp>
        <p:nvSpPr>
          <p:cNvPr id="15" name="Content Placeholder 12"/>
          <p:cNvSpPr>
            <a:spLocks noGrp="1"/>
          </p:cNvSpPr>
          <p:nvPr>
            <p:ph sz="quarter" idx="13" hasCustomPrompt="1"/>
          </p:nvPr>
        </p:nvSpPr>
        <p:spPr>
          <a:xfrm>
            <a:off x="3004802" y="4515850"/>
            <a:ext cx="1555082" cy="361950"/>
          </a:xfrm>
        </p:spPr>
        <p:txBody>
          <a:bodyPr>
            <a:normAutofit/>
          </a:bodyPr>
          <a:lstStyle>
            <a:lvl1pPr marL="0" indent="0">
              <a:buNone/>
              <a:defRPr sz="2000" b="1"/>
            </a:lvl1pPr>
          </a:lstStyle>
          <a:p>
            <a:pPr lvl="0"/>
            <a:r>
              <a:rPr lang="en-US" dirty="0"/>
              <a:t>Insert item</a:t>
            </a:r>
          </a:p>
        </p:txBody>
      </p:sp>
      <p:sp>
        <p:nvSpPr>
          <p:cNvPr id="16" name="Content Placeholder 12"/>
          <p:cNvSpPr>
            <a:spLocks noGrp="1"/>
          </p:cNvSpPr>
          <p:nvPr>
            <p:ph sz="quarter" idx="14" hasCustomPrompt="1"/>
          </p:nvPr>
        </p:nvSpPr>
        <p:spPr>
          <a:xfrm>
            <a:off x="3291813" y="5720762"/>
            <a:ext cx="1555082" cy="361950"/>
          </a:xfrm>
        </p:spPr>
        <p:txBody>
          <a:bodyPr>
            <a:normAutofit/>
          </a:bodyPr>
          <a:lstStyle>
            <a:lvl1pPr marL="0" indent="0">
              <a:buNone/>
              <a:defRPr sz="2000" b="1"/>
            </a:lvl1pPr>
          </a:lstStyle>
          <a:p>
            <a:pPr lvl="0"/>
            <a:r>
              <a:rPr lang="en-US" dirty="0"/>
              <a:t>Insert item</a:t>
            </a:r>
          </a:p>
        </p:txBody>
      </p:sp>
      <p:pic>
        <p:nvPicPr>
          <p:cNvPr id="17" name="Picture 16">
            <a:extLst>
              <a:ext uri="{FF2B5EF4-FFF2-40B4-BE49-F238E27FC236}">
                <a16:creationId xmlns:a16="http://schemas.microsoft.com/office/drawing/2014/main" id="{E9088CD7-7080-4359-A778-A425FEFEC2B2}"/>
              </a:ext>
            </a:extLst>
          </p:cNvPr>
          <p:cNvPicPr/>
          <p:nvPr userDrawn="1"/>
        </p:nvPicPr>
        <p:blipFill>
          <a:blip r:embed="rId2"/>
          <a:stretch>
            <a:fillRect/>
          </a:stretch>
        </p:blipFill>
        <p:spPr>
          <a:xfrm>
            <a:off x="10187649" y="6337275"/>
            <a:ext cx="1488414" cy="399548"/>
          </a:xfrm>
          <a:prstGeom prst="rect">
            <a:avLst/>
          </a:prstGeom>
        </p:spPr>
      </p:pic>
    </p:spTree>
    <p:extLst>
      <p:ext uri="{BB962C8B-B14F-4D97-AF65-F5344CB8AC3E}">
        <p14:creationId xmlns:p14="http://schemas.microsoft.com/office/powerpoint/2010/main" val="179448669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5845" y="294527"/>
            <a:ext cx="10693400" cy="962025"/>
          </a:xfrm>
        </p:spPr>
        <p:txBody>
          <a:bodyPr/>
          <a:lstStyle>
            <a:lvl1pPr>
              <a:defRPr sz="4000">
                <a:latin typeface="Century Gothic" panose="020B0502020202020204"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4E6D71C-ACD7-49D2-9689-F9C4024FAC38}" type="slidenum">
              <a:rPr lang="en-US" smtClean="0"/>
              <a:pPr/>
              <a:t>‹#›</a:t>
            </a:fld>
            <a:endParaRPr lang="en-US" dirty="0"/>
          </a:p>
        </p:txBody>
      </p:sp>
      <p:sp>
        <p:nvSpPr>
          <p:cNvPr id="10" name="Content Placeholder 10"/>
          <p:cNvSpPr>
            <a:spLocks noGrp="1"/>
          </p:cNvSpPr>
          <p:nvPr>
            <p:ph sz="quarter" idx="14" hasCustomPrompt="1"/>
          </p:nvPr>
        </p:nvSpPr>
        <p:spPr>
          <a:xfrm>
            <a:off x="520257" y="2436813"/>
            <a:ext cx="3158762" cy="2847975"/>
          </a:xfrm>
          <a:solidFill>
            <a:srgbClr val="BF560F"/>
          </a:solidFill>
        </p:spPr>
        <p:txBody>
          <a:bodyPr lIns="216000" tIns="252000" rIns="216000" anchor="t" anchorCtr="1"/>
          <a:lstStyle>
            <a:lvl3pPr marL="0">
              <a:spcBef>
                <a:spcPts val="0"/>
              </a:spcBef>
              <a:defRPr b="1">
                <a:solidFill>
                  <a:schemeClr val="bg1"/>
                </a:solidFill>
              </a:defRPr>
            </a:lvl3pPr>
          </a:lstStyle>
          <a:p>
            <a:pPr lvl="2"/>
            <a:r>
              <a:rPr lang="en-US" dirty="0"/>
              <a:t>Third level</a:t>
            </a:r>
          </a:p>
        </p:txBody>
      </p:sp>
      <p:sp>
        <p:nvSpPr>
          <p:cNvPr id="14" name="Content Placeholder 10"/>
          <p:cNvSpPr>
            <a:spLocks noGrp="1"/>
          </p:cNvSpPr>
          <p:nvPr>
            <p:ph sz="quarter" idx="15" hasCustomPrompt="1"/>
          </p:nvPr>
        </p:nvSpPr>
        <p:spPr>
          <a:xfrm>
            <a:off x="4485743" y="2436813"/>
            <a:ext cx="3158762" cy="2847975"/>
          </a:xfrm>
          <a:solidFill>
            <a:srgbClr val="D68008"/>
          </a:solidFill>
        </p:spPr>
        <p:txBody>
          <a:bodyPr lIns="216000" tIns="252000" rIns="216000" anchor="t" anchorCtr="1"/>
          <a:lstStyle>
            <a:lvl3pPr marL="0">
              <a:spcBef>
                <a:spcPts val="0"/>
              </a:spcBef>
              <a:defRPr b="1">
                <a:solidFill>
                  <a:schemeClr val="bg1"/>
                </a:solidFill>
              </a:defRPr>
            </a:lvl3pPr>
          </a:lstStyle>
          <a:p>
            <a:pPr lvl="2"/>
            <a:r>
              <a:rPr lang="en-US" dirty="0"/>
              <a:t>Third level</a:t>
            </a:r>
          </a:p>
        </p:txBody>
      </p:sp>
      <p:sp>
        <p:nvSpPr>
          <p:cNvPr id="15" name="Content Placeholder 10"/>
          <p:cNvSpPr>
            <a:spLocks noGrp="1"/>
          </p:cNvSpPr>
          <p:nvPr>
            <p:ph sz="quarter" idx="16" hasCustomPrompt="1"/>
          </p:nvPr>
        </p:nvSpPr>
        <p:spPr>
          <a:xfrm>
            <a:off x="8484265" y="2436813"/>
            <a:ext cx="3158762" cy="2847975"/>
          </a:xfrm>
          <a:solidFill>
            <a:srgbClr val="F7A431"/>
          </a:solidFill>
        </p:spPr>
        <p:txBody>
          <a:bodyPr lIns="216000" tIns="252000" rIns="216000" anchor="t" anchorCtr="1"/>
          <a:lstStyle>
            <a:lvl3pPr marL="0">
              <a:spcBef>
                <a:spcPts val="0"/>
              </a:spcBef>
              <a:defRPr b="1"/>
            </a:lvl3pPr>
          </a:lstStyle>
          <a:p>
            <a:pPr lvl="2"/>
            <a:r>
              <a:rPr lang="en-US" dirty="0"/>
              <a:t>Third level</a:t>
            </a:r>
          </a:p>
        </p:txBody>
      </p:sp>
      <p:pic>
        <p:nvPicPr>
          <p:cNvPr id="7" name="Picture 6">
            <a:extLst>
              <a:ext uri="{FF2B5EF4-FFF2-40B4-BE49-F238E27FC236}">
                <a16:creationId xmlns:a16="http://schemas.microsoft.com/office/drawing/2014/main" id="{14C83A44-26AA-4421-9F0F-A90F604207E6}"/>
              </a:ext>
            </a:extLst>
          </p:cNvPr>
          <p:cNvPicPr/>
          <p:nvPr userDrawn="1"/>
        </p:nvPicPr>
        <p:blipFill>
          <a:blip r:embed="rId2"/>
          <a:stretch>
            <a:fillRect/>
          </a:stretch>
        </p:blipFill>
        <p:spPr>
          <a:xfrm>
            <a:off x="10187649" y="6337275"/>
            <a:ext cx="1488414" cy="399548"/>
          </a:xfrm>
          <a:prstGeom prst="rect">
            <a:avLst/>
          </a:prstGeom>
        </p:spPr>
      </p:pic>
    </p:spTree>
    <p:extLst>
      <p:ext uri="{BB962C8B-B14F-4D97-AF65-F5344CB8AC3E}">
        <p14:creationId xmlns:p14="http://schemas.microsoft.com/office/powerpoint/2010/main" val="16223591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Rectangle 2"/>
          <p:cNvSpPr/>
          <p:nvPr userDrawn="1"/>
        </p:nvSpPr>
        <p:spPr>
          <a:xfrm>
            <a:off x="1792139" y="1591733"/>
            <a:ext cx="8627768" cy="35780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Slide Number Placeholder 6"/>
          <p:cNvSpPr>
            <a:spLocks noGrp="1"/>
          </p:cNvSpPr>
          <p:nvPr>
            <p:ph type="sldNum" sz="quarter" idx="12"/>
          </p:nvPr>
        </p:nvSpPr>
        <p:spPr/>
        <p:txBody>
          <a:bodyPr/>
          <a:lstStyle/>
          <a:p>
            <a:fld id="{D4E6D71C-ACD7-49D2-9689-F9C4024FAC38}" type="slidenum">
              <a:rPr lang="en-US" smtClean="0"/>
              <a:t>‹#›</a:t>
            </a:fld>
            <a:endParaRPr lang="en-US" dirty="0"/>
          </a:p>
        </p:txBody>
      </p:sp>
      <p:cxnSp>
        <p:nvCxnSpPr>
          <p:cNvPr id="9" name="Straight Connector 8"/>
          <p:cNvCxnSpPr/>
          <p:nvPr userDrawn="1"/>
        </p:nvCxnSpPr>
        <p:spPr>
          <a:xfrm>
            <a:off x="515938" y="6303962"/>
            <a:ext cx="260722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3270011" y="1974076"/>
            <a:ext cx="831272" cy="1569660"/>
          </a:xfrm>
          <a:prstGeom prst="rect">
            <a:avLst/>
          </a:prstGeom>
          <a:noFill/>
        </p:spPr>
        <p:txBody>
          <a:bodyPr wrap="square" rtlCol="0">
            <a:spAutoFit/>
          </a:bodyPr>
          <a:lstStyle/>
          <a:p>
            <a:r>
              <a:rPr lang="en-US" sz="9600" dirty="0">
                <a:solidFill>
                  <a:schemeClr val="bg1"/>
                </a:solidFill>
              </a:rPr>
              <a:t>“</a:t>
            </a:r>
          </a:p>
        </p:txBody>
      </p:sp>
      <p:sp>
        <p:nvSpPr>
          <p:cNvPr id="4" name="Content Placeholder 3"/>
          <p:cNvSpPr>
            <a:spLocks noGrp="1"/>
          </p:cNvSpPr>
          <p:nvPr>
            <p:ph sz="quarter" idx="13" hasCustomPrompt="1"/>
          </p:nvPr>
        </p:nvSpPr>
        <p:spPr>
          <a:xfrm>
            <a:off x="3411110" y="2458894"/>
            <a:ext cx="5688013" cy="1946275"/>
          </a:xfrm>
        </p:spPr>
        <p:txBody>
          <a:bodyPr/>
          <a:lstStyle>
            <a:lvl2pPr marL="457200" indent="0">
              <a:buNone/>
              <a:defRPr/>
            </a:lvl2pPr>
          </a:lstStyle>
          <a:p>
            <a:br>
              <a:rPr lang="en-US" sz="2600" i="1" dirty="0">
                <a:solidFill>
                  <a:schemeClr val="bg1"/>
                </a:solidFill>
                <a:latin typeface="Arial" panose="020B0604020202020204" pitchFamily="34" charset="0"/>
                <a:cs typeface="Arial" panose="020B0604020202020204" pitchFamily="34" charset="0"/>
              </a:rPr>
            </a:br>
            <a:r>
              <a:rPr lang="en-US" sz="2600" i="1" dirty="0">
                <a:solidFill>
                  <a:schemeClr val="bg1"/>
                </a:solidFill>
                <a:latin typeface="Arial" panose="020B0604020202020204" pitchFamily="34" charset="0"/>
                <a:cs typeface="Arial" panose="020B0604020202020204" pitchFamily="34" charset="0"/>
              </a:rPr>
              <a:t>Insert quote here Insert quote here</a:t>
            </a:r>
          </a:p>
          <a:p>
            <a:r>
              <a:rPr lang="en-US" sz="2600" i="1" dirty="0">
                <a:solidFill>
                  <a:schemeClr val="bg1"/>
                </a:solidFill>
                <a:latin typeface="Arial" panose="020B0604020202020204" pitchFamily="34" charset="0"/>
                <a:cs typeface="Arial" panose="020B0604020202020204" pitchFamily="34" charset="0"/>
              </a:rPr>
              <a:t>Insert quote here</a:t>
            </a:r>
            <a:r>
              <a:rPr lang="en-US" sz="2600" i="1" dirty="0"/>
              <a:t> </a:t>
            </a:r>
            <a:r>
              <a:rPr lang="en-US" sz="2600" i="1" dirty="0">
                <a:solidFill>
                  <a:schemeClr val="bg1"/>
                </a:solidFill>
                <a:latin typeface="Arial" panose="020B0604020202020204" pitchFamily="34" charset="0"/>
                <a:cs typeface="Arial" panose="020B0604020202020204" pitchFamily="34" charset="0"/>
              </a:rPr>
              <a:t>Insert quote here</a:t>
            </a:r>
            <a:endParaRPr lang="en-US" sz="2600" i="1" dirty="0"/>
          </a:p>
          <a:p>
            <a:r>
              <a:rPr lang="en-US" sz="2600" i="1" dirty="0">
                <a:solidFill>
                  <a:schemeClr val="bg1"/>
                </a:solidFill>
                <a:latin typeface="Arial" panose="020B0604020202020204" pitchFamily="34" charset="0"/>
                <a:cs typeface="Arial" panose="020B0604020202020204" pitchFamily="34" charset="0"/>
              </a:rPr>
              <a:t>Insert quote here</a:t>
            </a:r>
            <a:r>
              <a:rPr lang="en-US" sz="2600" i="1" dirty="0"/>
              <a:t> </a:t>
            </a:r>
            <a:r>
              <a:rPr lang="en-US" sz="2600" i="1" dirty="0">
                <a:solidFill>
                  <a:schemeClr val="bg1"/>
                </a:solidFill>
                <a:latin typeface="Arial" panose="020B0604020202020204" pitchFamily="34" charset="0"/>
                <a:cs typeface="Arial" panose="020B0604020202020204" pitchFamily="34" charset="0"/>
              </a:rPr>
              <a:t>Insert quote here</a:t>
            </a:r>
            <a:endParaRPr lang="en-US" sz="2600" i="1" dirty="0"/>
          </a:p>
        </p:txBody>
      </p:sp>
      <p:sp>
        <p:nvSpPr>
          <p:cNvPr id="5" name="Text Placeholder 4"/>
          <p:cNvSpPr>
            <a:spLocks noGrp="1"/>
          </p:cNvSpPr>
          <p:nvPr>
            <p:ph type="body" sz="quarter" idx="14" hasCustomPrompt="1"/>
          </p:nvPr>
        </p:nvSpPr>
        <p:spPr>
          <a:xfrm>
            <a:off x="515938" y="5526757"/>
            <a:ext cx="2754073" cy="781967"/>
          </a:xfrm>
        </p:spPr>
        <p:txBody>
          <a:bodyPr/>
          <a:lstStyle>
            <a:lvl1pPr marL="0" indent="0">
              <a:buNone/>
              <a:defRPr/>
            </a:lvl1pPr>
            <a:lvl5pPr marL="1828800" indent="0">
              <a:buNone/>
              <a:defRPr/>
            </a:lvl5pPr>
          </a:lstStyle>
          <a:p>
            <a:r>
              <a:rPr lang="en-US" sz="1400" dirty="0">
                <a:latin typeface="Arial" panose="020B0604020202020204" pitchFamily="34" charset="0"/>
                <a:cs typeface="Arial" panose="020B0604020202020204" pitchFamily="34" charset="0"/>
              </a:rPr>
              <a:t>Name of the person cited</a:t>
            </a:r>
          </a:p>
          <a:p>
            <a:r>
              <a:rPr lang="en-US" sz="1400" dirty="0">
                <a:latin typeface="Arial" panose="020B0604020202020204" pitchFamily="34" charset="0"/>
                <a:cs typeface="Arial" panose="020B0604020202020204" pitchFamily="34" charset="0"/>
              </a:rPr>
              <a:t>His title</a:t>
            </a:r>
          </a:p>
        </p:txBody>
      </p:sp>
      <p:pic>
        <p:nvPicPr>
          <p:cNvPr id="8" name="Picture 7">
            <a:extLst>
              <a:ext uri="{FF2B5EF4-FFF2-40B4-BE49-F238E27FC236}">
                <a16:creationId xmlns:a16="http://schemas.microsoft.com/office/drawing/2014/main" id="{E8842A41-0370-4CA6-901F-37A3161C1E37}"/>
              </a:ext>
            </a:extLst>
          </p:cNvPr>
          <p:cNvPicPr/>
          <p:nvPr userDrawn="1"/>
        </p:nvPicPr>
        <p:blipFill>
          <a:blip r:embed="rId2"/>
          <a:stretch>
            <a:fillRect/>
          </a:stretch>
        </p:blipFill>
        <p:spPr>
          <a:xfrm>
            <a:off x="10187649" y="6337275"/>
            <a:ext cx="1488414" cy="399548"/>
          </a:xfrm>
          <a:prstGeom prst="rect">
            <a:avLst/>
          </a:prstGeom>
        </p:spPr>
      </p:pic>
    </p:spTree>
    <p:extLst>
      <p:ext uri="{BB962C8B-B14F-4D97-AF65-F5344CB8AC3E}">
        <p14:creationId xmlns:p14="http://schemas.microsoft.com/office/powerpoint/2010/main" val="25993071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ubarguments and main argumen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4E6D71C-ACD7-49D2-9689-F9C4024FAC38}" type="slidenum">
              <a:rPr lang="en-US" smtClean="0"/>
              <a:t>‹#›</a:t>
            </a:fld>
            <a:endParaRPr lang="en-US" dirty="0"/>
          </a:p>
        </p:txBody>
      </p:sp>
      <p:sp>
        <p:nvSpPr>
          <p:cNvPr id="5" name="Rectangle 4"/>
          <p:cNvSpPr/>
          <p:nvPr userDrawn="1"/>
        </p:nvSpPr>
        <p:spPr>
          <a:xfrm>
            <a:off x="515938" y="549275"/>
            <a:ext cx="7020982" cy="5759450"/>
          </a:xfrm>
          <a:prstGeom prst="rect">
            <a:avLst/>
          </a:prstGeom>
          <a:solidFill>
            <a:srgbClr val="034F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 name="Straight Connector 6"/>
          <p:cNvCxnSpPr/>
          <p:nvPr userDrawn="1"/>
        </p:nvCxnSpPr>
        <p:spPr>
          <a:xfrm>
            <a:off x="1069087" y="3035710"/>
            <a:ext cx="649493"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1054799" y="5559976"/>
            <a:ext cx="649493"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1065143" y="1833800"/>
            <a:ext cx="649493"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1058406" y="4299470"/>
            <a:ext cx="649493"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18"/>
          <p:cNvSpPr>
            <a:spLocks noGrp="1"/>
          </p:cNvSpPr>
          <p:nvPr>
            <p:ph type="body" sz="quarter" idx="11" hasCustomPrompt="1"/>
          </p:nvPr>
        </p:nvSpPr>
        <p:spPr>
          <a:xfrm>
            <a:off x="977515" y="1464901"/>
            <a:ext cx="3454929" cy="331864"/>
          </a:xfrm>
        </p:spPr>
        <p:txBody>
          <a:bodyPr>
            <a:normAutofit/>
          </a:bodyPr>
          <a:lstStyle>
            <a:lvl1pPr marL="0" indent="0">
              <a:buNone/>
              <a:defRPr sz="1800"/>
            </a:lvl1pPr>
          </a:lstStyle>
          <a:p>
            <a:pPr lvl="0"/>
            <a:r>
              <a:rPr lang="en-US" b="1" dirty="0" err="1">
                <a:solidFill>
                  <a:schemeClr val="bg1"/>
                </a:solidFill>
                <a:latin typeface="Arial" panose="020B0604020202020204" pitchFamily="34" charset="0"/>
                <a:cs typeface="Arial" panose="020B0604020202020204" pitchFamily="34" charset="0"/>
              </a:rPr>
              <a:t>Subargument</a:t>
            </a:r>
            <a:endParaRPr lang="en-US" dirty="0"/>
          </a:p>
        </p:txBody>
      </p:sp>
      <p:sp>
        <p:nvSpPr>
          <p:cNvPr id="21" name="Text Placeholder 18"/>
          <p:cNvSpPr>
            <a:spLocks noGrp="1"/>
          </p:cNvSpPr>
          <p:nvPr>
            <p:ph type="body" sz="quarter" idx="12" hasCustomPrompt="1"/>
          </p:nvPr>
        </p:nvSpPr>
        <p:spPr>
          <a:xfrm>
            <a:off x="960540" y="5197957"/>
            <a:ext cx="3454929" cy="331864"/>
          </a:xfrm>
        </p:spPr>
        <p:txBody>
          <a:bodyPr>
            <a:normAutofit/>
          </a:bodyPr>
          <a:lstStyle>
            <a:lvl1pPr marL="0" indent="0">
              <a:buNone/>
              <a:defRPr sz="1800"/>
            </a:lvl1pPr>
          </a:lstStyle>
          <a:p>
            <a:pPr lvl="0"/>
            <a:r>
              <a:rPr lang="en-US" b="1" dirty="0" err="1">
                <a:solidFill>
                  <a:schemeClr val="bg1"/>
                </a:solidFill>
                <a:latin typeface="Arial" panose="020B0604020202020204" pitchFamily="34" charset="0"/>
                <a:cs typeface="Arial" panose="020B0604020202020204" pitchFamily="34" charset="0"/>
              </a:rPr>
              <a:t>Subargument</a:t>
            </a:r>
            <a:endParaRPr lang="en-US" dirty="0"/>
          </a:p>
        </p:txBody>
      </p:sp>
      <p:sp>
        <p:nvSpPr>
          <p:cNvPr id="22" name="Text Placeholder 18"/>
          <p:cNvSpPr>
            <a:spLocks noGrp="1"/>
          </p:cNvSpPr>
          <p:nvPr>
            <p:ph type="body" sz="quarter" idx="13" hasCustomPrompt="1"/>
          </p:nvPr>
        </p:nvSpPr>
        <p:spPr>
          <a:xfrm>
            <a:off x="959969" y="3925934"/>
            <a:ext cx="3454929" cy="331864"/>
          </a:xfrm>
        </p:spPr>
        <p:txBody>
          <a:bodyPr>
            <a:normAutofit/>
          </a:bodyPr>
          <a:lstStyle>
            <a:lvl1pPr marL="0" indent="0">
              <a:buNone/>
              <a:defRPr sz="1800"/>
            </a:lvl1pPr>
          </a:lstStyle>
          <a:p>
            <a:pPr lvl="0"/>
            <a:r>
              <a:rPr lang="en-US" b="1" dirty="0" err="1">
                <a:solidFill>
                  <a:schemeClr val="bg1"/>
                </a:solidFill>
                <a:latin typeface="Arial" panose="020B0604020202020204" pitchFamily="34" charset="0"/>
                <a:cs typeface="Arial" panose="020B0604020202020204" pitchFamily="34" charset="0"/>
              </a:rPr>
              <a:t>Subargument</a:t>
            </a:r>
            <a:endParaRPr lang="en-US" dirty="0"/>
          </a:p>
        </p:txBody>
      </p:sp>
      <p:sp>
        <p:nvSpPr>
          <p:cNvPr id="23" name="Text Placeholder 18"/>
          <p:cNvSpPr>
            <a:spLocks noGrp="1"/>
          </p:cNvSpPr>
          <p:nvPr>
            <p:ph type="body" sz="quarter" idx="14" hasCustomPrompt="1"/>
          </p:nvPr>
        </p:nvSpPr>
        <p:spPr>
          <a:xfrm>
            <a:off x="970140" y="2666749"/>
            <a:ext cx="3454929" cy="331864"/>
          </a:xfrm>
        </p:spPr>
        <p:txBody>
          <a:bodyPr>
            <a:normAutofit/>
          </a:bodyPr>
          <a:lstStyle>
            <a:lvl1pPr marL="0" indent="0">
              <a:buNone/>
              <a:defRPr sz="1800"/>
            </a:lvl1pPr>
          </a:lstStyle>
          <a:p>
            <a:pPr lvl="0"/>
            <a:r>
              <a:rPr lang="en-US" b="1" dirty="0" err="1">
                <a:solidFill>
                  <a:schemeClr val="bg1"/>
                </a:solidFill>
                <a:latin typeface="Arial" panose="020B0604020202020204" pitchFamily="34" charset="0"/>
                <a:cs typeface="Arial" panose="020B0604020202020204" pitchFamily="34" charset="0"/>
              </a:rPr>
              <a:t>Subargument</a:t>
            </a:r>
            <a:endParaRPr lang="en-US" dirty="0"/>
          </a:p>
        </p:txBody>
      </p:sp>
      <p:sp>
        <p:nvSpPr>
          <p:cNvPr id="15" name="Content Placeholder 3"/>
          <p:cNvSpPr>
            <a:spLocks noGrp="1"/>
          </p:cNvSpPr>
          <p:nvPr>
            <p:ph sz="quarter" idx="16" hasCustomPrompt="1"/>
          </p:nvPr>
        </p:nvSpPr>
        <p:spPr>
          <a:xfrm>
            <a:off x="7762875" y="563073"/>
            <a:ext cx="3913188" cy="5759450"/>
          </a:xfrm>
        </p:spPr>
        <p:txBody>
          <a:bodyPr anchor="ctr" anchorCtr="0">
            <a:normAutofit/>
          </a:bodyPr>
          <a:lstStyle>
            <a:lvl1pPr>
              <a:defRPr sz="4000" b="1">
                <a:latin typeface="Century Gothic" panose="020B0502020202020204" pitchFamily="34" charset="0"/>
              </a:defRPr>
            </a:lvl1pPr>
          </a:lstStyle>
          <a:p>
            <a:r>
              <a:rPr lang="en-US" dirty="0"/>
              <a:t>INSERT MAIN ARGUMENT HERE</a:t>
            </a:r>
          </a:p>
        </p:txBody>
      </p:sp>
      <p:pic>
        <p:nvPicPr>
          <p:cNvPr id="13" name="Picture 12">
            <a:extLst>
              <a:ext uri="{FF2B5EF4-FFF2-40B4-BE49-F238E27FC236}">
                <a16:creationId xmlns:a16="http://schemas.microsoft.com/office/drawing/2014/main" id="{A038A13B-4680-4F24-A0AB-D968A62324EB}"/>
              </a:ext>
            </a:extLst>
          </p:cNvPr>
          <p:cNvPicPr/>
          <p:nvPr userDrawn="1"/>
        </p:nvPicPr>
        <p:blipFill>
          <a:blip r:embed="rId2"/>
          <a:stretch>
            <a:fillRect/>
          </a:stretch>
        </p:blipFill>
        <p:spPr>
          <a:xfrm>
            <a:off x="10187649" y="6337275"/>
            <a:ext cx="1488414" cy="399548"/>
          </a:xfrm>
          <a:prstGeom prst="rect">
            <a:avLst/>
          </a:prstGeom>
        </p:spPr>
      </p:pic>
    </p:spTree>
    <p:extLst>
      <p:ext uri="{BB962C8B-B14F-4D97-AF65-F5344CB8AC3E}">
        <p14:creationId xmlns:p14="http://schemas.microsoft.com/office/powerpoint/2010/main" val="27886886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6 points">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4E6D71C-ACD7-49D2-9689-F9C4024FAC38}" type="slidenum">
              <a:rPr lang="en-US" smtClean="0"/>
              <a:pPr/>
              <a:t>‹#›</a:t>
            </a:fld>
            <a:endParaRPr lang="en-US" dirty="0"/>
          </a:p>
        </p:txBody>
      </p:sp>
      <p:sp>
        <p:nvSpPr>
          <p:cNvPr id="33" name="Content Placeholder 24"/>
          <p:cNvSpPr>
            <a:spLocks noGrp="1"/>
          </p:cNvSpPr>
          <p:nvPr>
            <p:ph sz="quarter" idx="23" hasCustomPrompt="1"/>
          </p:nvPr>
        </p:nvSpPr>
        <p:spPr>
          <a:xfrm>
            <a:off x="4369594" y="1787525"/>
            <a:ext cx="3475037" cy="2060575"/>
          </a:xfrm>
          <a:solidFill>
            <a:srgbClr val="8F6885"/>
          </a:solidFill>
        </p:spPr>
        <p:txBody>
          <a:bodyPr anchor="ctr" anchorCtr="1">
            <a:noAutofit/>
          </a:bodyPr>
          <a:lstStyle>
            <a:lvl1pPr>
              <a:defRPr>
                <a:solidFill>
                  <a:schemeClr val="bg1"/>
                </a:solidFill>
              </a:defRPr>
            </a:lvl1pPr>
            <a:lvl2pPr>
              <a:defRPr>
                <a:solidFill>
                  <a:schemeClr val="bg1"/>
                </a:solidFill>
              </a:defRPr>
            </a:lvl2pPr>
            <a:lvl3pPr marL="0">
              <a:defRPr b="1">
                <a:solidFill>
                  <a:schemeClr val="bg1"/>
                </a:solidFill>
              </a:defRPr>
            </a:lvl3pPr>
            <a:lvl4pPr marL="360000">
              <a:defRPr b="1">
                <a:solidFill>
                  <a:schemeClr val="bg1"/>
                </a:solidFill>
              </a:defRPr>
            </a:lvl4pPr>
            <a:lvl5pPr>
              <a:defRPr>
                <a:solidFill>
                  <a:schemeClr val="bg1"/>
                </a:solidFill>
              </a:defRPr>
            </a:lvl5pPr>
          </a:lstStyle>
          <a:p>
            <a:pPr lvl="2"/>
            <a:r>
              <a:rPr lang="en-US" dirty="0"/>
              <a:t>Third level</a:t>
            </a:r>
          </a:p>
          <a:p>
            <a:pPr lvl="3"/>
            <a:r>
              <a:rPr lang="en-US" dirty="0"/>
              <a:t>Fourth level</a:t>
            </a:r>
          </a:p>
        </p:txBody>
      </p:sp>
      <p:sp>
        <p:nvSpPr>
          <p:cNvPr id="34" name="Content Placeholder 24"/>
          <p:cNvSpPr>
            <a:spLocks noGrp="1"/>
          </p:cNvSpPr>
          <p:nvPr>
            <p:ph sz="quarter" idx="24" hasCustomPrompt="1"/>
          </p:nvPr>
        </p:nvSpPr>
        <p:spPr>
          <a:xfrm>
            <a:off x="538162" y="1787525"/>
            <a:ext cx="3475037" cy="2060575"/>
          </a:xfrm>
          <a:solidFill>
            <a:srgbClr val="8F6885"/>
          </a:solidFill>
        </p:spPr>
        <p:txBody>
          <a:bodyPr anchor="ctr" anchorCtr="1">
            <a:noAutofit/>
          </a:bodyPr>
          <a:lstStyle>
            <a:lvl1pPr>
              <a:defRPr>
                <a:solidFill>
                  <a:schemeClr val="bg1"/>
                </a:solidFill>
              </a:defRPr>
            </a:lvl1pPr>
            <a:lvl2pPr>
              <a:defRPr>
                <a:solidFill>
                  <a:schemeClr val="bg1"/>
                </a:solidFill>
              </a:defRPr>
            </a:lvl2pPr>
            <a:lvl3pPr marL="0">
              <a:defRPr b="1">
                <a:solidFill>
                  <a:schemeClr val="bg1"/>
                </a:solidFill>
              </a:defRPr>
            </a:lvl3pPr>
            <a:lvl4pPr marL="360000">
              <a:defRPr b="1">
                <a:solidFill>
                  <a:schemeClr val="bg1"/>
                </a:solidFill>
              </a:defRPr>
            </a:lvl4pPr>
            <a:lvl5pPr>
              <a:defRPr>
                <a:solidFill>
                  <a:schemeClr val="bg1"/>
                </a:solidFill>
              </a:defRPr>
            </a:lvl5pPr>
          </a:lstStyle>
          <a:p>
            <a:pPr lvl="2"/>
            <a:r>
              <a:rPr lang="en-US" dirty="0"/>
              <a:t>Third level</a:t>
            </a:r>
          </a:p>
          <a:p>
            <a:pPr lvl="3"/>
            <a:r>
              <a:rPr lang="en-US" dirty="0"/>
              <a:t>Fourth level</a:t>
            </a:r>
          </a:p>
        </p:txBody>
      </p:sp>
      <p:sp>
        <p:nvSpPr>
          <p:cNvPr id="35" name="Content Placeholder 24"/>
          <p:cNvSpPr>
            <a:spLocks noGrp="1"/>
          </p:cNvSpPr>
          <p:nvPr>
            <p:ph sz="quarter" idx="25" hasCustomPrompt="1"/>
          </p:nvPr>
        </p:nvSpPr>
        <p:spPr>
          <a:xfrm>
            <a:off x="8201026" y="1787525"/>
            <a:ext cx="3475037" cy="2060575"/>
          </a:xfrm>
          <a:solidFill>
            <a:srgbClr val="8F6885"/>
          </a:solidFill>
        </p:spPr>
        <p:txBody>
          <a:bodyPr anchor="ctr" anchorCtr="1">
            <a:noAutofit/>
          </a:bodyPr>
          <a:lstStyle>
            <a:lvl1pPr>
              <a:defRPr>
                <a:solidFill>
                  <a:schemeClr val="bg1"/>
                </a:solidFill>
              </a:defRPr>
            </a:lvl1pPr>
            <a:lvl2pPr>
              <a:defRPr>
                <a:solidFill>
                  <a:schemeClr val="bg1"/>
                </a:solidFill>
              </a:defRPr>
            </a:lvl2pPr>
            <a:lvl3pPr marL="0">
              <a:defRPr b="1">
                <a:solidFill>
                  <a:schemeClr val="bg1"/>
                </a:solidFill>
              </a:defRPr>
            </a:lvl3pPr>
            <a:lvl4pPr marL="360000">
              <a:defRPr b="1">
                <a:solidFill>
                  <a:schemeClr val="bg1"/>
                </a:solidFill>
              </a:defRPr>
            </a:lvl4pPr>
            <a:lvl5pPr>
              <a:defRPr>
                <a:solidFill>
                  <a:schemeClr val="bg1"/>
                </a:solidFill>
              </a:defRPr>
            </a:lvl5pPr>
          </a:lstStyle>
          <a:p>
            <a:pPr lvl="2"/>
            <a:r>
              <a:rPr lang="en-US" dirty="0"/>
              <a:t>Third level</a:t>
            </a:r>
          </a:p>
          <a:p>
            <a:pPr lvl="3"/>
            <a:r>
              <a:rPr lang="en-US" dirty="0"/>
              <a:t>Fourth level</a:t>
            </a:r>
          </a:p>
        </p:txBody>
      </p:sp>
      <p:sp>
        <p:nvSpPr>
          <p:cNvPr id="36" name="Content Placeholder 24"/>
          <p:cNvSpPr>
            <a:spLocks noGrp="1"/>
          </p:cNvSpPr>
          <p:nvPr>
            <p:ph sz="quarter" idx="26" hasCustomPrompt="1"/>
          </p:nvPr>
        </p:nvSpPr>
        <p:spPr>
          <a:xfrm>
            <a:off x="4369594" y="4229325"/>
            <a:ext cx="3475037" cy="2060575"/>
          </a:xfrm>
          <a:solidFill>
            <a:srgbClr val="8F6885"/>
          </a:solidFill>
        </p:spPr>
        <p:txBody>
          <a:bodyPr anchor="ctr" anchorCtr="1">
            <a:noAutofit/>
          </a:bodyPr>
          <a:lstStyle>
            <a:lvl1pPr>
              <a:defRPr>
                <a:solidFill>
                  <a:schemeClr val="bg1"/>
                </a:solidFill>
              </a:defRPr>
            </a:lvl1pPr>
            <a:lvl2pPr>
              <a:defRPr>
                <a:solidFill>
                  <a:schemeClr val="bg1"/>
                </a:solidFill>
              </a:defRPr>
            </a:lvl2pPr>
            <a:lvl3pPr marL="0">
              <a:defRPr b="1">
                <a:solidFill>
                  <a:schemeClr val="bg1"/>
                </a:solidFill>
              </a:defRPr>
            </a:lvl3pPr>
            <a:lvl4pPr marL="360000">
              <a:defRPr b="1">
                <a:solidFill>
                  <a:schemeClr val="bg1"/>
                </a:solidFill>
              </a:defRPr>
            </a:lvl4pPr>
            <a:lvl5pPr>
              <a:defRPr>
                <a:solidFill>
                  <a:schemeClr val="bg1"/>
                </a:solidFill>
              </a:defRPr>
            </a:lvl5pPr>
          </a:lstStyle>
          <a:p>
            <a:pPr lvl="2"/>
            <a:r>
              <a:rPr lang="en-US" dirty="0"/>
              <a:t>Third level</a:t>
            </a:r>
          </a:p>
          <a:p>
            <a:pPr lvl="3"/>
            <a:r>
              <a:rPr lang="en-US" dirty="0"/>
              <a:t>Fourth level</a:t>
            </a:r>
          </a:p>
        </p:txBody>
      </p:sp>
      <p:sp>
        <p:nvSpPr>
          <p:cNvPr id="37" name="Content Placeholder 24"/>
          <p:cNvSpPr>
            <a:spLocks noGrp="1"/>
          </p:cNvSpPr>
          <p:nvPr>
            <p:ph sz="quarter" idx="27" hasCustomPrompt="1"/>
          </p:nvPr>
        </p:nvSpPr>
        <p:spPr>
          <a:xfrm>
            <a:off x="538162" y="4229325"/>
            <a:ext cx="3475037" cy="2060575"/>
          </a:xfrm>
          <a:solidFill>
            <a:srgbClr val="8F6885"/>
          </a:solidFill>
        </p:spPr>
        <p:txBody>
          <a:bodyPr anchor="ctr" anchorCtr="1">
            <a:noAutofit/>
          </a:bodyPr>
          <a:lstStyle>
            <a:lvl1pPr>
              <a:defRPr>
                <a:solidFill>
                  <a:schemeClr val="bg1"/>
                </a:solidFill>
              </a:defRPr>
            </a:lvl1pPr>
            <a:lvl2pPr>
              <a:defRPr>
                <a:solidFill>
                  <a:schemeClr val="bg1"/>
                </a:solidFill>
              </a:defRPr>
            </a:lvl2pPr>
            <a:lvl3pPr marL="0">
              <a:defRPr b="1">
                <a:solidFill>
                  <a:schemeClr val="bg1"/>
                </a:solidFill>
              </a:defRPr>
            </a:lvl3pPr>
            <a:lvl4pPr marL="360000">
              <a:defRPr b="1">
                <a:solidFill>
                  <a:schemeClr val="bg1"/>
                </a:solidFill>
              </a:defRPr>
            </a:lvl4pPr>
            <a:lvl5pPr>
              <a:defRPr>
                <a:solidFill>
                  <a:schemeClr val="bg1"/>
                </a:solidFill>
              </a:defRPr>
            </a:lvl5pPr>
          </a:lstStyle>
          <a:p>
            <a:pPr lvl="2"/>
            <a:r>
              <a:rPr lang="en-US" dirty="0"/>
              <a:t>Third level</a:t>
            </a:r>
          </a:p>
          <a:p>
            <a:pPr lvl="3"/>
            <a:r>
              <a:rPr lang="en-US" dirty="0"/>
              <a:t>Fourth level</a:t>
            </a:r>
          </a:p>
        </p:txBody>
      </p:sp>
      <p:sp>
        <p:nvSpPr>
          <p:cNvPr id="38" name="Content Placeholder 24"/>
          <p:cNvSpPr>
            <a:spLocks noGrp="1"/>
          </p:cNvSpPr>
          <p:nvPr>
            <p:ph sz="quarter" idx="28" hasCustomPrompt="1"/>
          </p:nvPr>
        </p:nvSpPr>
        <p:spPr>
          <a:xfrm>
            <a:off x="8201026" y="4229325"/>
            <a:ext cx="3475037" cy="2060575"/>
          </a:xfrm>
          <a:solidFill>
            <a:srgbClr val="8F6885"/>
          </a:solidFill>
        </p:spPr>
        <p:txBody>
          <a:bodyPr anchor="ctr" anchorCtr="1">
            <a:noAutofit/>
          </a:bodyPr>
          <a:lstStyle>
            <a:lvl1pPr>
              <a:defRPr>
                <a:solidFill>
                  <a:schemeClr val="bg1"/>
                </a:solidFill>
              </a:defRPr>
            </a:lvl1pPr>
            <a:lvl2pPr>
              <a:defRPr>
                <a:solidFill>
                  <a:schemeClr val="bg1"/>
                </a:solidFill>
              </a:defRPr>
            </a:lvl2pPr>
            <a:lvl3pPr marL="0">
              <a:defRPr b="1">
                <a:solidFill>
                  <a:schemeClr val="bg1"/>
                </a:solidFill>
              </a:defRPr>
            </a:lvl3pPr>
            <a:lvl4pPr marL="360000">
              <a:defRPr b="1">
                <a:solidFill>
                  <a:schemeClr val="bg1"/>
                </a:solidFill>
              </a:defRPr>
            </a:lvl4pPr>
            <a:lvl5pPr>
              <a:defRPr>
                <a:solidFill>
                  <a:schemeClr val="bg1"/>
                </a:solidFill>
              </a:defRPr>
            </a:lvl5pPr>
          </a:lstStyle>
          <a:p>
            <a:pPr lvl="2"/>
            <a:r>
              <a:rPr lang="en-US" dirty="0"/>
              <a:t>Third level</a:t>
            </a:r>
          </a:p>
          <a:p>
            <a:pPr lvl="3"/>
            <a:r>
              <a:rPr lang="en-US" dirty="0"/>
              <a:t>Fourth level</a:t>
            </a:r>
          </a:p>
        </p:txBody>
      </p:sp>
      <p:pic>
        <p:nvPicPr>
          <p:cNvPr id="10" name="Picture 9">
            <a:extLst>
              <a:ext uri="{FF2B5EF4-FFF2-40B4-BE49-F238E27FC236}">
                <a16:creationId xmlns:a16="http://schemas.microsoft.com/office/drawing/2014/main" id="{DFA18468-D29C-442F-85EB-DC4599456490}"/>
              </a:ext>
            </a:extLst>
          </p:cNvPr>
          <p:cNvPicPr/>
          <p:nvPr userDrawn="1"/>
        </p:nvPicPr>
        <p:blipFill>
          <a:blip r:embed="rId2"/>
          <a:stretch>
            <a:fillRect/>
          </a:stretch>
        </p:blipFill>
        <p:spPr>
          <a:xfrm>
            <a:off x="10187649" y="6337275"/>
            <a:ext cx="1488414" cy="399548"/>
          </a:xfrm>
          <a:prstGeom prst="rect">
            <a:avLst/>
          </a:prstGeom>
        </p:spPr>
      </p:pic>
    </p:spTree>
    <p:extLst>
      <p:ext uri="{BB962C8B-B14F-4D97-AF65-F5344CB8AC3E}">
        <p14:creationId xmlns:p14="http://schemas.microsoft.com/office/powerpoint/2010/main" val="8395651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s">
    <p:spTree>
      <p:nvGrpSpPr>
        <p:cNvPr id="1" name=""/>
        <p:cNvGrpSpPr/>
        <p:nvPr/>
      </p:nvGrpSpPr>
      <p:grpSpPr>
        <a:xfrm>
          <a:off x="0" y="0"/>
          <a:ext cx="0" cy="0"/>
          <a:chOff x="0" y="0"/>
          <a:chExt cx="0" cy="0"/>
        </a:xfrm>
      </p:grpSpPr>
      <p:sp>
        <p:nvSpPr>
          <p:cNvPr id="14" name="Rectangle 13" title="WHAT WE ARE"/>
          <p:cNvSpPr/>
          <p:nvPr userDrawn="1"/>
        </p:nvSpPr>
        <p:spPr>
          <a:xfrm>
            <a:off x="515938" y="1438275"/>
            <a:ext cx="11160125" cy="4066651"/>
          </a:xfrm>
          <a:prstGeom prst="rect">
            <a:avLst/>
          </a:prstGeom>
          <a:solidFill>
            <a:srgbClr val="034F84">
              <a:alpha val="8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6" name="Straight Connector 15"/>
          <p:cNvCxnSpPr/>
          <p:nvPr userDrawn="1"/>
        </p:nvCxnSpPr>
        <p:spPr>
          <a:xfrm>
            <a:off x="1786467" y="4960363"/>
            <a:ext cx="862315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itle 9"/>
          <p:cNvSpPr>
            <a:spLocks noGrp="1"/>
          </p:cNvSpPr>
          <p:nvPr>
            <p:ph type="title" hasCustomPrompt="1"/>
          </p:nvPr>
        </p:nvSpPr>
        <p:spPr>
          <a:xfrm>
            <a:off x="1655723" y="2096730"/>
            <a:ext cx="8753895" cy="739608"/>
          </a:xfrm>
        </p:spPr>
        <p:txBody>
          <a:bodyPr/>
          <a:lstStyle>
            <a:lvl1pPr algn="l">
              <a:defRPr sz="4800" baseline="0">
                <a:solidFill>
                  <a:schemeClr val="bg1"/>
                </a:solidFill>
              </a:defRPr>
            </a:lvl1pPr>
          </a:lstStyle>
          <a:p>
            <a:r>
              <a:rPr lang="en-US" sz="6000" dirty="0"/>
              <a:t>CHAPTER’S NAME</a:t>
            </a:r>
          </a:p>
        </p:txBody>
      </p:sp>
      <p:sp>
        <p:nvSpPr>
          <p:cNvPr id="12" name="Text Placeholder 11"/>
          <p:cNvSpPr>
            <a:spLocks noGrp="1"/>
          </p:cNvSpPr>
          <p:nvPr>
            <p:ph type="body" sz="quarter" idx="14" hasCustomPrompt="1"/>
          </p:nvPr>
        </p:nvSpPr>
        <p:spPr>
          <a:xfrm>
            <a:off x="1672168" y="3022049"/>
            <a:ext cx="8737450" cy="1935361"/>
          </a:xfrm>
        </p:spPr>
        <p:txBody>
          <a:bodyPr>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3200" b="1">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SUBTITLE OF THE CHAPTER</a:t>
            </a:r>
          </a:p>
        </p:txBody>
      </p:sp>
      <p:sp>
        <p:nvSpPr>
          <p:cNvPr id="13" name="Slide Number Placeholder 2">
            <a:extLst>
              <a:ext uri="{FF2B5EF4-FFF2-40B4-BE49-F238E27FC236}">
                <a16:creationId xmlns:a16="http://schemas.microsoft.com/office/drawing/2014/main" id="{675C71D0-A2A1-40F1-B75E-5FDF1C418BD5}"/>
              </a:ext>
            </a:extLst>
          </p:cNvPr>
          <p:cNvSpPr>
            <a:spLocks noGrp="1"/>
          </p:cNvSpPr>
          <p:nvPr>
            <p:ph type="sldNum" sz="quarter" idx="10"/>
          </p:nvPr>
        </p:nvSpPr>
        <p:spPr>
          <a:xfrm>
            <a:off x="11676063" y="6322523"/>
            <a:ext cx="445028" cy="322706"/>
          </a:xfrm>
        </p:spPr>
        <p:txBody>
          <a:bodyPr/>
          <a:lstStyle/>
          <a:p>
            <a:fld id="{D4E6D71C-ACD7-49D2-9689-F9C4024FAC38}" type="slidenum">
              <a:rPr lang="en-US" smtClean="0"/>
              <a:t>‹#›</a:t>
            </a:fld>
            <a:endParaRPr lang="en-US" dirty="0"/>
          </a:p>
        </p:txBody>
      </p:sp>
    </p:spTree>
    <p:extLst>
      <p:ext uri="{BB962C8B-B14F-4D97-AF65-F5344CB8AC3E}">
        <p14:creationId xmlns:p14="http://schemas.microsoft.com/office/powerpoint/2010/main" val="1329322122"/>
      </p:ext>
    </p:extLst>
  </p:cSld>
  <p:clrMapOvr>
    <a:masterClrMapping/>
  </p:clrMapOvr>
  <p:extLst mod="1">
    <p:ext uri="{DCECCB84-F9BA-43D5-87BE-67443E8EF086}">
      <p15:sldGuideLst xmlns:p15="http://schemas.microsoft.com/office/powerpoint/2012/main">
        <p15:guide id="4" orient="horz" pos="3861"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4E6D71C-ACD7-49D2-9689-F9C4024FAC38}" type="slidenum">
              <a:rPr lang="en-US" smtClean="0"/>
              <a:pPr/>
              <a:t>‹#›</a:t>
            </a:fld>
            <a:endParaRPr lang="en-US" dirty="0"/>
          </a:p>
        </p:txBody>
      </p:sp>
      <p:sp>
        <p:nvSpPr>
          <p:cNvPr id="4" name="Rectangle 3"/>
          <p:cNvSpPr/>
          <p:nvPr userDrawn="1"/>
        </p:nvSpPr>
        <p:spPr>
          <a:xfrm>
            <a:off x="0" y="3584561"/>
            <a:ext cx="2231411" cy="4052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userDrawn="1"/>
        </p:nvSpPr>
        <p:spPr>
          <a:xfrm>
            <a:off x="2231412" y="3584561"/>
            <a:ext cx="1836039" cy="405238"/>
          </a:xfrm>
          <a:prstGeom prst="rect">
            <a:avLst/>
          </a:prstGeom>
          <a:solidFill>
            <a:srgbClr val="C05F0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userDrawn="1"/>
        </p:nvSpPr>
        <p:spPr>
          <a:xfrm>
            <a:off x="4065620" y="3584561"/>
            <a:ext cx="1872358" cy="405238"/>
          </a:xfrm>
          <a:prstGeom prst="rect">
            <a:avLst/>
          </a:prstGeom>
          <a:solidFill>
            <a:srgbClr val="D46D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p:cNvSpPr/>
          <p:nvPr userDrawn="1"/>
        </p:nvSpPr>
        <p:spPr>
          <a:xfrm>
            <a:off x="5937979" y="3584561"/>
            <a:ext cx="1836039" cy="405238"/>
          </a:xfrm>
          <a:prstGeom prst="rect">
            <a:avLst/>
          </a:prstGeom>
          <a:solidFill>
            <a:srgbClr val="E777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userDrawn="1"/>
        </p:nvSpPr>
        <p:spPr>
          <a:xfrm>
            <a:off x="7772186" y="3584561"/>
            <a:ext cx="1872358" cy="405238"/>
          </a:xfrm>
          <a:prstGeom prst="rect">
            <a:avLst/>
          </a:prstGeom>
          <a:solidFill>
            <a:srgbClr val="F18E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Pentagon 8"/>
          <p:cNvSpPr/>
          <p:nvPr userDrawn="1"/>
        </p:nvSpPr>
        <p:spPr>
          <a:xfrm>
            <a:off x="9644544" y="3584561"/>
            <a:ext cx="2019096" cy="405238"/>
          </a:xfrm>
          <a:prstGeom prst="homePlate">
            <a:avLst/>
          </a:prstGeom>
          <a:solidFill>
            <a:srgbClr val="F7A4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Content Placeholder 12"/>
          <p:cNvSpPr>
            <a:spLocks noGrp="1"/>
          </p:cNvSpPr>
          <p:nvPr>
            <p:ph sz="quarter" idx="11" hasCustomPrompt="1"/>
          </p:nvPr>
        </p:nvSpPr>
        <p:spPr>
          <a:xfrm>
            <a:off x="515938" y="3584575"/>
            <a:ext cx="1716087" cy="404813"/>
          </a:xfrm>
        </p:spPr>
        <p:txBody>
          <a:bodyPr/>
          <a:lstStyle>
            <a:lvl4pPr marL="1371600" indent="0">
              <a:buNone/>
              <a:defRPr/>
            </a:lvl4pPr>
          </a:lstStyle>
          <a:p>
            <a:pPr lvl="3"/>
            <a:r>
              <a:rPr lang="en-US" dirty="0"/>
              <a:t>Insert date</a:t>
            </a:r>
          </a:p>
        </p:txBody>
      </p:sp>
      <p:sp>
        <p:nvSpPr>
          <p:cNvPr id="14" name="Content Placeholder 12"/>
          <p:cNvSpPr>
            <a:spLocks noGrp="1"/>
          </p:cNvSpPr>
          <p:nvPr>
            <p:ph sz="quarter" idx="12" hasCustomPrompt="1"/>
          </p:nvPr>
        </p:nvSpPr>
        <p:spPr>
          <a:xfrm>
            <a:off x="2348919" y="3584575"/>
            <a:ext cx="1716087" cy="404813"/>
          </a:xfrm>
        </p:spPr>
        <p:txBody>
          <a:bodyPr/>
          <a:lstStyle>
            <a:lvl4pPr marL="1371600" indent="0">
              <a:buNone/>
              <a:defRPr/>
            </a:lvl4pPr>
          </a:lstStyle>
          <a:p>
            <a:pPr lvl="3"/>
            <a:r>
              <a:rPr lang="en-US" dirty="0"/>
              <a:t>Insert date</a:t>
            </a:r>
          </a:p>
        </p:txBody>
      </p:sp>
      <p:sp>
        <p:nvSpPr>
          <p:cNvPr id="15" name="Content Placeholder 12"/>
          <p:cNvSpPr>
            <a:spLocks noGrp="1"/>
          </p:cNvSpPr>
          <p:nvPr>
            <p:ph sz="quarter" idx="13" hasCustomPrompt="1"/>
          </p:nvPr>
        </p:nvSpPr>
        <p:spPr>
          <a:xfrm>
            <a:off x="4216510" y="3584575"/>
            <a:ext cx="1716087" cy="404813"/>
          </a:xfrm>
        </p:spPr>
        <p:txBody>
          <a:bodyPr/>
          <a:lstStyle>
            <a:lvl4pPr marL="1371600" indent="0">
              <a:buNone/>
              <a:defRPr/>
            </a:lvl4pPr>
          </a:lstStyle>
          <a:p>
            <a:pPr lvl="3"/>
            <a:r>
              <a:rPr lang="en-US" dirty="0"/>
              <a:t>Insert date</a:t>
            </a:r>
          </a:p>
        </p:txBody>
      </p:sp>
      <p:sp>
        <p:nvSpPr>
          <p:cNvPr id="16" name="Content Placeholder 12"/>
          <p:cNvSpPr>
            <a:spLocks noGrp="1"/>
          </p:cNvSpPr>
          <p:nvPr>
            <p:ph sz="quarter" idx="14" hasCustomPrompt="1"/>
          </p:nvPr>
        </p:nvSpPr>
        <p:spPr>
          <a:xfrm>
            <a:off x="6057931" y="3584575"/>
            <a:ext cx="1716087" cy="404813"/>
          </a:xfrm>
        </p:spPr>
        <p:txBody>
          <a:bodyPr/>
          <a:lstStyle>
            <a:lvl4pPr marL="1371600" indent="0">
              <a:buNone/>
              <a:defRPr/>
            </a:lvl4pPr>
          </a:lstStyle>
          <a:p>
            <a:pPr lvl="3"/>
            <a:r>
              <a:rPr lang="en-US" dirty="0"/>
              <a:t>Insert date</a:t>
            </a:r>
          </a:p>
        </p:txBody>
      </p:sp>
      <p:sp>
        <p:nvSpPr>
          <p:cNvPr id="17" name="Content Placeholder 12"/>
          <p:cNvSpPr>
            <a:spLocks noGrp="1"/>
          </p:cNvSpPr>
          <p:nvPr>
            <p:ph sz="quarter" idx="15" hasCustomPrompt="1"/>
          </p:nvPr>
        </p:nvSpPr>
        <p:spPr>
          <a:xfrm>
            <a:off x="7928457" y="3584575"/>
            <a:ext cx="1716087" cy="404813"/>
          </a:xfrm>
        </p:spPr>
        <p:txBody>
          <a:bodyPr/>
          <a:lstStyle>
            <a:lvl4pPr marL="1371600" indent="0">
              <a:buNone/>
              <a:defRPr/>
            </a:lvl4pPr>
          </a:lstStyle>
          <a:p>
            <a:pPr lvl="3"/>
            <a:r>
              <a:rPr lang="en-US" dirty="0"/>
              <a:t>Insert date</a:t>
            </a:r>
          </a:p>
        </p:txBody>
      </p:sp>
      <p:sp>
        <p:nvSpPr>
          <p:cNvPr id="18" name="Content Placeholder 12"/>
          <p:cNvSpPr>
            <a:spLocks noGrp="1"/>
          </p:cNvSpPr>
          <p:nvPr>
            <p:ph sz="quarter" idx="16" hasCustomPrompt="1"/>
          </p:nvPr>
        </p:nvSpPr>
        <p:spPr>
          <a:xfrm>
            <a:off x="9644544" y="3584575"/>
            <a:ext cx="1716087" cy="404813"/>
          </a:xfrm>
        </p:spPr>
        <p:txBody>
          <a:bodyPr/>
          <a:lstStyle>
            <a:lvl4pPr marL="1371600" indent="0">
              <a:buNone/>
              <a:defRPr/>
            </a:lvl4pPr>
          </a:lstStyle>
          <a:p>
            <a:pPr lvl="3"/>
            <a:r>
              <a:rPr lang="en-US" dirty="0"/>
              <a:t>Insert date</a:t>
            </a:r>
          </a:p>
        </p:txBody>
      </p:sp>
      <p:pic>
        <p:nvPicPr>
          <p:cNvPr id="19" name="Picture 18">
            <a:extLst>
              <a:ext uri="{FF2B5EF4-FFF2-40B4-BE49-F238E27FC236}">
                <a16:creationId xmlns:a16="http://schemas.microsoft.com/office/drawing/2014/main" id="{3066D182-D9F0-4E92-A2F9-81AC91EEFDF7}"/>
              </a:ext>
            </a:extLst>
          </p:cNvPr>
          <p:cNvPicPr/>
          <p:nvPr userDrawn="1"/>
        </p:nvPicPr>
        <p:blipFill>
          <a:blip r:embed="rId2"/>
          <a:stretch>
            <a:fillRect/>
          </a:stretch>
        </p:blipFill>
        <p:spPr>
          <a:xfrm>
            <a:off x="10187649" y="6337275"/>
            <a:ext cx="1488414" cy="399548"/>
          </a:xfrm>
          <a:prstGeom prst="rect">
            <a:avLst/>
          </a:prstGeom>
        </p:spPr>
      </p:pic>
    </p:spTree>
    <p:extLst>
      <p:ext uri="{BB962C8B-B14F-4D97-AF65-F5344CB8AC3E}">
        <p14:creationId xmlns:p14="http://schemas.microsoft.com/office/powerpoint/2010/main" val="40388510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ic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fld id="{D4E6D71C-ACD7-49D2-9689-F9C4024FAC38}" type="slidenum">
              <a:rPr lang="en-US" smtClean="0"/>
              <a:pPr/>
              <a:t>‹#›</a:t>
            </a:fld>
            <a:endParaRPr lang="en-US" dirty="0"/>
          </a:p>
        </p:txBody>
      </p:sp>
      <p:sp>
        <p:nvSpPr>
          <p:cNvPr id="4" name="Chord 3"/>
          <p:cNvSpPr/>
          <p:nvPr userDrawn="1"/>
        </p:nvSpPr>
        <p:spPr>
          <a:xfrm rot="16200000">
            <a:off x="3933603" y="1431826"/>
            <a:ext cx="4324796" cy="4203702"/>
          </a:xfrm>
          <a:prstGeom prst="chord">
            <a:avLst>
              <a:gd name="adj1" fmla="val 5404928"/>
              <a:gd name="adj2" fmla="val 1620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Chevron 5"/>
          <p:cNvSpPr/>
          <p:nvPr userDrawn="1"/>
        </p:nvSpPr>
        <p:spPr>
          <a:xfrm rot="5400000" flipV="1">
            <a:off x="8064502" y="3620801"/>
            <a:ext cx="228600" cy="365296"/>
          </a:xfrm>
          <a:prstGeom prst="chevron">
            <a:avLst/>
          </a:prstGeom>
          <a:solidFill>
            <a:schemeClr val="bg1">
              <a:lumMod val="65000"/>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schemeClr val="tx1"/>
              </a:solidFill>
            </a:endParaRPr>
          </a:p>
        </p:txBody>
      </p:sp>
      <p:sp>
        <p:nvSpPr>
          <p:cNvPr id="8" name="Chevron 7"/>
          <p:cNvSpPr/>
          <p:nvPr userDrawn="1"/>
        </p:nvSpPr>
        <p:spPr>
          <a:xfrm flipH="1">
            <a:off x="5981699" y="5513426"/>
            <a:ext cx="228600" cy="365296"/>
          </a:xfrm>
          <a:prstGeom prst="chevron">
            <a:avLst/>
          </a:prstGeom>
          <a:solidFill>
            <a:schemeClr val="bg1">
              <a:lumMod val="65000"/>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schemeClr val="tx1"/>
              </a:solidFill>
            </a:endParaRPr>
          </a:p>
        </p:txBody>
      </p:sp>
      <p:sp>
        <p:nvSpPr>
          <p:cNvPr id="9" name="Chord 8"/>
          <p:cNvSpPr/>
          <p:nvPr userDrawn="1"/>
        </p:nvSpPr>
        <p:spPr>
          <a:xfrm rot="5400000" flipV="1">
            <a:off x="3933602" y="1324493"/>
            <a:ext cx="4324796" cy="4203702"/>
          </a:xfrm>
          <a:prstGeom prst="chord">
            <a:avLst>
              <a:gd name="adj1" fmla="val 5404928"/>
              <a:gd name="adj2" fmla="val 1620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Chevron 4"/>
          <p:cNvSpPr/>
          <p:nvPr userDrawn="1"/>
        </p:nvSpPr>
        <p:spPr>
          <a:xfrm rot="16200000">
            <a:off x="3898898" y="2992310"/>
            <a:ext cx="228600" cy="365296"/>
          </a:xfrm>
          <a:prstGeom prst="chevron">
            <a:avLst/>
          </a:prstGeom>
          <a:solidFill>
            <a:schemeClr val="bg1">
              <a:lumMod val="65000"/>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schemeClr val="tx1"/>
              </a:solidFill>
            </a:endParaRPr>
          </a:p>
        </p:txBody>
      </p:sp>
      <p:sp>
        <p:nvSpPr>
          <p:cNvPr id="7" name="Chevron 6"/>
          <p:cNvSpPr/>
          <p:nvPr userDrawn="1"/>
        </p:nvSpPr>
        <p:spPr>
          <a:xfrm>
            <a:off x="5981699" y="1096701"/>
            <a:ext cx="228600" cy="365296"/>
          </a:xfrm>
          <a:prstGeom prst="chevron">
            <a:avLst/>
          </a:prstGeom>
          <a:solidFill>
            <a:schemeClr val="bg1">
              <a:lumMod val="65000"/>
              <a:alpha val="80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dirty="0">
              <a:solidFill>
                <a:schemeClr val="tx1"/>
              </a:solidFill>
            </a:endParaRPr>
          </a:p>
        </p:txBody>
      </p:sp>
      <p:sp>
        <p:nvSpPr>
          <p:cNvPr id="11" name="Content Placeholder 10"/>
          <p:cNvSpPr>
            <a:spLocks noGrp="1"/>
          </p:cNvSpPr>
          <p:nvPr>
            <p:ph sz="quarter" idx="11"/>
          </p:nvPr>
        </p:nvSpPr>
        <p:spPr>
          <a:xfrm>
            <a:off x="4886325" y="1790700"/>
            <a:ext cx="2486025" cy="1419225"/>
          </a:xfrm>
        </p:spPr>
        <p:txBody>
          <a:bodyPr/>
          <a:lstStyle>
            <a:lvl1pPr marL="0" indent="0">
              <a:buNone/>
              <a:defRPr/>
            </a:lvl1pPr>
          </a:lstStyle>
          <a:p>
            <a:pPr lvl="0"/>
            <a:r>
              <a:rPr lang="en-US" dirty="0"/>
              <a:t>Edit Master text styles</a:t>
            </a:r>
          </a:p>
        </p:txBody>
      </p:sp>
      <p:sp>
        <p:nvSpPr>
          <p:cNvPr id="12" name="Content Placeholder 10"/>
          <p:cNvSpPr>
            <a:spLocks noGrp="1"/>
          </p:cNvSpPr>
          <p:nvPr>
            <p:ph sz="quarter" idx="12"/>
          </p:nvPr>
        </p:nvSpPr>
        <p:spPr>
          <a:xfrm>
            <a:off x="4886325" y="3765498"/>
            <a:ext cx="2486025" cy="1419225"/>
          </a:xfrm>
        </p:spPr>
        <p:txBody>
          <a:bodyPr/>
          <a:lstStyle>
            <a:lvl1pPr marL="0" indent="0">
              <a:buNone/>
              <a:defRPr/>
            </a:lvl1pPr>
          </a:lstStyle>
          <a:p>
            <a:pPr lvl="0"/>
            <a:r>
              <a:rPr lang="en-US" dirty="0"/>
              <a:t>Edit Master text styles</a:t>
            </a:r>
          </a:p>
        </p:txBody>
      </p:sp>
      <p:pic>
        <p:nvPicPr>
          <p:cNvPr id="13" name="Picture 12">
            <a:extLst>
              <a:ext uri="{FF2B5EF4-FFF2-40B4-BE49-F238E27FC236}">
                <a16:creationId xmlns:a16="http://schemas.microsoft.com/office/drawing/2014/main" id="{FE9349D8-BA7B-47C8-A018-7F2F4661437A}"/>
              </a:ext>
            </a:extLst>
          </p:cNvPr>
          <p:cNvPicPr/>
          <p:nvPr userDrawn="1"/>
        </p:nvPicPr>
        <p:blipFill>
          <a:blip r:embed="rId2"/>
          <a:stretch>
            <a:fillRect/>
          </a:stretch>
        </p:blipFill>
        <p:spPr>
          <a:xfrm>
            <a:off x="10187649" y="6337275"/>
            <a:ext cx="1488414" cy="399548"/>
          </a:xfrm>
          <a:prstGeom prst="rect">
            <a:avLst/>
          </a:prstGeom>
        </p:spPr>
      </p:pic>
    </p:spTree>
    <p:extLst>
      <p:ext uri="{BB962C8B-B14F-4D97-AF65-F5344CB8AC3E}">
        <p14:creationId xmlns:p14="http://schemas.microsoft.com/office/powerpoint/2010/main" val="23660907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age without logo">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4E6D71C-ACD7-49D2-9689-F9C4024FAC38}" type="slidenum">
              <a:rPr lang="en-US" smtClean="0"/>
              <a:pPr/>
              <a:t>‹#›</a:t>
            </a:fld>
            <a:endParaRPr lang="en-US" dirty="0"/>
          </a:p>
        </p:txBody>
      </p:sp>
      <p:sp>
        <p:nvSpPr>
          <p:cNvPr id="2" name="Rectangle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03721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act pag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4E6D71C-ACD7-49D2-9689-F9C4024FAC38}" type="slidenum">
              <a:rPr lang="en-US" smtClean="0"/>
              <a:t>‹#›</a:t>
            </a:fld>
            <a:endParaRPr lang="en-US" dirty="0"/>
          </a:p>
        </p:txBody>
      </p:sp>
      <p:sp>
        <p:nvSpPr>
          <p:cNvPr id="9" name="Title 1"/>
          <p:cNvSpPr>
            <a:spLocks noGrp="1"/>
          </p:cNvSpPr>
          <p:nvPr>
            <p:ph type="title" hasCustomPrompt="1"/>
          </p:nvPr>
        </p:nvSpPr>
        <p:spPr>
          <a:xfrm>
            <a:off x="425981" y="664973"/>
            <a:ext cx="4812769" cy="1478549"/>
          </a:xfrm>
        </p:spPr>
        <p:txBody>
          <a:bodyPr/>
          <a:lstStyle>
            <a:lvl1pPr>
              <a:defRPr sz="4800"/>
            </a:lvl1pPr>
          </a:lstStyle>
          <a:p>
            <a:r>
              <a:rPr lang="en-US" sz="6000" b="1" dirty="0"/>
              <a:t>THANK YOU</a:t>
            </a:r>
            <a:br>
              <a:rPr lang="en-US" sz="2800" b="1" dirty="0"/>
            </a:br>
            <a:r>
              <a:rPr lang="en-US" sz="3200" b="1" dirty="0"/>
              <a:t>FOR YOUR ATTENTION</a:t>
            </a:r>
          </a:p>
        </p:txBody>
      </p:sp>
      <p:sp>
        <p:nvSpPr>
          <p:cNvPr id="10" name="Rectangle 9"/>
          <p:cNvSpPr/>
          <p:nvPr userDrawn="1"/>
        </p:nvSpPr>
        <p:spPr>
          <a:xfrm>
            <a:off x="0" y="2152650"/>
            <a:ext cx="12192000" cy="4156075"/>
          </a:xfrm>
          <a:prstGeom prst="rect">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1" name="Group 10"/>
          <p:cNvGrpSpPr/>
          <p:nvPr userDrawn="1"/>
        </p:nvGrpSpPr>
        <p:grpSpPr>
          <a:xfrm>
            <a:off x="515938" y="4853425"/>
            <a:ext cx="806806" cy="806806"/>
            <a:chOff x="515938" y="4680169"/>
            <a:chExt cx="806806" cy="806806"/>
          </a:xfrm>
        </p:grpSpPr>
        <p:sp>
          <p:nvSpPr>
            <p:cNvPr id="12" name="Oval 11"/>
            <p:cNvSpPr/>
            <p:nvPr/>
          </p:nvSpPr>
          <p:spPr>
            <a:xfrm>
              <a:off x="515938" y="4680169"/>
              <a:ext cx="806806" cy="8068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11982" y="4757489"/>
              <a:ext cx="589534" cy="649247"/>
            </a:xfrm>
            <a:prstGeom prst="rect">
              <a:avLst/>
            </a:prstGeom>
          </p:spPr>
        </p:pic>
      </p:grpSp>
      <p:grpSp>
        <p:nvGrpSpPr>
          <p:cNvPr id="14" name="Group 13"/>
          <p:cNvGrpSpPr/>
          <p:nvPr userDrawn="1"/>
        </p:nvGrpSpPr>
        <p:grpSpPr>
          <a:xfrm>
            <a:off x="6096000" y="4847193"/>
            <a:ext cx="809646" cy="809646"/>
            <a:chOff x="6096000" y="4586862"/>
            <a:chExt cx="809646" cy="809646"/>
          </a:xfrm>
        </p:grpSpPr>
        <p:sp>
          <p:nvSpPr>
            <p:cNvPr id="15" name="Oval 14"/>
            <p:cNvSpPr/>
            <p:nvPr/>
          </p:nvSpPr>
          <p:spPr>
            <a:xfrm>
              <a:off x="6096000" y="4586862"/>
              <a:ext cx="809646" cy="8096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6314233" y="4697483"/>
              <a:ext cx="367500" cy="588402"/>
            </a:xfrm>
            <a:prstGeom prst="rect">
              <a:avLst/>
            </a:prstGeom>
          </p:spPr>
        </p:pic>
      </p:grpSp>
      <p:grpSp>
        <p:nvGrpSpPr>
          <p:cNvPr id="17" name="Group 16"/>
          <p:cNvGrpSpPr/>
          <p:nvPr userDrawn="1"/>
        </p:nvGrpSpPr>
        <p:grpSpPr>
          <a:xfrm>
            <a:off x="6093160" y="2783341"/>
            <a:ext cx="809646" cy="809646"/>
            <a:chOff x="6093160" y="3148587"/>
            <a:chExt cx="809646" cy="809646"/>
          </a:xfrm>
        </p:grpSpPr>
        <p:sp>
          <p:nvSpPr>
            <p:cNvPr id="18" name="Oval 17"/>
            <p:cNvSpPr/>
            <p:nvPr/>
          </p:nvSpPr>
          <p:spPr>
            <a:xfrm>
              <a:off x="6093160" y="3148587"/>
              <a:ext cx="809646" cy="80964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75204" y="3343173"/>
              <a:ext cx="625956" cy="418686"/>
            </a:xfrm>
            <a:prstGeom prst="rect">
              <a:avLst/>
            </a:prstGeom>
          </p:spPr>
        </p:pic>
      </p:grpSp>
      <p:grpSp>
        <p:nvGrpSpPr>
          <p:cNvPr id="20" name="Group 19"/>
          <p:cNvGrpSpPr/>
          <p:nvPr userDrawn="1"/>
        </p:nvGrpSpPr>
        <p:grpSpPr>
          <a:xfrm>
            <a:off x="515938" y="2783341"/>
            <a:ext cx="806806" cy="806806"/>
            <a:chOff x="515938" y="3148587"/>
            <a:chExt cx="806806" cy="806806"/>
          </a:xfrm>
        </p:grpSpPr>
        <p:sp>
          <p:nvSpPr>
            <p:cNvPr id="21" name="Oval 20"/>
            <p:cNvSpPr/>
            <p:nvPr/>
          </p:nvSpPr>
          <p:spPr>
            <a:xfrm>
              <a:off x="515938" y="3148587"/>
              <a:ext cx="806806" cy="80680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2" name="Picture 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2393" y="3384057"/>
              <a:ext cx="632684" cy="377802"/>
            </a:xfrm>
            <a:prstGeom prst="rect">
              <a:avLst/>
            </a:prstGeom>
          </p:spPr>
        </p:pic>
      </p:grpSp>
      <p:pic>
        <p:nvPicPr>
          <p:cNvPr id="23" name="Picture 2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407591" y="486411"/>
            <a:ext cx="2395136" cy="2363254"/>
          </a:xfrm>
          <a:prstGeom prst="rect">
            <a:avLst/>
          </a:prstGeom>
        </p:spPr>
      </p:pic>
      <p:sp>
        <p:nvSpPr>
          <p:cNvPr id="7" name="Content Placeholder 6"/>
          <p:cNvSpPr>
            <a:spLocks noGrp="1"/>
          </p:cNvSpPr>
          <p:nvPr>
            <p:ph sz="quarter" idx="11" hasCustomPrompt="1"/>
          </p:nvPr>
        </p:nvSpPr>
        <p:spPr>
          <a:xfrm>
            <a:off x="1400175" y="2978150"/>
            <a:ext cx="3325813" cy="419100"/>
          </a:xfrm>
        </p:spPr>
        <p:txBody>
          <a:bodyPr/>
          <a:lstStyle/>
          <a:p>
            <a:pPr lvl="4"/>
            <a:r>
              <a:rPr lang="en-US" dirty="0"/>
              <a:t>Fifth level</a:t>
            </a:r>
          </a:p>
        </p:txBody>
      </p:sp>
      <p:sp>
        <p:nvSpPr>
          <p:cNvPr id="24" name="Content Placeholder 6"/>
          <p:cNvSpPr>
            <a:spLocks noGrp="1"/>
          </p:cNvSpPr>
          <p:nvPr>
            <p:ph sz="quarter" idx="12" hasCustomPrompt="1"/>
          </p:nvPr>
        </p:nvSpPr>
        <p:spPr>
          <a:xfrm>
            <a:off x="1400175" y="5042465"/>
            <a:ext cx="3325813" cy="419100"/>
          </a:xfrm>
        </p:spPr>
        <p:txBody>
          <a:bodyPr/>
          <a:lstStyle/>
          <a:p>
            <a:pPr lvl="4"/>
            <a:r>
              <a:rPr lang="en-US" dirty="0"/>
              <a:t>Fifth level</a:t>
            </a:r>
          </a:p>
        </p:txBody>
      </p:sp>
      <p:sp>
        <p:nvSpPr>
          <p:cNvPr id="25" name="Content Placeholder 6"/>
          <p:cNvSpPr>
            <a:spLocks noGrp="1"/>
          </p:cNvSpPr>
          <p:nvPr>
            <p:ph sz="quarter" idx="13" hasCustomPrompt="1"/>
          </p:nvPr>
        </p:nvSpPr>
        <p:spPr>
          <a:xfrm>
            <a:off x="6999864" y="5042465"/>
            <a:ext cx="3325813" cy="419100"/>
          </a:xfrm>
        </p:spPr>
        <p:txBody>
          <a:bodyPr/>
          <a:lstStyle/>
          <a:p>
            <a:pPr lvl="4"/>
            <a:r>
              <a:rPr lang="en-US" dirty="0"/>
              <a:t>Fifth level</a:t>
            </a:r>
          </a:p>
        </p:txBody>
      </p:sp>
      <p:sp>
        <p:nvSpPr>
          <p:cNvPr id="26" name="Content Placeholder 6"/>
          <p:cNvSpPr>
            <a:spLocks noGrp="1"/>
          </p:cNvSpPr>
          <p:nvPr>
            <p:ph sz="quarter" idx="14" hasCustomPrompt="1"/>
          </p:nvPr>
        </p:nvSpPr>
        <p:spPr>
          <a:xfrm>
            <a:off x="6999864" y="2998162"/>
            <a:ext cx="3325813" cy="419100"/>
          </a:xfrm>
        </p:spPr>
        <p:txBody>
          <a:bodyPr/>
          <a:lstStyle/>
          <a:p>
            <a:pPr lvl="4"/>
            <a:r>
              <a:rPr lang="en-US" dirty="0"/>
              <a:t>Fifth level</a:t>
            </a:r>
          </a:p>
        </p:txBody>
      </p:sp>
      <p:pic>
        <p:nvPicPr>
          <p:cNvPr id="27" name="Picture 26">
            <a:extLst>
              <a:ext uri="{FF2B5EF4-FFF2-40B4-BE49-F238E27FC236}">
                <a16:creationId xmlns:a16="http://schemas.microsoft.com/office/drawing/2014/main" id="{BD0292C0-74B2-4DD3-BCE0-937494509CE3}"/>
              </a:ext>
            </a:extLst>
          </p:cNvPr>
          <p:cNvPicPr/>
          <p:nvPr userDrawn="1"/>
        </p:nvPicPr>
        <p:blipFill>
          <a:blip r:embed="rId7"/>
          <a:stretch>
            <a:fillRect/>
          </a:stretch>
        </p:blipFill>
        <p:spPr>
          <a:xfrm>
            <a:off x="10187649" y="6337275"/>
            <a:ext cx="1488414" cy="399548"/>
          </a:xfrm>
          <a:prstGeom prst="rect">
            <a:avLst/>
          </a:prstGeom>
        </p:spPr>
      </p:pic>
    </p:spTree>
    <p:extLst>
      <p:ext uri="{BB962C8B-B14F-4D97-AF65-F5344CB8AC3E}">
        <p14:creationId xmlns:p14="http://schemas.microsoft.com/office/powerpoint/2010/main" val="39106157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411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955" y="1589"/>
                        <a:ext cx="1953" cy="1587"/>
                      </a:xfrm>
                      <a:prstGeom prst="rect">
                        <a:avLst/>
                      </a:prstGeom>
                    </p:spPr>
                  </p:pic>
                </p:oleObj>
              </mc:Fallback>
            </mc:AlternateContent>
          </a:graphicData>
        </a:graphic>
      </p:graphicFrame>
      <p:sp>
        <p:nvSpPr>
          <p:cNvPr id="5" name="Espace réservé du numéro de diapositive 3"/>
          <p:cNvSpPr>
            <a:spLocks noGrp="1"/>
          </p:cNvSpPr>
          <p:nvPr>
            <p:ph type="sldNum" sz="quarter" idx="10"/>
          </p:nvPr>
        </p:nvSpPr>
        <p:spPr>
          <a:xfrm>
            <a:off x="11322793" y="6492915"/>
            <a:ext cx="819105" cy="365125"/>
          </a:xfrm>
        </p:spPr>
        <p:txBody>
          <a:bodyPr/>
          <a:lstStyle/>
          <a:p>
            <a:fld id="{F551322C-20B2-48C3-B63D-68158FEBF630}" type="slidenum">
              <a:rPr lang="en-US" smtClean="0">
                <a:solidFill>
                  <a:srgbClr val="FFFFFF">
                    <a:lumMod val="50000"/>
                  </a:srgbClr>
                </a:solidFill>
              </a:rPr>
              <a:pPr/>
              <a:t>‹#›</a:t>
            </a:fld>
            <a:endParaRPr lang="en-US">
              <a:solidFill>
                <a:srgbClr val="FFFFFF">
                  <a:lumMod val="50000"/>
                </a:srgbClr>
              </a:solidFill>
            </a:endParaRPr>
          </a:p>
        </p:txBody>
      </p:sp>
      <p:sp>
        <p:nvSpPr>
          <p:cNvPr id="2" name="Title 1"/>
          <p:cNvSpPr>
            <a:spLocks noGrp="1"/>
          </p:cNvSpPr>
          <p:nvPr>
            <p:ph type="title"/>
          </p:nvPr>
        </p:nvSpPr>
        <p:spPr>
          <a:xfrm>
            <a:off x="664614" y="108000"/>
            <a:ext cx="8669713" cy="336550"/>
          </a:xfrm>
        </p:spPr>
        <p:txBody>
          <a:bodyPr vert="horz" lIns="72000" tIns="36000" rIns="72000" bIns="36000" rtlCol="0" anchor="t">
            <a:noAutofit/>
          </a:bodyPr>
          <a:lstStyle>
            <a:lvl1pPr>
              <a:defRPr lang="nl-NL" sz="1600" b="1" dirty="0">
                <a:solidFill>
                  <a:schemeClr val="accent3">
                    <a:lumMod val="75000"/>
                  </a:schemeClr>
                </a:solidFill>
                <a:latin typeface="+mn-lt"/>
                <a:ea typeface="Arial Unicode MS" panose="020B0604020202020204" pitchFamily="34" charset="-128"/>
                <a:cs typeface="Arial Unicode MS" panose="020B0604020202020204" pitchFamily="34" charset="-128"/>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dirty="0"/>
              <a:t>Click to edit Master title style</a:t>
            </a:r>
            <a:endParaRPr lang="nl-NL" dirty="0"/>
          </a:p>
        </p:txBody>
      </p:sp>
      <p:sp>
        <p:nvSpPr>
          <p:cNvPr id="13" name="Text Placeholder 12"/>
          <p:cNvSpPr>
            <a:spLocks noGrp="1"/>
          </p:cNvSpPr>
          <p:nvPr>
            <p:ph type="body" sz="quarter" idx="16" hasCustomPrompt="1"/>
          </p:nvPr>
        </p:nvSpPr>
        <p:spPr>
          <a:xfrm>
            <a:off x="664615" y="461650"/>
            <a:ext cx="10633846" cy="363850"/>
          </a:xfrm>
          <a:prstGeom prst="rect">
            <a:avLst/>
          </a:prstGeom>
        </p:spPr>
        <p:txBody>
          <a:bodyPr vert="horz" lIns="72000" tIns="36000" rIns="72000" bIns="36000" rtlCol="0" anchor="t">
            <a:noAutofit/>
          </a:bodyPr>
          <a:lstStyle>
            <a:lvl1pPr>
              <a:defRPr lang="nl-NL" sz="1400" dirty="0">
                <a:solidFill>
                  <a:schemeClr val="accent3">
                    <a:lumMod val="75000"/>
                  </a:schemeClr>
                </a:solidFill>
                <a:latin typeface="+mj-lt"/>
              </a:defRPr>
            </a:lvl1pPr>
          </a:lstStyle>
          <a:p>
            <a:pPr lvl="0">
              <a:spcBef>
                <a:spcPct val="0"/>
              </a:spcBef>
            </a:pPr>
            <a:r>
              <a:rPr lang="en-US" dirty="0"/>
              <a:t>Click to edit Description</a:t>
            </a:r>
          </a:p>
          <a:p>
            <a:pPr lvl="0">
              <a:spcBef>
                <a:spcPct val="0"/>
              </a:spcBef>
            </a:pPr>
            <a:endParaRPr lang="nl-NL" dirty="0"/>
          </a:p>
        </p:txBody>
      </p:sp>
      <p:sp>
        <p:nvSpPr>
          <p:cNvPr id="4" name="Content Placeholder 3"/>
          <p:cNvSpPr>
            <a:spLocks noGrp="1"/>
          </p:cNvSpPr>
          <p:nvPr>
            <p:ph sz="quarter" idx="17"/>
          </p:nvPr>
        </p:nvSpPr>
        <p:spPr>
          <a:xfrm>
            <a:off x="664615" y="1080000"/>
            <a:ext cx="11076923" cy="4320000"/>
          </a:xfrm>
        </p:spPr>
        <p:txBody>
          <a:bodyPr vert="horz" lIns="91440" tIns="45720" rIns="91440" bIns="45720" rtlCol="0">
            <a:no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
        <p:nvSpPr>
          <p:cNvPr id="6" name="Datumsplatzhalter 3"/>
          <p:cNvSpPr>
            <a:spLocks noGrp="1"/>
          </p:cNvSpPr>
          <p:nvPr>
            <p:ph type="dt" sz="half" idx="2"/>
          </p:nvPr>
        </p:nvSpPr>
        <p:spPr>
          <a:xfrm>
            <a:off x="70190" y="6531460"/>
            <a:ext cx="2625969" cy="288032"/>
          </a:xfrm>
          <a:prstGeom prst="rect">
            <a:avLst/>
          </a:prstGeom>
        </p:spPr>
        <p:txBody>
          <a:bodyPr anchor="t" anchorCtr="0"/>
          <a:lstStyle>
            <a:lvl1pPr algn="l">
              <a:defRPr sz="1000">
                <a:solidFill>
                  <a:schemeClr val="bg1">
                    <a:lumMod val="50000"/>
                  </a:schemeClr>
                </a:solidFill>
                <a:latin typeface="Calibri" pitchFamily="34" charset="0"/>
                <a:cs typeface="Calibri" pitchFamily="34" charset="0"/>
              </a:defRPr>
            </a:lvl1pPr>
          </a:lstStyle>
          <a:p>
            <a:pPr fontAlgn="base">
              <a:spcBef>
                <a:spcPct val="0"/>
              </a:spcBef>
              <a:spcAft>
                <a:spcPct val="0"/>
              </a:spcAft>
            </a:pPr>
            <a:r>
              <a:rPr lang="en-US">
                <a:solidFill>
                  <a:srgbClr val="FFFFFF">
                    <a:lumMod val="50000"/>
                  </a:srgbClr>
                </a:solidFill>
                <a:ea typeface="ＭＳ Ｐゴシック" charset="0"/>
              </a:rPr>
              <a:t>13 November 2017</a:t>
            </a:r>
            <a:endParaRPr lang="de-DE" dirty="0">
              <a:solidFill>
                <a:srgbClr val="FFFFFF">
                  <a:lumMod val="50000"/>
                </a:srgbClr>
              </a:solidFill>
              <a:ea typeface="ＭＳ Ｐゴシック" charset="0"/>
            </a:endParaRPr>
          </a:p>
        </p:txBody>
      </p:sp>
      <p:sp>
        <p:nvSpPr>
          <p:cNvPr id="7" name="Fußzeilenplatzhalter 4"/>
          <p:cNvSpPr>
            <a:spLocks noGrp="1"/>
          </p:cNvSpPr>
          <p:nvPr>
            <p:ph type="ftr" sz="quarter" idx="3"/>
          </p:nvPr>
        </p:nvSpPr>
        <p:spPr>
          <a:xfrm>
            <a:off x="4337690" y="6531460"/>
            <a:ext cx="3563815" cy="288032"/>
          </a:xfrm>
          <a:prstGeom prst="rect">
            <a:avLst/>
          </a:prstGeom>
        </p:spPr>
        <p:txBody>
          <a:bodyPr anchor="t" anchorCtr="0"/>
          <a:lstStyle>
            <a:lvl1pPr algn="ctr">
              <a:defRPr sz="1000">
                <a:solidFill>
                  <a:schemeClr val="bg1">
                    <a:lumMod val="50000"/>
                  </a:schemeClr>
                </a:solidFill>
                <a:latin typeface="Calibri" pitchFamily="34" charset="0"/>
                <a:cs typeface="Calibri" pitchFamily="34" charset="0"/>
              </a:defRPr>
            </a:lvl1pPr>
          </a:lstStyle>
          <a:p>
            <a:pPr fontAlgn="base">
              <a:spcBef>
                <a:spcPct val="0"/>
              </a:spcBef>
              <a:spcAft>
                <a:spcPct val="0"/>
              </a:spcAft>
            </a:pPr>
            <a:r>
              <a:rPr lang="en-US">
                <a:solidFill>
                  <a:srgbClr val="FFFFFF">
                    <a:lumMod val="50000"/>
                  </a:srgbClr>
                </a:solidFill>
                <a:ea typeface="ＭＳ Ｐゴシック" charset="0"/>
              </a:rPr>
              <a:t>PICASSO | SC Telco</a:t>
            </a:r>
            <a:endParaRPr lang="de-DE" dirty="0">
              <a:solidFill>
                <a:srgbClr val="FFFFFF">
                  <a:lumMod val="50000"/>
                </a:srgbClr>
              </a:solidFill>
              <a:ea typeface="ＭＳ Ｐゴシック" charset="0"/>
            </a:endParaRPr>
          </a:p>
        </p:txBody>
      </p:sp>
    </p:spTree>
    <p:extLst>
      <p:ext uri="{BB962C8B-B14F-4D97-AF65-F5344CB8AC3E}">
        <p14:creationId xmlns:p14="http://schemas.microsoft.com/office/powerpoint/2010/main" val="156790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64614" y="108000"/>
            <a:ext cx="8367749" cy="336550"/>
          </a:xfrm>
        </p:spPr>
        <p:txBody>
          <a:bodyPr vert="horz" lIns="72000" tIns="36000" rIns="72000" bIns="36000" rtlCol="0" anchor="t">
            <a:noAutofit/>
          </a:bodyPr>
          <a:lstStyle>
            <a:lvl1pPr>
              <a:defRPr lang="nl-NL" sz="1600" b="1" dirty="0">
                <a:solidFill>
                  <a:schemeClr val="accent3">
                    <a:lumMod val="75000"/>
                  </a:schemeClr>
                </a:solidFill>
                <a:latin typeface="+mn-lt"/>
                <a:ea typeface="Arial Unicode MS" panose="020B0604020202020204" pitchFamily="34" charset="-128"/>
                <a:cs typeface="Arial Unicode MS" panose="020B0604020202020204" pitchFamily="34" charset="-128"/>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dirty="0"/>
              <a:t>Click to edit Master title style</a:t>
            </a:r>
            <a:endParaRPr lang="nl-NL" dirty="0"/>
          </a:p>
        </p:txBody>
      </p:sp>
      <p:sp>
        <p:nvSpPr>
          <p:cNvPr id="13" name="Text Placeholder 12"/>
          <p:cNvSpPr>
            <a:spLocks noGrp="1"/>
          </p:cNvSpPr>
          <p:nvPr>
            <p:ph type="body" sz="quarter" idx="16" hasCustomPrompt="1"/>
          </p:nvPr>
        </p:nvSpPr>
        <p:spPr>
          <a:xfrm>
            <a:off x="664616" y="461650"/>
            <a:ext cx="10310023" cy="363850"/>
          </a:xfrm>
          <a:prstGeom prst="rect">
            <a:avLst/>
          </a:prstGeom>
        </p:spPr>
        <p:txBody>
          <a:bodyPr vert="horz" lIns="72000" tIns="36000" rIns="72000" bIns="36000" rtlCol="0" anchor="t">
            <a:noAutofit/>
          </a:bodyPr>
          <a:lstStyle>
            <a:lvl1pPr>
              <a:defRPr lang="nl-NL" sz="1400" dirty="0">
                <a:solidFill>
                  <a:schemeClr val="accent3">
                    <a:lumMod val="75000"/>
                  </a:schemeClr>
                </a:solidFill>
                <a:latin typeface="+mj-lt"/>
              </a:defRPr>
            </a:lvl1pPr>
          </a:lstStyle>
          <a:p>
            <a:pPr lvl="0">
              <a:spcBef>
                <a:spcPct val="0"/>
              </a:spcBef>
            </a:pPr>
            <a:r>
              <a:rPr lang="en-US" dirty="0"/>
              <a:t>Click to edit Description</a:t>
            </a:r>
          </a:p>
          <a:p>
            <a:pPr lvl="0">
              <a:spcBef>
                <a:spcPct val="0"/>
              </a:spcBef>
            </a:pPr>
            <a:endParaRPr lang="nl-NL" dirty="0"/>
          </a:p>
        </p:txBody>
      </p:sp>
      <p:sp>
        <p:nvSpPr>
          <p:cNvPr id="9" name="Espace réservé du numéro de diapositive 3"/>
          <p:cNvSpPr>
            <a:spLocks noGrp="1"/>
          </p:cNvSpPr>
          <p:nvPr>
            <p:ph type="sldNum" sz="quarter" idx="10"/>
          </p:nvPr>
        </p:nvSpPr>
        <p:spPr>
          <a:xfrm>
            <a:off x="11322793" y="6492915"/>
            <a:ext cx="819105" cy="365125"/>
          </a:xfrm>
        </p:spPr>
        <p:txBody>
          <a:bodyPr/>
          <a:lstStyle/>
          <a:p>
            <a:fld id="{F551322C-20B2-48C3-B63D-68158FEBF630}" type="slidenum">
              <a:rPr lang="en-US" smtClean="0">
                <a:solidFill>
                  <a:srgbClr val="FFFFFF">
                    <a:lumMod val="50000"/>
                  </a:srgbClr>
                </a:solidFill>
              </a:rPr>
              <a:pPr/>
              <a:t>‹#›</a:t>
            </a:fld>
            <a:endParaRPr lang="en-US">
              <a:solidFill>
                <a:srgbClr val="FFFFFF">
                  <a:lumMod val="50000"/>
                </a:srgbClr>
              </a:solidFill>
            </a:endParaRPr>
          </a:p>
        </p:txBody>
      </p:sp>
      <p:sp>
        <p:nvSpPr>
          <p:cNvPr id="10" name="Datumsplatzhalter 3"/>
          <p:cNvSpPr>
            <a:spLocks noGrp="1"/>
          </p:cNvSpPr>
          <p:nvPr>
            <p:ph type="dt" sz="half" idx="2"/>
          </p:nvPr>
        </p:nvSpPr>
        <p:spPr>
          <a:xfrm>
            <a:off x="70190" y="6531460"/>
            <a:ext cx="2625969" cy="288032"/>
          </a:xfrm>
          <a:prstGeom prst="rect">
            <a:avLst/>
          </a:prstGeom>
        </p:spPr>
        <p:txBody>
          <a:bodyPr anchor="t" anchorCtr="0"/>
          <a:lstStyle>
            <a:lvl1pPr algn="l">
              <a:defRPr sz="1000">
                <a:solidFill>
                  <a:schemeClr val="bg1">
                    <a:lumMod val="50000"/>
                  </a:schemeClr>
                </a:solidFill>
                <a:latin typeface="Calibri" pitchFamily="34" charset="0"/>
                <a:cs typeface="Calibri" pitchFamily="34" charset="0"/>
              </a:defRPr>
            </a:lvl1pPr>
          </a:lstStyle>
          <a:p>
            <a:pPr fontAlgn="base">
              <a:spcBef>
                <a:spcPct val="0"/>
              </a:spcBef>
              <a:spcAft>
                <a:spcPct val="0"/>
              </a:spcAft>
            </a:pPr>
            <a:r>
              <a:rPr lang="en-US">
                <a:solidFill>
                  <a:srgbClr val="FFFFFF">
                    <a:lumMod val="50000"/>
                  </a:srgbClr>
                </a:solidFill>
                <a:ea typeface="ＭＳ Ｐゴシック" charset="0"/>
              </a:rPr>
              <a:t>13 November 2017</a:t>
            </a:r>
            <a:endParaRPr lang="de-DE" dirty="0">
              <a:solidFill>
                <a:srgbClr val="FFFFFF">
                  <a:lumMod val="50000"/>
                </a:srgbClr>
              </a:solidFill>
              <a:ea typeface="ＭＳ Ｐゴシック" charset="0"/>
            </a:endParaRPr>
          </a:p>
        </p:txBody>
      </p:sp>
      <p:sp>
        <p:nvSpPr>
          <p:cNvPr id="11" name="Fußzeilenplatzhalter 4"/>
          <p:cNvSpPr>
            <a:spLocks noGrp="1"/>
          </p:cNvSpPr>
          <p:nvPr>
            <p:ph type="ftr" sz="quarter" idx="3"/>
          </p:nvPr>
        </p:nvSpPr>
        <p:spPr>
          <a:xfrm>
            <a:off x="4337690" y="6531460"/>
            <a:ext cx="3563815" cy="288032"/>
          </a:xfrm>
          <a:prstGeom prst="rect">
            <a:avLst/>
          </a:prstGeom>
        </p:spPr>
        <p:txBody>
          <a:bodyPr anchor="t" anchorCtr="0"/>
          <a:lstStyle>
            <a:lvl1pPr algn="ctr">
              <a:defRPr sz="1000">
                <a:solidFill>
                  <a:schemeClr val="bg1">
                    <a:lumMod val="50000"/>
                  </a:schemeClr>
                </a:solidFill>
                <a:latin typeface="Calibri" pitchFamily="34" charset="0"/>
                <a:cs typeface="Calibri" pitchFamily="34" charset="0"/>
              </a:defRPr>
            </a:lvl1pPr>
          </a:lstStyle>
          <a:p>
            <a:pPr fontAlgn="base">
              <a:spcBef>
                <a:spcPct val="0"/>
              </a:spcBef>
              <a:spcAft>
                <a:spcPct val="0"/>
              </a:spcAft>
            </a:pPr>
            <a:r>
              <a:rPr lang="en-US">
                <a:solidFill>
                  <a:srgbClr val="FFFFFF">
                    <a:lumMod val="50000"/>
                  </a:srgbClr>
                </a:solidFill>
                <a:ea typeface="ＭＳ Ｐゴシック" charset="0"/>
              </a:rPr>
              <a:t>PICASSO | SC Telco</a:t>
            </a:r>
            <a:endParaRPr lang="de-DE" dirty="0">
              <a:solidFill>
                <a:srgbClr val="FFFFFF">
                  <a:lumMod val="50000"/>
                </a:srgbClr>
              </a:solidFill>
              <a:ea typeface="ＭＳ Ｐゴシック" charset="0"/>
            </a:endParaRPr>
          </a:p>
        </p:txBody>
      </p:sp>
    </p:spTree>
    <p:extLst>
      <p:ext uri="{BB962C8B-B14F-4D97-AF65-F5344CB8AC3E}">
        <p14:creationId xmlns:p14="http://schemas.microsoft.com/office/powerpoint/2010/main" val="37460268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2370669" y="2912663"/>
            <a:ext cx="9101929" cy="792162"/>
          </a:xfrm>
          <a:prstGeom prst="rect">
            <a:avLst/>
          </a:prstGeom>
        </p:spPr>
        <p:txBody>
          <a:bodyPr/>
          <a:lstStyle>
            <a:lvl1pPr marL="0" indent="0">
              <a:buNone/>
              <a:defRPr lang="en-US" sz="1800" b="0" baseline="0" dirty="0">
                <a:solidFill>
                  <a:schemeClr val="tx2"/>
                </a:solidFill>
                <a:latin typeface="+mn-lt"/>
                <a:ea typeface="Arial Unicode MS" panose="020B0604020202020204" pitchFamily="34" charset="-128"/>
                <a:cs typeface="Arial Unicode MS" panose="020B0604020202020204" pitchFamily="34" charset="-128"/>
              </a:defRPr>
            </a:lvl1pPr>
          </a:lstStyle>
          <a:p>
            <a:pPr lvl="0"/>
            <a:r>
              <a:rPr lang="en-US" dirty="0"/>
              <a:t>Date, Place</a:t>
            </a:r>
          </a:p>
        </p:txBody>
      </p:sp>
      <p:sp>
        <p:nvSpPr>
          <p:cNvPr id="15" name="Text Placeholder 15"/>
          <p:cNvSpPr>
            <a:spLocks noGrp="1"/>
          </p:cNvSpPr>
          <p:nvPr>
            <p:ph type="body" sz="quarter" idx="12" hasCustomPrompt="1"/>
          </p:nvPr>
        </p:nvSpPr>
        <p:spPr>
          <a:xfrm>
            <a:off x="2372329" y="1792322"/>
            <a:ext cx="9101929" cy="792162"/>
          </a:xfrm>
          <a:prstGeom prst="rect">
            <a:avLst/>
          </a:prstGeom>
        </p:spPr>
        <p:txBody>
          <a:bodyPr anchor="ctr" anchorCtr="0">
            <a:noAutofit/>
          </a:bodyPr>
          <a:lstStyle>
            <a:lvl1pPr marL="0" indent="0">
              <a:buNone/>
              <a:defRPr lang="en-US" sz="3000" b="0" baseline="0" dirty="0">
                <a:solidFill>
                  <a:schemeClr val="accent3">
                    <a:lumMod val="75000"/>
                  </a:schemeClr>
                </a:solidFill>
                <a:latin typeface="+mn-lt"/>
                <a:ea typeface="Arial Unicode MS" panose="020B0604020202020204" pitchFamily="34" charset="-128"/>
                <a:cs typeface="Arial Unicode MS" panose="020B0604020202020204" pitchFamily="34" charset="-128"/>
              </a:defRPr>
            </a:lvl1pPr>
          </a:lstStyle>
          <a:p>
            <a:pPr lvl="0"/>
            <a:r>
              <a:rPr lang="en-US" dirty="0"/>
              <a:t>Name of the meeting</a:t>
            </a:r>
          </a:p>
        </p:txBody>
      </p:sp>
      <p:cxnSp>
        <p:nvCxnSpPr>
          <p:cNvPr id="64" name="Connecteur droit 12"/>
          <p:cNvCxnSpPr>
            <a:cxnSpLocks noChangeShapeType="1"/>
          </p:cNvCxnSpPr>
          <p:nvPr userDrawn="1"/>
        </p:nvCxnSpPr>
        <p:spPr bwMode="auto">
          <a:xfrm rot="5400000">
            <a:off x="165685" y="3762491"/>
            <a:ext cx="4356000" cy="17585"/>
          </a:xfrm>
          <a:prstGeom prst="line">
            <a:avLst/>
          </a:prstGeom>
          <a:noFill/>
          <a:ln w="38100">
            <a:solidFill>
              <a:srgbClr val="FFFFFF"/>
            </a:solidFill>
            <a:round/>
            <a:headEnd/>
            <a:tailEnd/>
          </a:ln>
          <a:effectLst>
            <a:outerShdw blurRad="63500" dist="23000" dir="5400000" rotWithShape="0">
              <a:srgbClr val="000000">
                <a:alpha val="34998"/>
              </a:srgbClr>
            </a:outerShdw>
          </a:effectLst>
          <a:extLst>
            <a:ext uri="{909E8E84-426E-40DD-AFC4-6F175D3DCCD1}">
              <a14:hiddenFill xmlns:a14="http://schemas.microsoft.com/office/drawing/2010/main">
                <a:noFill/>
              </a14:hiddenFill>
            </a:ext>
          </a:extLst>
        </p:spPr>
      </p:cxnSp>
      <p:pic>
        <p:nvPicPr>
          <p:cNvPr id="58" name="Picture 152"/>
          <p:cNvPicPr>
            <a:picLocks noChangeAspect="1"/>
          </p:cNvPicPr>
          <p:nvPr userDrawn="1"/>
        </p:nvPicPr>
        <p:blipFill>
          <a:blip r:embed="rId2"/>
          <a:stretch>
            <a:fillRect/>
          </a:stretch>
        </p:blipFill>
        <p:spPr>
          <a:xfrm>
            <a:off x="476903" y="1801250"/>
            <a:ext cx="1323897" cy="275200"/>
          </a:xfrm>
          <a:prstGeom prst="rect">
            <a:avLst/>
          </a:prstGeom>
        </p:spPr>
      </p:pic>
      <p:pic>
        <p:nvPicPr>
          <p:cNvPr id="59" name="Picture 153"/>
          <p:cNvPicPr>
            <a:picLocks noChangeAspect="1"/>
          </p:cNvPicPr>
          <p:nvPr userDrawn="1"/>
        </p:nvPicPr>
        <p:blipFill>
          <a:blip r:embed="rId3"/>
          <a:stretch>
            <a:fillRect/>
          </a:stretch>
        </p:blipFill>
        <p:spPr>
          <a:xfrm>
            <a:off x="543733" y="3804745"/>
            <a:ext cx="1190238" cy="235839"/>
          </a:xfrm>
          <a:prstGeom prst="rect">
            <a:avLst/>
          </a:prstGeom>
        </p:spPr>
      </p:pic>
      <p:pic>
        <p:nvPicPr>
          <p:cNvPr id="60" name="Picture 154"/>
          <p:cNvPicPr>
            <a:picLocks noChangeAspect="1"/>
          </p:cNvPicPr>
          <p:nvPr userDrawn="1"/>
        </p:nvPicPr>
        <p:blipFill>
          <a:blip r:embed="rId4"/>
          <a:stretch>
            <a:fillRect/>
          </a:stretch>
        </p:blipFill>
        <p:spPr>
          <a:xfrm>
            <a:off x="564902" y="2337484"/>
            <a:ext cx="1147899" cy="406548"/>
          </a:xfrm>
          <a:prstGeom prst="rect">
            <a:avLst/>
          </a:prstGeom>
        </p:spPr>
      </p:pic>
      <p:pic>
        <p:nvPicPr>
          <p:cNvPr id="61" name="Picture 12" descr="http://www.ingenieurjobs.de/content/tinybrowser/image/transnetbw_gmbh.jp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407775" y="5599763"/>
            <a:ext cx="1462154" cy="23463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56"/>
          <p:cNvPicPr>
            <a:picLocks noChangeAspect="1"/>
          </p:cNvPicPr>
          <p:nvPr userDrawn="1"/>
        </p:nvPicPr>
        <p:blipFill>
          <a:blip r:embed="rId6"/>
          <a:stretch>
            <a:fillRect/>
          </a:stretch>
        </p:blipFill>
        <p:spPr>
          <a:xfrm>
            <a:off x="648477" y="3005066"/>
            <a:ext cx="980752" cy="538644"/>
          </a:xfrm>
          <a:prstGeom prst="rect">
            <a:avLst/>
          </a:prstGeom>
        </p:spPr>
      </p:pic>
      <p:pic>
        <p:nvPicPr>
          <p:cNvPr id="63" name="Picture 157"/>
          <p:cNvPicPr>
            <a:picLocks noChangeAspect="1"/>
          </p:cNvPicPr>
          <p:nvPr userDrawn="1"/>
        </p:nvPicPr>
        <p:blipFill>
          <a:blip r:embed="rId7"/>
          <a:stretch>
            <a:fillRect/>
          </a:stretch>
        </p:blipFill>
        <p:spPr>
          <a:xfrm>
            <a:off x="482819" y="5108271"/>
            <a:ext cx="1312068" cy="230460"/>
          </a:xfrm>
          <a:prstGeom prst="rect">
            <a:avLst/>
          </a:prstGeom>
        </p:spPr>
      </p:pic>
      <p:pic>
        <p:nvPicPr>
          <p:cNvPr id="65" name="Grafik 64"/>
          <p:cNvPicPr>
            <a:picLocks noChangeAspect="1"/>
          </p:cNvPicPr>
          <p:nvPr userDrawn="1"/>
        </p:nvPicPr>
        <p:blipFill rotWithShape="1">
          <a:blip r:embed="rId8"/>
          <a:srcRect l="6034" t="8948" r="13249" b="11386"/>
          <a:stretch/>
        </p:blipFill>
        <p:spPr>
          <a:xfrm>
            <a:off x="768247" y="4301617"/>
            <a:ext cx="680389" cy="545620"/>
          </a:xfrm>
          <a:prstGeom prst="rect">
            <a:avLst/>
          </a:prstGeom>
        </p:spPr>
      </p:pic>
      <p:grpSp>
        <p:nvGrpSpPr>
          <p:cNvPr id="51" name="Group 4"/>
          <p:cNvGrpSpPr>
            <a:grpSpLocks noChangeAspect="1"/>
          </p:cNvGrpSpPr>
          <p:nvPr userDrawn="1"/>
        </p:nvGrpSpPr>
        <p:grpSpPr bwMode="auto">
          <a:xfrm>
            <a:off x="5905259" y="2584485"/>
            <a:ext cx="6888562" cy="4239831"/>
            <a:chOff x="762" y="304"/>
            <a:chExt cx="4718" cy="3574"/>
          </a:xfrm>
          <a:scene3d>
            <a:camera prst="perspectiveRight">
              <a:rot lat="0" lon="19499999" rev="0"/>
            </a:camera>
            <a:lightRig rig="threePt" dir="t"/>
          </a:scene3d>
        </p:grpSpPr>
        <p:sp>
          <p:nvSpPr>
            <p:cNvPr id="52" name="Freeform 66"/>
            <p:cNvSpPr>
              <a:spLocks noEditPoints="1"/>
            </p:cNvSpPr>
            <p:nvPr userDrawn="1"/>
          </p:nvSpPr>
          <p:spPr bwMode="auto">
            <a:xfrm>
              <a:off x="3683" y="304"/>
              <a:ext cx="1792" cy="3373"/>
            </a:xfrm>
            <a:custGeom>
              <a:avLst/>
              <a:gdLst>
                <a:gd name="T0" fmla="*/ 732 w 1015"/>
                <a:gd name="T1" fmla="*/ 153 h 1909"/>
                <a:gd name="T2" fmla="*/ 530 w 1015"/>
                <a:gd name="T3" fmla="*/ 529 h 1909"/>
                <a:gd name="T4" fmla="*/ 495 w 1015"/>
                <a:gd name="T5" fmla="*/ 861 h 1909"/>
                <a:gd name="T6" fmla="*/ 136 w 1015"/>
                <a:gd name="T7" fmla="*/ 966 h 1909"/>
                <a:gd name="T8" fmla="*/ 0 w 1015"/>
                <a:gd name="T9" fmla="*/ 1172 h 1909"/>
                <a:gd name="T10" fmla="*/ 99 w 1015"/>
                <a:gd name="T11" fmla="*/ 1288 h 1909"/>
                <a:gd name="T12" fmla="*/ 206 w 1015"/>
                <a:gd name="T13" fmla="*/ 1445 h 1909"/>
                <a:gd name="T14" fmla="*/ 206 w 1015"/>
                <a:gd name="T15" fmla="*/ 1449 h 1909"/>
                <a:gd name="T16" fmla="*/ 206 w 1015"/>
                <a:gd name="T17" fmla="*/ 1452 h 1909"/>
                <a:gd name="T18" fmla="*/ 216 w 1015"/>
                <a:gd name="T19" fmla="*/ 1468 h 1909"/>
                <a:gd name="T20" fmla="*/ 218 w 1015"/>
                <a:gd name="T21" fmla="*/ 1469 h 1909"/>
                <a:gd name="T22" fmla="*/ 220 w 1015"/>
                <a:gd name="T23" fmla="*/ 1470 h 1909"/>
                <a:gd name="T24" fmla="*/ 222 w 1015"/>
                <a:gd name="T25" fmla="*/ 1470 h 1909"/>
                <a:gd name="T26" fmla="*/ 224 w 1015"/>
                <a:gd name="T27" fmla="*/ 1471 h 1909"/>
                <a:gd name="T28" fmla="*/ 226 w 1015"/>
                <a:gd name="T29" fmla="*/ 1471 h 1909"/>
                <a:gd name="T30" fmla="*/ 228 w 1015"/>
                <a:gd name="T31" fmla="*/ 1472 h 1909"/>
                <a:gd name="T32" fmla="*/ 270 w 1015"/>
                <a:gd name="T33" fmla="*/ 1494 h 1909"/>
                <a:gd name="T34" fmla="*/ 270 w 1015"/>
                <a:gd name="T35" fmla="*/ 1581 h 1909"/>
                <a:gd name="T36" fmla="*/ 270 w 1015"/>
                <a:gd name="T37" fmla="*/ 1582 h 1909"/>
                <a:gd name="T38" fmla="*/ 270 w 1015"/>
                <a:gd name="T39" fmla="*/ 1585 h 1909"/>
                <a:gd name="T40" fmla="*/ 294 w 1015"/>
                <a:gd name="T41" fmla="*/ 1603 h 1909"/>
                <a:gd name="T42" fmla="*/ 331 w 1015"/>
                <a:gd name="T43" fmla="*/ 1697 h 1909"/>
                <a:gd name="T44" fmla="*/ 331 w 1015"/>
                <a:gd name="T45" fmla="*/ 1700 h 1909"/>
                <a:gd name="T46" fmla="*/ 345 w 1015"/>
                <a:gd name="T47" fmla="*/ 1718 h 1909"/>
                <a:gd name="T48" fmla="*/ 347 w 1015"/>
                <a:gd name="T49" fmla="*/ 1718 h 1909"/>
                <a:gd name="T50" fmla="*/ 349 w 1015"/>
                <a:gd name="T51" fmla="*/ 1719 h 1909"/>
                <a:gd name="T52" fmla="*/ 351 w 1015"/>
                <a:gd name="T53" fmla="*/ 1720 h 1909"/>
                <a:gd name="T54" fmla="*/ 353 w 1015"/>
                <a:gd name="T55" fmla="*/ 1720 h 1909"/>
                <a:gd name="T56" fmla="*/ 356 w 1015"/>
                <a:gd name="T57" fmla="*/ 1720 h 1909"/>
                <a:gd name="T58" fmla="*/ 401 w 1015"/>
                <a:gd name="T59" fmla="*/ 1760 h 1909"/>
                <a:gd name="T60" fmla="*/ 401 w 1015"/>
                <a:gd name="T61" fmla="*/ 1761 h 1909"/>
                <a:gd name="T62" fmla="*/ 401 w 1015"/>
                <a:gd name="T63" fmla="*/ 1764 h 1909"/>
                <a:gd name="T64" fmla="*/ 402 w 1015"/>
                <a:gd name="T65" fmla="*/ 1765 h 1909"/>
                <a:gd name="T66" fmla="*/ 403 w 1015"/>
                <a:gd name="T67" fmla="*/ 1768 h 1909"/>
                <a:gd name="T68" fmla="*/ 403 w 1015"/>
                <a:gd name="T69" fmla="*/ 1769 h 1909"/>
                <a:gd name="T70" fmla="*/ 405 w 1015"/>
                <a:gd name="T71" fmla="*/ 1771 h 1909"/>
                <a:gd name="T72" fmla="*/ 406 w 1015"/>
                <a:gd name="T73" fmla="*/ 1773 h 1909"/>
                <a:gd name="T74" fmla="*/ 407 w 1015"/>
                <a:gd name="T75" fmla="*/ 1775 h 1909"/>
                <a:gd name="T76" fmla="*/ 408 w 1015"/>
                <a:gd name="T77" fmla="*/ 1776 h 1909"/>
                <a:gd name="T78" fmla="*/ 410 w 1015"/>
                <a:gd name="T79" fmla="*/ 1777 h 1909"/>
                <a:gd name="T80" fmla="*/ 411 w 1015"/>
                <a:gd name="T81" fmla="*/ 1778 h 1909"/>
                <a:gd name="T82" fmla="*/ 413 w 1015"/>
                <a:gd name="T83" fmla="*/ 1780 h 1909"/>
                <a:gd name="T84" fmla="*/ 415 w 1015"/>
                <a:gd name="T85" fmla="*/ 1780 h 1909"/>
                <a:gd name="T86" fmla="*/ 417 w 1015"/>
                <a:gd name="T87" fmla="*/ 1781 h 1909"/>
                <a:gd name="T88" fmla="*/ 419 w 1015"/>
                <a:gd name="T89" fmla="*/ 1782 h 1909"/>
                <a:gd name="T90" fmla="*/ 421 w 1015"/>
                <a:gd name="T91" fmla="*/ 1782 h 1909"/>
                <a:gd name="T92" fmla="*/ 423 w 1015"/>
                <a:gd name="T93" fmla="*/ 1782 h 1909"/>
                <a:gd name="T94" fmla="*/ 471 w 1015"/>
                <a:gd name="T95" fmla="*/ 1817 h 1909"/>
                <a:gd name="T96" fmla="*/ 593 w 1015"/>
                <a:gd name="T97" fmla="*/ 1881 h 1909"/>
                <a:gd name="T98" fmla="*/ 704 w 1015"/>
                <a:gd name="T99" fmla="*/ 1595 h 1909"/>
                <a:gd name="T100" fmla="*/ 907 w 1015"/>
                <a:gd name="T101" fmla="*/ 1419 h 1909"/>
                <a:gd name="T102" fmla="*/ 900 w 1015"/>
                <a:gd name="T103" fmla="*/ 1218 h 1909"/>
                <a:gd name="T104" fmla="*/ 1015 w 1015"/>
                <a:gd name="T105" fmla="*/ 71 h 1909"/>
                <a:gd name="T106" fmla="*/ 713 w 1015"/>
                <a:gd name="T107" fmla="*/ 0 h 1909"/>
                <a:gd name="T108" fmla="*/ 206 w 1015"/>
                <a:gd name="T109" fmla="*/ 1447 h 1909"/>
                <a:gd name="T110" fmla="*/ 732 w 1015"/>
                <a:gd name="T111" fmla="*/ 37 h 1909"/>
                <a:gd name="T112" fmla="*/ 866 w 1015"/>
                <a:gd name="T113" fmla="*/ 104 h 1909"/>
                <a:gd name="T114" fmla="*/ 732 w 1015"/>
                <a:gd name="T115" fmla="*/ 37 h 19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15" h="1909">
                  <a:moveTo>
                    <a:pt x="693" y="5"/>
                  </a:moveTo>
                  <a:cubicBezTo>
                    <a:pt x="674" y="5"/>
                    <a:pt x="658" y="21"/>
                    <a:pt x="658" y="40"/>
                  </a:cubicBezTo>
                  <a:cubicBezTo>
                    <a:pt x="658" y="51"/>
                    <a:pt x="643" y="64"/>
                    <a:pt x="628" y="64"/>
                  </a:cubicBezTo>
                  <a:cubicBezTo>
                    <a:pt x="609" y="64"/>
                    <a:pt x="593" y="80"/>
                    <a:pt x="593" y="99"/>
                  </a:cubicBezTo>
                  <a:cubicBezTo>
                    <a:pt x="593" y="124"/>
                    <a:pt x="593" y="124"/>
                    <a:pt x="593" y="124"/>
                  </a:cubicBezTo>
                  <a:cubicBezTo>
                    <a:pt x="703" y="124"/>
                    <a:pt x="703" y="124"/>
                    <a:pt x="703" y="124"/>
                  </a:cubicBezTo>
                  <a:cubicBezTo>
                    <a:pt x="719" y="124"/>
                    <a:pt x="732" y="137"/>
                    <a:pt x="732" y="153"/>
                  </a:cubicBezTo>
                  <a:cubicBezTo>
                    <a:pt x="732" y="163"/>
                    <a:pt x="732" y="163"/>
                    <a:pt x="732" y="163"/>
                  </a:cubicBezTo>
                  <a:cubicBezTo>
                    <a:pt x="732" y="179"/>
                    <a:pt x="719" y="193"/>
                    <a:pt x="703" y="193"/>
                  </a:cubicBezTo>
                  <a:cubicBezTo>
                    <a:pt x="593" y="193"/>
                    <a:pt x="593" y="193"/>
                    <a:pt x="593" y="193"/>
                  </a:cubicBezTo>
                  <a:cubicBezTo>
                    <a:pt x="593" y="473"/>
                    <a:pt x="593" y="473"/>
                    <a:pt x="593" y="473"/>
                  </a:cubicBezTo>
                  <a:cubicBezTo>
                    <a:pt x="592" y="486"/>
                    <a:pt x="581" y="497"/>
                    <a:pt x="568" y="497"/>
                  </a:cubicBezTo>
                  <a:cubicBezTo>
                    <a:pt x="530" y="497"/>
                    <a:pt x="530" y="497"/>
                    <a:pt x="530" y="497"/>
                  </a:cubicBezTo>
                  <a:cubicBezTo>
                    <a:pt x="530" y="529"/>
                    <a:pt x="530" y="529"/>
                    <a:pt x="530" y="529"/>
                  </a:cubicBezTo>
                  <a:cubicBezTo>
                    <a:pt x="530" y="543"/>
                    <a:pt x="518" y="554"/>
                    <a:pt x="504" y="554"/>
                  </a:cubicBezTo>
                  <a:cubicBezTo>
                    <a:pt x="464" y="554"/>
                    <a:pt x="464" y="554"/>
                    <a:pt x="464" y="554"/>
                  </a:cubicBezTo>
                  <a:cubicBezTo>
                    <a:pt x="464" y="718"/>
                    <a:pt x="464" y="718"/>
                    <a:pt x="464" y="718"/>
                  </a:cubicBezTo>
                  <a:cubicBezTo>
                    <a:pt x="464" y="732"/>
                    <a:pt x="475" y="743"/>
                    <a:pt x="489" y="743"/>
                  </a:cubicBezTo>
                  <a:cubicBezTo>
                    <a:pt x="529" y="743"/>
                    <a:pt x="529" y="743"/>
                    <a:pt x="529" y="743"/>
                  </a:cubicBezTo>
                  <a:cubicBezTo>
                    <a:pt x="530" y="861"/>
                    <a:pt x="530" y="861"/>
                    <a:pt x="530" y="861"/>
                  </a:cubicBezTo>
                  <a:cubicBezTo>
                    <a:pt x="495" y="861"/>
                    <a:pt x="495" y="861"/>
                    <a:pt x="495" y="861"/>
                  </a:cubicBezTo>
                  <a:cubicBezTo>
                    <a:pt x="479" y="861"/>
                    <a:pt x="465" y="873"/>
                    <a:pt x="465" y="889"/>
                  </a:cubicBezTo>
                  <a:cubicBezTo>
                    <a:pt x="465" y="902"/>
                    <a:pt x="465" y="902"/>
                    <a:pt x="465" y="902"/>
                  </a:cubicBezTo>
                  <a:cubicBezTo>
                    <a:pt x="465" y="916"/>
                    <a:pt x="453" y="927"/>
                    <a:pt x="439" y="927"/>
                  </a:cubicBezTo>
                  <a:cubicBezTo>
                    <a:pt x="292" y="927"/>
                    <a:pt x="292" y="927"/>
                    <a:pt x="292" y="927"/>
                  </a:cubicBezTo>
                  <a:cubicBezTo>
                    <a:pt x="179" y="927"/>
                    <a:pt x="179" y="927"/>
                    <a:pt x="179" y="927"/>
                  </a:cubicBezTo>
                  <a:cubicBezTo>
                    <a:pt x="142" y="925"/>
                    <a:pt x="136" y="944"/>
                    <a:pt x="136" y="960"/>
                  </a:cubicBezTo>
                  <a:cubicBezTo>
                    <a:pt x="136" y="966"/>
                    <a:pt x="136" y="966"/>
                    <a:pt x="136" y="966"/>
                  </a:cubicBezTo>
                  <a:cubicBezTo>
                    <a:pt x="136" y="982"/>
                    <a:pt x="123" y="996"/>
                    <a:pt x="106" y="996"/>
                  </a:cubicBezTo>
                  <a:cubicBezTo>
                    <a:pt x="70" y="996"/>
                    <a:pt x="70" y="996"/>
                    <a:pt x="70" y="996"/>
                  </a:cubicBezTo>
                  <a:cubicBezTo>
                    <a:pt x="70" y="1085"/>
                    <a:pt x="70" y="1085"/>
                    <a:pt x="70" y="1085"/>
                  </a:cubicBezTo>
                  <a:cubicBezTo>
                    <a:pt x="70" y="1098"/>
                    <a:pt x="59" y="1109"/>
                    <a:pt x="45" y="1109"/>
                  </a:cubicBezTo>
                  <a:cubicBezTo>
                    <a:pt x="31" y="1109"/>
                    <a:pt x="31" y="1109"/>
                    <a:pt x="31" y="1109"/>
                  </a:cubicBezTo>
                  <a:cubicBezTo>
                    <a:pt x="7" y="1109"/>
                    <a:pt x="0" y="1132"/>
                    <a:pt x="0" y="1142"/>
                  </a:cubicBezTo>
                  <a:cubicBezTo>
                    <a:pt x="0" y="1172"/>
                    <a:pt x="0" y="1172"/>
                    <a:pt x="0" y="1172"/>
                  </a:cubicBezTo>
                  <a:cubicBezTo>
                    <a:pt x="199" y="1172"/>
                    <a:pt x="199" y="1172"/>
                    <a:pt x="199" y="1172"/>
                  </a:cubicBezTo>
                  <a:cubicBezTo>
                    <a:pt x="199" y="1231"/>
                    <a:pt x="199" y="1231"/>
                    <a:pt x="199" y="1231"/>
                  </a:cubicBezTo>
                  <a:cubicBezTo>
                    <a:pt x="92" y="1231"/>
                    <a:pt x="92" y="1231"/>
                    <a:pt x="92" y="1231"/>
                  </a:cubicBezTo>
                  <a:cubicBezTo>
                    <a:pt x="79" y="1231"/>
                    <a:pt x="68" y="1242"/>
                    <a:pt x="68" y="1255"/>
                  </a:cubicBezTo>
                  <a:cubicBezTo>
                    <a:pt x="68" y="1263"/>
                    <a:pt x="68" y="1263"/>
                    <a:pt x="68" y="1263"/>
                  </a:cubicBezTo>
                  <a:cubicBezTo>
                    <a:pt x="68" y="1277"/>
                    <a:pt x="79" y="1288"/>
                    <a:pt x="92" y="1288"/>
                  </a:cubicBezTo>
                  <a:cubicBezTo>
                    <a:pt x="99" y="1288"/>
                    <a:pt x="99" y="1288"/>
                    <a:pt x="99" y="1288"/>
                  </a:cubicBezTo>
                  <a:cubicBezTo>
                    <a:pt x="105" y="1288"/>
                    <a:pt x="133" y="1286"/>
                    <a:pt x="133" y="1317"/>
                  </a:cubicBezTo>
                  <a:cubicBezTo>
                    <a:pt x="134" y="1365"/>
                    <a:pt x="134" y="1365"/>
                    <a:pt x="134" y="1365"/>
                  </a:cubicBezTo>
                  <a:cubicBezTo>
                    <a:pt x="135" y="1368"/>
                    <a:pt x="136" y="1373"/>
                    <a:pt x="136" y="1378"/>
                  </a:cubicBezTo>
                  <a:cubicBezTo>
                    <a:pt x="136" y="1386"/>
                    <a:pt x="136" y="1386"/>
                    <a:pt x="136" y="1386"/>
                  </a:cubicBezTo>
                  <a:cubicBezTo>
                    <a:pt x="136" y="1400"/>
                    <a:pt x="147" y="1410"/>
                    <a:pt x="160" y="1410"/>
                  </a:cubicBezTo>
                  <a:cubicBezTo>
                    <a:pt x="172" y="1410"/>
                    <a:pt x="172" y="1410"/>
                    <a:pt x="172" y="1410"/>
                  </a:cubicBezTo>
                  <a:cubicBezTo>
                    <a:pt x="190" y="1410"/>
                    <a:pt x="206" y="1426"/>
                    <a:pt x="206" y="1445"/>
                  </a:cubicBezTo>
                  <a:cubicBezTo>
                    <a:pt x="206" y="1447"/>
                    <a:pt x="206" y="1447"/>
                    <a:pt x="206" y="1447"/>
                  </a:cubicBezTo>
                  <a:cubicBezTo>
                    <a:pt x="206" y="1448"/>
                    <a:pt x="206" y="1448"/>
                    <a:pt x="206" y="1448"/>
                  </a:cubicBezTo>
                  <a:cubicBezTo>
                    <a:pt x="206" y="1448"/>
                    <a:pt x="206" y="1448"/>
                    <a:pt x="206" y="1448"/>
                  </a:cubicBezTo>
                  <a:cubicBezTo>
                    <a:pt x="206" y="1449"/>
                    <a:pt x="206" y="1449"/>
                    <a:pt x="206" y="1449"/>
                  </a:cubicBezTo>
                  <a:cubicBezTo>
                    <a:pt x="206" y="1449"/>
                    <a:pt x="206" y="1449"/>
                    <a:pt x="206" y="1449"/>
                  </a:cubicBezTo>
                  <a:cubicBezTo>
                    <a:pt x="206" y="1449"/>
                    <a:pt x="206" y="1449"/>
                    <a:pt x="206" y="1449"/>
                  </a:cubicBezTo>
                  <a:cubicBezTo>
                    <a:pt x="206" y="1449"/>
                    <a:pt x="206" y="1449"/>
                    <a:pt x="206" y="1449"/>
                  </a:cubicBezTo>
                  <a:cubicBezTo>
                    <a:pt x="206" y="1450"/>
                    <a:pt x="206" y="1450"/>
                    <a:pt x="206" y="1450"/>
                  </a:cubicBezTo>
                  <a:cubicBezTo>
                    <a:pt x="206" y="1450"/>
                    <a:pt x="206" y="1450"/>
                    <a:pt x="206" y="1450"/>
                  </a:cubicBezTo>
                  <a:cubicBezTo>
                    <a:pt x="206" y="1451"/>
                    <a:pt x="206" y="1451"/>
                    <a:pt x="206" y="1451"/>
                  </a:cubicBezTo>
                  <a:cubicBezTo>
                    <a:pt x="206" y="1451"/>
                    <a:pt x="206" y="1451"/>
                    <a:pt x="206" y="1451"/>
                  </a:cubicBezTo>
                  <a:cubicBezTo>
                    <a:pt x="206" y="1451"/>
                    <a:pt x="206" y="1451"/>
                    <a:pt x="206" y="1451"/>
                  </a:cubicBezTo>
                  <a:cubicBezTo>
                    <a:pt x="206" y="1451"/>
                    <a:pt x="206" y="1451"/>
                    <a:pt x="206" y="1451"/>
                  </a:cubicBezTo>
                  <a:cubicBezTo>
                    <a:pt x="206" y="1452"/>
                    <a:pt x="206" y="1452"/>
                    <a:pt x="206" y="1452"/>
                  </a:cubicBezTo>
                  <a:cubicBezTo>
                    <a:pt x="206" y="1452"/>
                    <a:pt x="206" y="1452"/>
                    <a:pt x="206" y="1452"/>
                  </a:cubicBezTo>
                  <a:cubicBezTo>
                    <a:pt x="207" y="1458"/>
                    <a:pt x="211" y="1463"/>
                    <a:pt x="215" y="1467"/>
                  </a:cubicBezTo>
                  <a:cubicBezTo>
                    <a:pt x="215" y="1467"/>
                    <a:pt x="215" y="1467"/>
                    <a:pt x="215" y="1467"/>
                  </a:cubicBezTo>
                  <a:cubicBezTo>
                    <a:pt x="216" y="1467"/>
                    <a:pt x="216" y="1467"/>
                    <a:pt x="216" y="1467"/>
                  </a:cubicBezTo>
                  <a:cubicBezTo>
                    <a:pt x="216" y="1467"/>
                    <a:pt x="216" y="1467"/>
                    <a:pt x="216" y="1467"/>
                  </a:cubicBezTo>
                  <a:cubicBezTo>
                    <a:pt x="216" y="1468"/>
                    <a:pt x="216" y="1468"/>
                    <a:pt x="216" y="1468"/>
                  </a:cubicBezTo>
                  <a:cubicBezTo>
                    <a:pt x="216" y="1468"/>
                    <a:pt x="216" y="1468"/>
                    <a:pt x="216" y="1468"/>
                  </a:cubicBezTo>
                  <a:cubicBezTo>
                    <a:pt x="217" y="1468"/>
                    <a:pt x="217" y="1468"/>
                    <a:pt x="217" y="1468"/>
                  </a:cubicBezTo>
                  <a:cubicBezTo>
                    <a:pt x="217" y="1468"/>
                    <a:pt x="217" y="1468"/>
                    <a:pt x="217" y="1468"/>
                  </a:cubicBezTo>
                  <a:cubicBezTo>
                    <a:pt x="217" y="1468"/>
                    <a:pt x="217" y="1468"/>
                    <a:pt x="217" y="1468"/>
                  </a:cubicBezTo>
                  <a:cubicBezTo>
                    <a:pt x="217" y="1468"/>
                    <a:pt x="217" y="1468"/>
                    <a:pt x="217" y="1468"/>
                  </a:cubicBezTo>
                  <a:cubicBezTo>
                    <a:pt x="218" y="1468"/>
                    <a:pt x="218" y="1468"/>
                    <a:pt x="218" y="1468"/>
                  </a:cubicBezTo>
                  <a:cubicBezTo>
                    <a:pt x="218" y="1468"/>
                    <a:pt x="218" y="1469"/>
                    <a:pt x="218" y="1469"/>
                  </a:cubicBezTo>
                  <a:cubicBezTo>
                    <a:pt x="218" y="1469"/>
                    <a:pt x="218" y="1469"/>
                    <a:pt x="218" y="1469"/>
                  </a:cubicBezTo>
                  <a:cubicBezTo>
                    <a:pt x="218" y="1469"/>
                    <a:pt x="218" y="1469"/>
                    <a:pt x="218" y="1469"/>
                  </a:cubicBezTo>
                  <a:cubicBezTo>
                    <a:pt x="219" y="1469"/>
                    <a:pt x="219" y="1469"/>
                    <a:pt x="219" y="1469"/>
                  </a:cubicBezTo>
                  <a:cubicBezTo>
                    <a:pt x="219" y="1469"/>
                    <a:pt x="219" y="1469"/>
                    <a:pt x="219" y="1469"/>
                  </a:cubicBezTo>
                  <a:cubicBezTo>
                    <a:pt x="219" y="1469"/>
                    <a:pt x="219" y="1469"/>
                    <a:pt x="219" y="1469"/>
                  </a:cubicBezTo>
                  <a:cubicBezTo>
                    <a:pt x="219" y="1469"/>
                    <a:pt x="219" y="1469"/>
                    <a:pt x="219" y="1469"/>
                  </a:cubicBezTo>
                  <a:cubicBezTo>
                    <a:pt x="220" y="1470"/>
                    <a:pt x="220" y="1470"/>
                    <a:pt x="220" y="1470"/>
                  </a:cubicBezTo>
                  <a:cubicBezTo>
                    <a:pt x="220" y="1470"/>
                    <a:pt x="220" y="1470"/>
                    <a:pt x="220" y="1470"/>
                  </a:cubicBezTo>
                  <a:cubicBezTo>
                    <a:pt x="220" y="1470"/>
                    <a:pt x="220" y="1470"/>
                    <a:pt x="221" y="1470"/>
                  </a:cubicBezTo>
                  <a:cubicBezTo>
                    <a:pt x="221" y="1470"/>
                    <a:pt x="221" y="1470"/>
                    <a:pt x="221" y="1470"/>
                  </a:cubicBezTo>
                  <a:cubicBezTo>
                    <a:pt x="221" y="1470"/>
                    <a:pt x="221" y="1470"/>
                    <a:pt x="221" y="1470"/>
                  </a:cubicBezTo>
                  <a:cubicBezTo>
                    <a:pt x="221" y="1470"/>
                    <a:pt x="221" y="1470"/>
                    <a:pt x="221" y="1470"/>
                  </a:cubicBezTo>
                  <a:cubicBezTo>
                    <a:pt x="222" y="1470"/>
                    <a:pt x="222" y="1470"/>
                    <a:pt x="222" y="1470"/>
                  </a:cubicBezTo>
                  <a:cubicBezTo>
                    <a:pt x="222" y="1470"/>
                    <a:pt x="222" y="1470"/>
                    <a:pt x="222" y="1470"/>
                  </a:cubicBezTo>
                  <a:cubicBezTo>
                    <a:pt x="222" y="1470"/>
                    <a:pt x="222" y="1470"/>
                    <a:pt x="222" y="1470"/>
                  </a:cubicBezTo>
                  <a:cubicBezTo>
                    <a:pt x="222" y="1470"/>
                    <a:pt x="222" y="1470"/>
                    <a:pt x="222" y="1470"/>
                  </a:cubicBezTo>
                  <a:cubicBezTo>
                    <a:pt x="222" y="1470"/>
                    <a:pt x="222" y="1470"/>
                    <a:pt x="222" y="1470"/>
                  </a:cubicBezTo>
                  <a:cubicBezTo>
                    <a:pt x="223" y="1471"/>
                    <a:pt x="223" y="1471"/>
                    <a:pt x="223" y="1471"/>
                  </a:cubicBezTo>
                  <a:cubicBezTo>
                    <a:pt x="223" y="1471"/>
                    <a:pt x="223" y="1471"/>
                    <a:pt x="223" y="1471"/>
                  </a:cubicBezTo>
                  <a:cubicBezTo>
                    <a:pt x="223" y="1471"/>
                    <a:pt x="223" y="1471"/>
                    <a:pt x="223" y="1471"/>
                  </a:cubicBezTo>
                  <a:cubicBezTo>
                    <a:pt x="224" y="1471"/>
                    <a:pt x="224" y="1471"/>
                    <a:pt x="224" y="1471"/>
                  </a:cubicBezTo>
                  <a:cubicBezTo>
                    <a:pt x="224" y="1471"/>
                    <a:pt x="224" y="1471"/>
                    <a:pt x="224" y="1471"/>
                  </a:cubicBezTo>
                  <a:cubicBezTo>
                    <a:pt x="224" y="1471"/>
                    <a:pt x="224" y="1471"/>
                    <a:pt x="224" y="1471"/>
                  </a:cubicBezTo>
                  <a:cubicBezTo>
                    <a:pt x="224" y="1471"/>
                    <a:pt x="224" y="1471"/>
                    <a:pt x="224" y="1471"/>
                  </a:cubicBezTo>
                  <a:cubicBezTo>
                    <a:pt x="225" y="1471"/>
                    <a:pt x="225" y="1471"/>
                    <a:pt x="225" y="1471"/>
                  </a:cubicBezTo>
                  <a:cubicBezTo>
                    <a:pt x="225" y="1471"/>
                    <a:pt x="225" y="1471"/>
                    <a:pt x="225" y="1471"/>
                  </a:cubicBezTo>
                  <a:cubicBezTo>
                    <a:pt x="225" y="1471"/>
                    <a:pt x="225" y="1471"/>
                    <a:pt x="226" y="1471"/>
                  </a:cubicBezTo>
                  <a:cubicBezTo>
                    <a:pt x="226" y="1471"/>
                    <a:pt x="226" y="1471"/>
                    <a:pt x="226" y="1471"/>
                  </a:cubicBezTo>
                  <a:cubicBezTo>
                    <a:pt x="226" y="1471"/>
                    <a:pt x="226" y="1471"/>
                    <a:pt x="226" y="1471"/>
                  </a:cubicBezTo>
                  <a:cubicBezTo>
                    <a:pt x="226" y="1471"/>
                    <a:pt x="226" y="1471"/>
                    <a:pt x="227" y="1471"/>
                  </a:cubicBezTo>
                  <a:cubicBezTo>
                    <a:pt x="227" y="1471"/>
                    <a:pt x="227" y="1471"/>
                    <a:pt x="227" y="1471"/>
                  </a:cubicBezTo>
                  <a:cubicBezTo>
                    <a:pt x="227" y="1471"/>
                    <a:pt x="227" y="1471"/>
                    <a:pt x="227" y="1471"/>
                  </a:cubicBezTo>
                  <a:cubicBezTo>
                    <a:pt x="227" y="1472"/>
                    <a:pt x="227" y="1472"/>
                    <a:pt x="227" y="1472"/>
                  </a:cubicBezTo>
                  <a:cubicBezTo>
                    <a:pt x="227" y="1472"/>
                    <a:pt x="227" y="1472"/>
                    <a:pt x="227" y="1472"/>
                  </a:cubicBezTo>
                  <a:cubicBezTo>
                    <a:pt x="228" y="1472"/>
                    <a:pt x="228" y="1472"/>
                    <a:pt x="228" y="1472"/>
                  </a:cubicBezTo>
                  <a:cubicBezTo>
                    <a:pt x="228" y="1472"/>
                    <a:pt x="228" y="1472"/>
                    <a:pt x="228" y="1472"/>
                  </a:cubicBezTo>
                  <a:cubicBezTo>
                    <a:pt x="229" y="1472"/>
                    <a:pt x="229" y="1472"/>
                    <a:pt x="229" y="1472"/>
                  </a:cubicBezTo>
                  <a:cubicBezTo>
                    <a:pt x="229" y="1472"/>
                    <a:pt x="229" y="1472"/>
                    <a:pt x="229" y="1472"/>
                  </a:cubicBezTo>
                  <a:cubicBezTo>
                    <a:pt x="229" y="1472"/>
                    <a:pt x="229" y="1472"/>
                    <a:pt x="229" y="1472"/>
                  </a:cubicBezTo>
                  <a:cubicBezTo>
                    <a:pt x="229" y="1472"/>
                    <a:pt x="230" y="1472"/>
                    <a:pt x="230" y="1472"/>
                  </a:cubicBezTo>
                  <a:cubicBezTo>
                    <a:pt x="238" y="1472"/>
                    <a:pt x="238" y="1472"/>
                    <a:pt x="238" y="1472"/>
                  </a:cubicBezTo>
                  <a:cubicBezTo>
                    <a:pt x="239" y="1472"/>
                    <a:pt x="239" y="1472"/>
                    <a:pt x="239" y="1472"/>
                  </a:cubicBezTo>
                  <a:cubicBezTo>
                    <a:pt x="254" y="1472"/>
                    <a:pt x="270" y="1475"/>
                    <a:pt x="270" y="1494"/>
                  </a:cubicBezTo>
                  <a:cubicBezTo>
                    <a:pt x="270" y="1577"/>
                    <a:pt x="270" y="1577"/>
                    <a:pt x="270" y="1577"/>
                  </a:cubicBezTo>
                  <a:cubicBezTo>
                    <a:pt x="270" y="1579"/>
                    <a:pt x="270" y="1579"/>
                    <a:pt x="270" y="1579"/>
                  </a:cubicBezTo>
                  <a:cubicBezTo>
                    <a:pt x="270" y="1579"/>
                    <a:pt x="270" y="1579"/>
                    <a:pt x="270" y="1579"/>
                  </a:cubicBezTo>
                  <a:cubicBezTo>
                    <a:pt x="270" y="1579"/>
                    <a:pt x="270" y="1579"/>
                    <a:pt x="270" y="1579"/>
                  </a:cubicBezTo>
                  <a:cubicBezTo>
                    <a:pt x="270" y="1580"/>
                    <a:pt x="270" y="1580"/>
                    <a:pt x="270" y="1580"/>
                  </a:cubicBezTo>
                  <a:cubicBezTo>
                    <a:pt x="270" y="1580"/>
                    <a:pt x="270" y="1580"/>
                    <a:pt x="270" y="1580"/>
                  </a:cubicBezTo>
                  <a:cubicBezTo>
                    <a:pt x="270" y="1581"/>
                    <a:pt x="270" y="1581"/>
                    <a:pt x="270" y="1581"/>
                  </a:cubicBezTo>
                  <a:cubicBezTo>
                    <a:pt x="270" y="1581"/>
                    <a:pt x="270" y="1581"/>
                    <a:pt x="270" y="1581"/>
                  </a:cubicBezTo>
                  <a:cubicBezTo>
                    <a:pt x="270" y="1581"/>
                    <a:pt x="270" y="1581"/>
                    <a:pt x="270" y="1581"/>
                  </a:cubicBezTo>
                  <a:cubicBezTo>
                    <a:pt x="270" y="1581"/>
                    <a:pt x="270" y="1581"/>
                    <a:pt x="270" y="1581"/>
                  </a:cubicBezTo>
                  <a:cubicBezTo>
                    <a:pt x="270" y="1582"/>
                    <a:pt x="270" y="1582"/>
                    <a:pt x="270" y="1582"/>
                  </a:cubicBezTo>
                  <a:cubicBezTo>
                    <a:pt x="270" y="1582"/>
                    <a:pt x="270" y="1582"/>
                    <a:pt x="270" y="1582"/>
                  </a:cubicBezTo>
                  <a:cubicBezTo>
                    <a:pt x="270" y="1582"/>
                    <a:pt x="270" y="1582"/>
                    <a:pt x="270" y="1582"/>
                  </a:cubicBezTo>
                  <a:cubicBezTo>
                    <a:pt x="270" y="1582"/>
                    <a:pt x="270" y="1582"/>
                    <a:pt x="270" y="1582"/>
                  </a:cubicBezTo>
                  <a:cubicBezTo>
                    <a:pt x="270" y="1583"/>
                    <a:pt x="270" y="1583"/>
                    <a:pt x="270" y="1583"/>
                  </a:cubicBezTo>
                  <a:cubicBezTo>
                    <a:pt x="270" y="1583"/>
                    <a:pt x="270" y="1583"/>
                    <a:pt x="270" y="1583"/>
                  </a:cubicBezTo>
                  <a:cubicBezTo>
                    <a:pt x="270" y="1583"/>
                    <a:pt x="270" y="1583"/>
                    <a:pt x="270" y="1584"/>
                  </a:cubicBezTo>
                  <a:cubicBezTo>
                    <a:pt x="270" y="1584"/>
                    <a:pt x="270" y="1584"/>
                    <a:pt x="270" y="1584"/>
                  </a:cubicBezTo>
                  <a:cubicBezTo>
                    <a:pt x="270" y="1584"/>
                    <a:pt x="270" y="1584"/>
                    <a:pt x="270" y="1584"/>
                  </a:cubicBezTo>
                  <a:cubicBezTo>
                    <a:pt x="270" y="1584"/>
                    <a:pt x="270" y="1584"/>
                    <a:pt x="270" y="1584"/>
                  </a:cubicBezTo>
                  <a:cubicBezTo>
                    <a:pt x="270" y="1585"/>
                    <a:pt x="270" y="1585"/>
                    <a:pt x="270" y="1585"/>
                  </a:cubicBezTo>
                  <a:cubicBezTo>
                    <a:pt x="270" y="1585"/>
                    <a:pt x="270" y="1585"/>
                    <a:pt x="270" y="1585"/>
                  </a:cubicBezTo>
                  <a:cubicBezTo>
                    <a:pt x="273" y="1594"/>
                    <a:pt x="281" y="1602"/>
                    <a:pt x="292" y="1603"/>
                  </a:cubicBezTo>
                  <a:cubicBezTo>
                    <a:pt x="292" y="1603"/>
                    <a:pt x="292" y="1603"/>
                    <a:pt x="292" y="1603"/>
                  </a:cubicBezTo>
                  <a:cubicBezTo>
                    <a:pt x="293" y="1603"/>
                    <a:pt x="293" y="1603"/>
                    <a:pt x="293" y="1603"/>
                  </a:cubicBezTo>
                  <a:cubicBezTo>
                    <a:pt x="293" y="1603"/>
                    <a:pt x="293" y="1603"/>
                    <a:pt x="293" y="1603"/>
                  </a:cubicBezTo>
                  <a:cubicBezTo>
                    <a:pt x="293" y="1603"/>
                    <a:pt x="293" y="1603"/>
                    <a:pt x="293" y="1603"/>
                  </a:cubicBezTo>
                  <a:cubicBezTo>
                    <a:pt x="293" y="1603"/>
                    <a:pt x="294" y="1603"/>
                    <a:pt x="294" y="1603"/>
                  </a:cubicBezTo>
                  <a:cubicBezTo>
                    <a:pt x="297" y="1603"/>
                    <a:pt x="297" y="1603"/>
                    <a:pt x="297" y="1603"/>
                  </a:cubicBezTo>
                  <a:cubicBezTo>
                    <a:pt x="316" y="1603"/>
                    <a:pt x="331" y="1618"/>
                    <a:pt x="331" y="1637"/>
                  </a:cubicBezTo>
                  <a:cubicBezTo>
                    <a:pt x="331" y="1696"/>
                    <a:pt x="331" y="1696"/>
                    <a:pt x="331" y="1696"/>
                  </a:cubicBezTo>
                  <a:cubicBezTo>
                    <a:pt x="331" y="1697"/>
                    <a:pt x="331" y="1697"/>
                    <a:pt x="331" y="1697"/>
                  </a:cubicBezTo>
                  <a:cubicBezTo>
                    <a:pt x="331" y="1697"/>
                    <a:pt x="331" y="1697"/>
                    <a:pt x="331" y="1697"/>
                  </a:cubicBezTo>
                  <a:cubicBezTo>
                    <a:pt x="331" y="1697"/>
                    <a:pt x="331" y="1697"/>
                    <a:pt x="331" y="1697"/>
                  </a:cubicBezTo>
                  <a:cubicBezTo>
                    <a:pt x="331" y="1697"/>
                    <a:pt x="331" y="1697"/>
                    <a:pt x="331" y="1697"/>
                  </a:cubicBezTo>
                  <a:cubicBezTo>
                    <a:pt x="331" y="1698"/>
                    <a:pt x="331" y="1698"/>
                    <a:pt x="331" y="1698"/>
                  </a:cubicBezTo>
                  <a:cubicBezTo>
                    <a:pt x="331" y="1698"/>
                    <a:pt x="331" y="1698"/>
                    <a:pt x="331" y="1698"/>
                  </a:cubicBezTo>
                  <a:cubicBezTo>
                    <a:pt x="331" y="1698"/>
                    <a:pt x="331" y="1698"/>
                    <a:pt x="331" y="1698"/>
                  </a:cubicBezTo>
                  <a:cubicBezTo>
                    <a:pt x="331" y="1698"/>
                    <a:pt x="331" y="1698"/>
                    <a:pt x="331" y="1698"/>
                  </a:cubicBezTo>
                  <a:cubicBezTo>
                    <a:pt x="331" y="1699"/>
                    <a:pt x="331" y="1699"/>
                    <a:pt x="331" y="1699"/>
                  </a:cubicBezTo>
                  <a:cubicBezTo>
                    <a:pt x="331" y="1699"/>
                    <a:pt x="331" y="1699"/>
                    <a:pt x="331" y="1699"/>
                  </a:cubicBezTo>
                  <a:cubicBezTo>
                    <a:pt x="331" y="1700"/>
                    <a:pt x="331" y="1700"/>
                    <a:pt x="331" y="1700"/>
                  </a:cubicBezTo>
                  <a:cubicBezTo>
                    <a:pt x="331" y="1700"/>
                    <a:pt x="331" y="1700"/>
                    <a:pt x="331" y="1700"/>
                  </a:cubicBezTo>
                  <a:cubicBezTo>
                    <a:pt x="333" y="1707"/>
                    <a:pt x="337" y="1713"/>
                    <a:pt x="344" y="1717"/>
                  </a:cubicBezTo>
                  <a:cubicBezTo>
                    <a:pt x="344" y="1717"/>
                    <a:pt x="344" y="1717"/>
                    <a:pt x="344" y="1717"/>
                  </a:cubicBezTo>
                  <a:cubicBezTo>
                    <a:pt x="344" y="1717"/>
                    <a:pt x="344" y="1717"/>
                    <a:pt x="344" y="1717"/>
                  </a:cubicBezTo>
                  <a:cubicBezTo>
                    <a:pt x="344" y="1718"/>
                    <a:pt x="344" y="1718"/>
                    <a:pt x="344" y="1718"/>
                  </a:cubicBezTo>
                  <a:cubicBezTo>
                    <a:pt x="344" y="1718"/>
                    <a:pt x="344" y="1718"/>
                    <a:pt x="344" y="1718"/>
                  </a:cubicBezTo>
                  <a:cubicBezTo>
                    <a:pt x="345" y="1718"/>
                    <a:pt x="345" y="1718"/>
                    <a:pt x="345" y="1718"/>
                  </a:cubicBezTo>
                  <a:cubicBezTo>
                    <a:pt x="345" y="1718"/>
                    <a:pt x="345" y="1718"/>
                    <a:pt x="345" y="1718"/>
                  </a:cubicBezTo>
                  <a:cubicBezTo>
                    <a:pt x="345" y="1718"/>
                    <a:pt x="345" y="1718"/>
                    <a:pt x="345" y="1718"/>
                  </a:cubicBezTo>
                  <a:cubicBezTo>
                    <a:pt x="345" y="1718"/>
                    <a:pt x="345" y="1718"/>
                    <a:pt x="345" y="1718"/>
                  </a:cubicBezTo>
                  <a:cubicBezTo>
                    <a:pt x="346" y="1718"/>
                    <a:pt x="346" y="1718"/>
                    <a:pt x="346" y="1718"/>
                  </a:cubicBezTo>
                  <a:cubicBezTo>
                    <a:pt x="346" y="1718"/>
                    <a:pt x="346" y="1718"/>
                    <a:pt x="346" y="1718"/>
                  </a:cubicBezTo>
                  <a:cubicBezTo>
                    <a:pt x="347" y="1718"/>
                    <a:pt x="347" y="1718"/>
                    <a:pt x="347" y="1718"/>
                  </a:cubicBezTo>
                  <a:cubicBezTo>
                    <a:pt x="347" y="1718"/>
                    <a:pt x="347" y="1718"/>
                    <a:pt x="347" y="1718"/>
                  </a:cubicBezTo>
                  <a:cubicBezTo>
                    <a:pt x="347" y="1719"/>
                    <a:pt x="347" y="1719"/>
                    <a:pt x="347" y="1719"/>
                  </a:cubicBezTo>
                  <a:cubicBezTo>
                    <a:pt x="347" y="1719"/>
                    <a:pt x="347" y="1719"/>
                    <a:pt x="347" y="1719"/>
                  </a:cubicBezTo>
                  <a:cubicBezTo>
                    <a:pt x="348" y="1719"/>
                    <a:pt x="348" y="1719"/>
                    <a:pt x="348" y="1719"/>
                  </a:cubicBezTo>
                  <a:cubicBezTo>
                    <a:pt x="348" y="1719"/>
                    <a:pt x="348" y="1719"/>
                    <a:pt x="348" y="1719"/>
                  </a:cubicBezTo>
                  <a:cubicBezTo>
                    <a:pt x="348" y="1719"/>
                    <a:pt x="348" y="1719"/>
                    <a:pt x="348" y="1719"/>
                  </a:cubicBezTo>
                  <a:cubicBezTo>
                    <a:pt x="348" y="1719"/>
                    <a:pt x="348" y="1719"/>
                    <a:pt x="349" y="1719"/>
                  </a:cubicBezTo>
                  <a:cubicBezTo>
                    <a:pt x="349" y="1719"/>
                    <a:pt x="349" y="1719"/>
                    <a:pt x="349" y="1719"/>
                  </a:cubicBezTo>
                  <a:cubicBezTo>
                    <a:pt x="349" y="1719"/>
                    <a:pt x="349" y="1719"/>
                    <a:pt x="349" y="1719"/>
                  </a:cubicBezTo>
                  <a:cubicBezTo>
                    <a:pt x="349" y="1719"/>
                    <a:pt x="349" y="1719"/>
                    <a:pt x="349" y="1719"/>
                  </a:cubicBezTo>
                  <a:cubicBezTo>
                    <a:pt x="349" y="1719"/>
                    <a:pt x="349" y="1719"/>
                    <a:pt x="349" y="1719"/>
                  </a:cubicBezTo>
                  <a:cubicBezTo>
                    <a:pt x="350" y="1720"/>
                    <a:pt x="350" y="1720"/>
                    <a:pt x="350" y="1720"/>
                  </a:cubicBezTo>
                  <a:cubicBezTo>
                    <a:pt x="350" y="1720"/>
                    <a:pt x="350" y="1720"/>
                    <a:pt x="350" y="1720"/>
                  </a:cubicBezTo>
                  <a:cubicBezTo>
                    <a:pt x="351" y="1720"/>
                    <a:pt x="351" y="1720"/>
                    <a:pt x="351" y="1720"/>
                  </a:cubicBezTo>
                  <a:cubicBezTo>
                    <a:pt x="351" y="1720"/>
                    <a:pt x="351" y="1720"/>
                    <a:pt x="351" y="1720"/>
                  </a:cubicBezTo>
                  <a:cubicBezTo>
                    <a:pt x="351" y="1720"/>
                    <a:pt x="351" y="1720"/>
                    <a:pt x="351" y="1720"/>
                  </a:cubicBezTo>
                  <a:cubicBezTo>
                    <a:pt x="351" y="1720"/>
                    <a:pt x="351" y="1720"/>
                    <a:pt x="351" y="1720"/>
                  </a:cubicBezTo>
                  <a:cubicBezTo>
                    <a:pt x="351" y="1720"/>
                    <a:pt x="351" y="1720"/>
                    <a:pt x="351" y="1720"/>
                  </a:cubicBezTo>
                  <a:cubicBezTo>
                    <a:pt x="352" y="1720"/>
                    <a:pt x="352" y="1720"/>
                    <a:pt x="352" y="1720"/>
                  </a:cubicBezTo>
                  <a:cubicBezTo>
                    <a:pt x="352" y="1720"/>
                    <a:pt x="352" y="1720"/>
                    <a:pt x="352" y="1720"/>
                  </a:cubicBezTo>
                  <a:cubicBezTo>
                    <a:pt x="352" y="1720"/>
                    <a:pt x="352" y="1720"/>
                    <a:pt x="352" y="1720"/>
                  </a:cubicBezTo>
                  <a:cubicBezTo>
                    <a:pt x="353" y="1720"/>
                    <a:pt x="353" y="1720"/>
                    <a:pt x="353" y="1720"/>
                  </a:cubicBezTo>
                  <a:cubicBezTo>
                    <a:pt x="353" y="1720"/>
                    <a:pt x="353" y="1720"/>
                    <a:pt x="353" y="1720"/>
                  </a:cubicBezTo>
                  <a:cubicBezTo>
                    <a:pt x="354" y="1720"/>
                    <a:pt x="354" y="1720"/>
                    <a:pt x="354" y="1720"/>
                  </a:cubicBezTo>
                  <a:cubicBezTo>
                    <a:pt x="354" y="1720"/>
                    <a:pt x="354" y="1720"/>
                    <a:pt x="354" y="1720"/>
                  </a:cubicBezTo>
                  <a:cubicBezTo>
                    <a:pt x="354" y="1720"/>
                    <a:pt x="354" y="1720"/>
                    <a:pt x="354" y="1720"/>
                  </a:cubicBezTo>
                  <a:cubicBezTo>
                    <a:pt x="354" y="1720"/>
                    <a:pt x="354" y="1720"/>
                    <a:pt x="354" y="1720"/>
                  </a:cubicBezTo>
                  <a:cubicBezTo>
                    <a:pt x="354" y="1720"/>
                    <a:pt x="354" y="1720"/>
                    <a:pt x="354" y="1720"/>
                  </a:cubicBezTo>
                  <a:cubicBezTo>
                    <a:pt x="355" y="1720"/>
                    <a:pt x="355" y="1720"/>
                    <a:pt x="356" y="1720"/>
                  </a:cubicBezTo>
                  <a:cubicBezTo>
                    <a:pt x="364" y="1720"/>
                    <a:pt x="364" y="1720"/>
                    <a:pt x="364" y="1720"/>
                  </a:cubicBezTo>
                  <a:cubicBezTo>
                    <a:pt x="367" y="1720"/>
                    <a:pt x="367" y="1720"/>
                    <a:pt x="367" y="1720"/>
                  </a:cubicBezTo>
                  <a:cubicBezTo>
                    <a:pt x="385" y="1720"/>
                    <a:pt x="401" y="1735"/>
                    <a:pt x="401" y="1754"/>
                  </a:cubicBezTo>
                  <a:cubicBezTo>
                    <a:pt x="401" y="1758"/>
                    <a:pt x="401" y="1758"/>
                    <a:pt x="401" y="1758"/>
                  </a:cubicBezTo>
                  <a:cubicBezTo>
                    <a:pt x="401" y="1759"/>
                    <a:pt x="401" y="1759"/>
                    <a:pt x="401" y="1759"/>
                  </a:cubicBezTo>
                  <a:cubicBezTo>
                    <a:pt x="401" y="1759"/>
                    <a:pt x="401" y="1759"/>
                    <a:pt x="401" y="1759"/>
                  </a:cubicBezTo>
                  <a:cubicBezTo>
                    <a:pt x="401" y="1760"/>
                    <a:pt x="401" y="1760"/>
                    <a:pt x="401" y="1760"/>
                  </a:cubicBezTo>
                  <a:cubicBezTo>
                    <a:pt x="401" y="1760"/>
                    <a:pt x="401" y="1760"/>
                    <a:pt x="401" y="1760"/>
                  </a:cubicBezTo>
                  <a:cubicBezTo>
                    <a:pt x="401" y="1760"/>
                    <a:pt x="401" y="1760"/>
                    <a:pt x="401" y="1760"/>
                  </a:cubicBezTo>
                  <a:cubicBezTo>
                    <a:pt x="401" y="1760"/>
                    <a:pt x="401" y="1760"/>
                    <a:pt x="401" y="1760"/>
                  </a:cubicBezTo>
                  <a:cubicBezTo>
                    <a:pt x="401" y="1761"/>
                    <a:pt x="401" y="1761"/>
                    <a:pt x="401" y="1761"/>
                  </a:cubicBezTo>
                  <a:cubicBezTo>
                    <a:pt x="401" y="1761"/>
                    <a:pt x="401" y="1761"/>
                    <a:pt x="401" y="1761"/>
                  </a:cubicBezTo>
                  <a:cubicBezTo>
                    <a:pt x="401" y="1761"/>
                    <a:pt x="401" y="1761"/>
                    <a:pt x="401" y="1761"/>
                  </a:cubicBezTo>
                  <a:cubicBezTo>
                    <a:pt x="401" y="1761"/>
                    <a:pt x="401" y="1761"/>
                    <a:pt x="401" y="1761"/>
                  </a:cubicBezTo>
                  <a:cubicBezTo>
                    <a:pt x="401" y="1762"/>
                    <a:pt x="401" y="1762"/>
                    <a:pt x="401" y="1762"/>
                  </a:cubicBezTo>
                  <a:cubicBezTo>
                    <a:pt x="401" y="1762"/>
                    <a:pt x="401" y="1762"/>
                    <a:pt x="401" y="1762"/>
                  </a:cubicBezTo>
                  <a:cubicBezTo>
                    <a:pt x="401" y="1763"/>
                    <a:pt x="401" y="1763"/>
                    <a:pt x="401" y="1763"/>
                  </a:cubicBezTo>
                  <a:cubicBezTo>
                    <a:pt x="401" y="1763"/>
                    <a:pt x="401" y="1763"/>
                    <a:pt x="401" y="1763"/>
                  </a:cubicBezTo>
                  <a:cubicBezTo>
                    <a:pt x="401" y="1763"/>
                    <a:pt x="401" y="1763"/>
                    <a:pt x="401" y="1763"/>
                  </a:cubicBezTo>
                  <a:cubicBezTo>
                    <a:pt x="401" y="1763"/>
                    <a:pt x="401" y="1763"/>
                    <a:pt x="401" y="1763"/>
                  </a:cubicBezTo>
                  <a:cubicBezTo>
                    <a:pt x="401" y="1764"/>
                    <a:pt x="401" y="1764"/>
                    <a:pt x="401" y="1764"/>
                  </a:cubicBezTo>
                  <a:cubicBezTo>
                    <a:pt x="401" y="1764"/>
                    <a:pt x="401" y="1764"/>
                    <a:pt x="401" y="1764"/>
                  </a:cubicBezTo>
                  <a:cubicBezTo>
                    <a:pt x="402" y="1764"/>
                    <a:pt x="402" y="1764"/>
                    <a:pt x="402" y="1764"/>
                  </a:cubicBezTo>
                  <a:cubicBezTo>
                    <a:pt x="402" y="1764"/>
                    <a:pt x="402" y="1764"/>
                    <a:pt x="402" y="1764"/>
                  </a:cubicBezTo>
                  <a:cubicBezTo>
                    <a:pt x="402" y="1765"/>
                    <a:pt x="402" y="1765"/>
                    <a:pt x="402" y="1765"/>
                  </a:cubicBezTo>
                  <a:cubicBezTo>
                    <a:pt x="402" y="1765"/>
                    <a:pt x="402" y="1765"/>
                    <a:pt x="402" y="1765"/>
                  </a:cubicBezTo>
                  <a:cubicBezTo>
                    <a:pt x="402" y="1765"/>
                    <a:pt x="402" y="1765"/>
                    <a:pt x="402" y="1765"/>
                  </a:cubicBezTo>
                  <a:cubicBezTo>
                    <a:pt x="402" y="1765"/>
                    <a:pt x="402" y="1765"/>
                    <a:pt x="402" y="1765"/>
                  </a:cubicBezTo>
                  <a:cubicBezTo>
                    <a:pt x="402" y="1766"/>
                    <a:pt x="402" y="1766"/>
                    <a:pt x="402" y="1766"/>
                  </a:cubicBezTo>
                  <a:cubicBezTo>
                    <a:pt x="402" y="1766"/>
                    <a:pt x="402" y="1766"/>
                    <a:pt x="402" y="1766"/>
                  </a:cubicBezTo>
                  <a:cubicBezTo>
                    <a:pt x="402" y="1767"/>
                    <a:pt x="402" y="1767"/>
                    <a:pt x="402" y="1767"/>
                  </a:cubicBezTo>
                  <a:cubicBezTo>
                    <a:pt x="402" y="1767"/>
                    <a:pt x="402" y="1767"/>
                    <a:pt x="402" y="1767"/>
                  </a:cubicBezTo>
                  <a:cubicBezTo>
                    <a:pt x="402" y="1767"/>
                    <a:pt x="402" y="1767"/>
                    <a:pt x="402" y="1767"/>
                  </a:cubicBezTo>
                  <a:cubicBezTo>
                    <a:pt x="402" y="1767"/>
                    <a:pt x="402" y="1767"/>
                    <a:pt x="402" y="1767"/>
                  </a:cubicBezTo>
                  <a:cubicBezTo>
                    <a:pt x="403" y="1768"/>
                    <a:pt x="403" y="1768"/>
                    <a:pt x="403" y="1768"/>
                  </a:cubicBezTo>
                  <a:cubicBezTo>
                    <a:pt x="403" y="1768"/>
                    <a:pt x="403" y="1768"/>
                    <a:pt x="403" y="1768"/>
                  </a:cubicBezTo>
                  <a:cubicBezTo>
                    <a:pt x="403" y="1768"/>
                    <a:pt x="403" y="1768"/>
                    <a:pt x="403" y="1768"/>
                  </a:cubicBezTo>
                  <a:cubicBezTo>
                    <a:pt x="403" y="1768"/>
                    <a:pt x="403" y="1768"/>
                    <a:pt x="403" y="1768"/>
                  </a:cubicBezTo>
                  <a:cubicBezTo>
                    <a:pt x="403" y="1769"/>
                    <a:pt x="403" y="1769"/>
                    <a:pt x="403" y="1769"/>
                  </a:cubicBezTo>
                  <a:cubicBezTo>
                    <a:pt x="403" y="1769"/>
                    <a:pt x="403" y="1769"/>
                    <a:pt x="403" y="1769"/>
                  </a:cubicBezTo>
                  <a:cubicBezTo>
                    <a:pt x="403" y="1769"/>
                    <a:pt x="403" y="1769"/>
                    <a:pt x="403" y="1769"/>
                  </a:cubicBezTo>
                  <a:cubicBezTo>
                    <a:pt x="403" y="1769"/>
                    <a:pt x="403" y="1769"/>
                    <a:pt x="403" y="1769"/>
                  </a:cubicBezTo>
                  <a:cubicBezTo>
                    <a:pt x="403" y="1769"/>
                    <a:pt x="404" y="1770"/>
                    <a:pt x="404" y="1770"/>
                  </a:cubicBezTo>
                  <a:cubicBezTo>
                    <a:pt x="404" y="1770"/>
                    <a:pt x="404" y="1770"/>
                    <a:pt x="404" y="1770"/>
                  </a:cubicBezTo>
                  <a:cubicBezTo>
                    <a:pt x="404" y="1770"/>
                    <a:pt x="404" y="1770"/>
                    <a:pt x="404" y="1770"/>
                  </a:cubicBezTo>
                  <a:cubicBezTo>
                    <a:pt x="404" y="1770"/>
                    <a:pt x="404" y="1770"/>
                    <a:pt x="404" y="1770"/>
                  </a:cubicBezTo>
                  <a:cubicBezTo>
                    <a:pt x="404" y="1770"/>
                    <a:pt x="404" y="1771"/>
                    <a:pt x="404" y="1771"/>
                  </a:cubicBezTo>
                  <a:cubicBezTo>
                    <a:pt x="404" y="1771"/>
                    <a:pt x="404" y="1771"/>
                    <a:pt x="404" y="1771"/>
                  </a:cubicBezTo>
                  <a:cubicBezTo>
                    <a:pt x="405" y="1771"/>
                    <a:pt x="405" y="1771"/>
                    <a:pt x="405" y="1771"/>
                  </a:cubicBezTo>
                  <a:cubicBezTo>
                    <a:pt x="405" y="1771"/>
                    <a:pt x="405" y="1771"/>
                    <a:pt x="405" y="1771"/>
                  </a:cubicBezTo>
                  <a:cubicBezTo>
                    <a:pt x="405" y="1772"/>
                    <a:pt x="405" y="1772"/>
                    <a:pt x="405" y="1772"/>
                  </a:cubicBezTo>
                  <a:cubicBezTo>
                    <a:pt x="405" y="1772"/>
                    <a:pt x="405" y="1772"/>
                    <a:pt x="405" y="1772"/>
                  </a:cubicBezTo>
                  <a:cubicBezTo>
                    <a:pt x="405" y="1772"/>
                    <a:pt x="405" y="1772"/>
                    <a:pt x="405" y="1772"/>
                  </a:cubicBezTo>
                  <a:cubicBezTo>
                    <a:pt x="405" y="1772"/>
                    <a:pt x="405" y="1772"/>
                    <a:pt x="405" y="1772"/>
                  </a:cubicBezTo>
                  <a:cubicBezTo>
                    <a:pt x="406" y="1773"/>
                    <a:pt x="406" y="1773"/>
                    <a:pt x="406" y="1773"/>
                  </a:cubicBezTo>
                  <a:cubicBezTo>
                    <a:pt x="406" y="1773"/>
                    <a:pt x="406" y="1773"/>
                    <a:pt x="406" y="1773"/>
                  </a:cubicBezTo>
                  <a:cubicBezTo>
                    <a:pt x="406" y="1773"/>
                    <a:pt x="406" y="1773"/>
                    <a:pt x="406" y="1773"/>
                  </a:cubicBezTo>
                  <a:cubicBezTo>
                    <a:pt x="406" y="1773"/>
                    <a:pt x="406" y="1773"/>
                    <a:pt x="406" y="1773"/>
                  </a:cubicBezTo>
                  <a:cubicBezTo>
                    <a:pt x="406" y="1773"/>
                    <a:pt x="406" y="1774"/>
                    <a:pt x="406" y="1774"/>
                  </a:cubicBezTo>
                  <a:cubicBezTo>
                    <a:pt x="406" y="1774"/>
                    <a:pt x="406" y="1774"/>
                    <a:pt x="406" y="1774"/>
                  </a:cubicBezTo>
                  <a:cubicBezTo>
                    <a:pt x="407" y="1774"/>
                    <a:pt x="407" y="1774"/>
                    <a:pt x="407" y="1774"/>
                  </a:cubicBezTo>
                  <a:cubicBezTo>
                    <a:pt x="407" y="1774"/>
                    <a:pt x="407" y="1774"/>
                    <a:pt x="407" y="1774"/>
                  </a:cubicBezTo>
                  <a:cubicBezTo>
                    <a:pt x="407" y="1775"/>
                    <a:pt x="407" y="1775"/>
                    <a:pt x="407" y="1775"/>
                  </a:cubicBezTo>
                  <a:cubicBezTo>
                    <a:pt x="407" y="1775"/>
                    <a:pt x="407" y="1775"/>
                    <a:pt x="407" y="1775"/>
                  </a:cubicBezTo>
                  <a:cubicBezTo>
                    <a:pt x="407" y="1775"/>
                    <a:pt x="407" y="1775"/>
                    <a:pt x="407" y="1775"/>
                  </a:cubicBezTo>
                  <a:cubicBezTo>
                    <a:pt x="407" y="1775"/>
                    <a:pt x="407" y="1775"/>
                    <a:pt x="407" y="1775"/>
                  </a:cubicBezTo>
                  <a:cubicBezTo>
                    <a:pt x="408" y="1775"/>
                    <a:pt x="408" y="1775"/>
                    <a:pt x="408" y="1775"/>
                  </a:cubicBezTo>
                  <a:cubicBezTo>
                    <a:pt x="408" y="1775"/>
                    <a:pt x="408" y="1775"/>
                    <a:pt x="408" y="1775"/>
                  </a:cubicBezTo>
                  <a:cubicBezTo>
                    <a:pt x="408" y="1776"/>
                    <a:pt x="408" y="1776"/>
                    <a:pt x="408" y="1776"/>
                  </a:cubicBezTo>
                  <a:cubicBezTo>
                    <a:pt x="408" y="1776"/>
                    <a:pt x="408" y="1776"/>
                    <a:pt x="408" y="1776"/>
                  </a:cubicBezTo>
                  <a:cubicBezTo>
                    <a:pt x="409" y="1776"/>
                    <a:pt x="409" y="1776"/>
                    <a:pt x="409" y="1776"/>
                  </a:cubicBezTo>
                  <a:cubicBezTo>
                    <a:pt x="409" y="1776"/>
                    <a:pt x="409" y="1776"/>
                    <a:pt x="409" y="1776"/>
                  </a:cubicBezTo>
                  <a:cubicBezTo>
                    <a:pt x="409" y="1777"/>
                    <a:pt x="409" y="1777"/>
                    <a:pt x="409" y="1777"/>
                  </a:cubicBezTo>
                  <a:cubicBezTo>
                    <a:pt x="409" y="1777"/>
                    <a:pt x="409" y="1777"/>
                    <a:pt x="409" y="1777"/>
                  </a:cubicBezTo>
                  <a:cubicBezTo>
                    <a:pt x="410" y="1777"/>
                    <a:pt x="410" y="1777"/>
                    <a:pt x="410" y="1777"/>
                  </a:cubicBezTo>
                  <a:cubicBezTo>
                    <a:pt x="410" y="1777"/>
                    <a:pt x="410" y="1777"/>
                    <a:pt x="410" y="1777"/>
                  </a:cubicBezTo>
                  <a:cubicBezTo>
                    <a:pt x="410" y="1777"/>
                    <a:pt x="410" y="1777"/>
                    <a:pt x="410" y="1777"/>
                  </a:cubicBezTo>
                  <a:cubicBezTo>
                    <a:pt x="410" y="1777"/>
                    <a:pt x="410" y="1777"/>
                    <a:pt x="410" y="1777"/>
                  </a:cubicBezTo>
                  <a:cubicBezTo>
                    <a:pt x="410" y="1777"/>
                    <a:pt x="410" y="1778"/>
                    <a:pt x="410" y="1778"/>
                  </a:cubicBezTo>
                  <a:cubicBezTo>
                    <a:pt x="410" y="1778"/>
                    <a:pt x="410" y="1778"/>
                    <a:pt x="410" y="1778"/>
                  </a:cubicBezTo>
                  <a:cubicBezTo>
                    <a:pt x="411" y="1778"/>
                    <a:pt x="411" y="1778"/>
                    <a:pt x="411" y="1778"/>
                  </a:cubicBezTo>
                  <a:cubicBezTo>
                    <a:pt x="411" y="1778"/>
                    <a:pt x="411" y="1778"/>
                    <a:pt x="411" y="1778"/>
                  </a:cubicBezTo>
                  <a:cubicBezTo>
                    <a:pt x="411" y="1778"/>
                    <a:pt x="411" y="1778"/>
                    <a:pt x="411" y="1778"/>
                  </a:cubicBezTo>
                  <a:cubicBezTo>
                    <a:pt x="411" y="1778"/>
                    <a:pt x="411" y="1778"/>
                    <a:pt x="411" y="1778"/>
                  </a:cubicBezTo>
                  <a:cubicBezTo>
                    <a:pt x="412" y="1779"/>
                    <a:pt x="412" y="1779"/>
                    <a:pt x="412" y="1779"/>
                  </a:cubicBezTo>
                  <a:cubicBezTo>
                    <a:pt x="412" y="1779"/>
                    <a:pt x="412" y="1779"/>
                    <a:pt x="412" y="1779"/>
                  </a:cubicBezTo>
                  <a:cubicBezTo>
                    <a:pt x="412" y="1779"/>
                    <a:pt x="412" y="1779"/>
                    <a:pt x="412" y="1779"/>
                  </a:cubicBezTo>
                  <a:cubicBezTo>
                    <a:pt x="412" y="1779"/>
                    <a:pt x="412" y="1779"/>
                    <a:pt x="412" y="1779"/>
                  </a:cubicBezTo>
                  <a:cubicBezTo>
                    <a:pt x="413" y="1779"/>
                    <a:pt x="413" y="1779"/>
                    <a:pt x="413" y="1779"/>
                  </a:cubicBezTo>
                  <a:cubicBezTo>
                    <a:pt x="413" y="1779"/>
                    <a:pt x="413" y="1779"/>
                    <a:pt x="413" y="1779"/>
                  </a:cubicBezTo>
                  <a:cubicBezTo>
                    <a:pt x="413" y="1780"/>
                    <a:pt x="413" y="1780"/>
                    <a:pt x="413" y="1780"/>
                  </a:cubicBezTo>
                  <a:cubicBezTo>
                    <a:pt x="413" y="1780"/>
                    <a:pt x="413" y="1780"/>
                    <a:pt x="413" y="1780"/>
                  </a:cubicBezTo>
                  <a:cubicBezTo>
                    <a:pt x="414" y="1780"/>
                    <a:pt x="414" y="1780"/>
                    <a:pt x="414" y="1780"/>
                  </a:cubicBezTo>
                  <a:cubicBezTo>
                    <a:pt x="414" y="1780"/>
                    <a:pt x="414" y="1780"/>
                    <a:pt x="414" y="1780"/>
                  </a:cubicBezTo>
                  <a:cubicBezTo>
                    <a:pt x="414" y="1780"/>
                    <a:pt x="414" y="1780"/>
                    <a:pt x="414" y="1780"/>
                  </a:cubicBezTo>
                  <a:cubicBezTo>
                    <a:pt x="414" y="1780"/>
                    <a:pt x="414" y="1780"/>
                    <a:pt x="414" y="1780"/>
                  </a:cubicBezTo>
                  <a:cubicBezTo>
                    <a:pt x="415" y="1780"/>
                    <a:pt x="415" y="1780"/>
                    <a:pt x="415" y="1780"/>
                  </a:cubicBezTo>
                  <a:cubicBezTo>
                    <a:pt x="415" y="1780"/>
                    <a:pt x="415" y="1780"/>
                    <a:pt x="415" y="1780"/>
                  </a:cubicBezTo>
                  <a:cubicBezTo>
                    <a:pt x="415" y="1780"/>
                    <a:pt x="415" y="1781"/>
                    <a:pt x="416" y="1781"/>
                  </a:cubicBezTo>
                  <a:cubicBezTo>
                    <a:pt x="416" y="1781"/>
                    <a:pt x="416" y="1781"/>
                    <a:pt x="416" y="1781"/>
                  </a:cubicBezTo>
                  <a:cubicBezTo>
                    <a:pt x="416" y="1781"/>
                    <a:pt x="416" y="1781"/>
                    <a:pt x="416" y="1781"/>
                  </a:cubicBezTo>
                  <a:cubicBezTo>
                    <a:pt x="416" y="1781"/>
                    <a:pt x="416" y="1781"/>
                    <a:pt x="416" y="1781"/>
                  </a:cubicBezTo>
                  <a:cubicBezTo>
                    <a:pt x="417" y="1781"/>
                    <a:pt x="417" y="1781"/>
                    <a:pt x="417" y="1781"/>
                  </a:cubicBezTo>
                  <a:cubicBezTo>
                    <a:pt x="417" y="1781"/>
                    <a:pt x="417" y="1781"/>
                    <a:pt x="417" y="1781"/>
                  </a:cubicBezTo>
                  <a:cubicBezTo>
                    <a:pt x="417" y="1781"/>
                    <a:pt x="417" y="1781"/>
                    <a:pt x="417" y="1781"/>
                  </a:cubicBezTo>
                  <a:cubicBezTo>
                    <a:pt x="417" y="1781"/>
                    <a:pt x="417" y="1781"/>
                    <a:pt x="417" y="1781"/>
                  </a:cubicBezTo>
                  <a:cubicBezTo>
                    <a:pt x="418" y="1781"/>
                    <a:pt x="418" y="1781"/>
                    <a:pt x="418" y="1781"/>
                  </a:cubicBezTo>
                  <a:cubicBezTo>
                    <a:pt x="418" y="1781"/>
                    <a:pt x="418" y="1781"/>
                    <a:pt x="418" y="1781"/>
                  </a:cubicBezTo>
                  <a:cubicBezTo>
                    <a:pt x="418" y="1782"/>
                    <a:pt x="418" y="1782"/>
                    <a:pt x="418" y="1782"/>
                  </a:cubicBezTo>
                  <a:cubicBezTo>
                    <a:pt x="418" y="1782"/>
                    <a:pt x="418" y="1782"/>
                    <a:pt x="418" y="1782"/>
                  </a:cubicBezTo>
                  <a:cubicBezTo>
                    <a:pt x="419" y="1782"/>
                    <a:pt x="419" y="1782"/>
                    <a:pt x="419" y="1782"/>
                  </a:cubicBezTo>
                  <a:cubicBezTo>
                    <a:pt x="419" y="1782"/>
                    <a:pt x="419" y="1782"/>
                    <a:pt x="419" y="1782"/>
                  </a:cubicBezTo>
                  <a:cubicBezTo>
                    <a:pt x="419" y="1782"/>
                    <a:pt x="419" y="1782"/>
                    <a:pt x="419" y="1782"/>
                  </a:cubicBezTo>
                  <a:cubicBezTo>
                    <a:pt x="419" y="1782"/>
                    <a:pt x="419" y="1782"/>
                    <a:pt x="419" y="1782"/>
                  </a:cubicBezTo>
                  <a:cubicBezTo>
                    <a:pt x="420" y="1782"/>
                    <a:pt x="420" y="1782"/>
                    <a:pt x="420" y="1782"/>
                  </a:cubicBezTo>
                  <a:cubicBezTo>
                    <a:pt x="420" y="1782"/>
                    <a:pt x="420" y="1782"/>
                    <a:pt x="420" y="1782"/>
                  </a:cubicBezTo>
                  <a:cubicBezTo>
                    <a:pt x="420" y="1782"/>
                    <a:pt x="420" y="1782"/>
                    <a:pt x="421" y="1782"/>
                  </a:cubicBezTo>
                  <a:cubicBezTo>
                    <a:pt x="421" y="1782"/>
                    <a:pt x="421" y="1782"/>
                    <a:pt x="421" y="1782"/>
                  </a:cubicBezTo>
                  <a:cubicBezTo>
                    <a:pt x="421" y="1782"/>
                    <a:pt x="421" y="1782"/>
                    <a:pt x="421" y="1782"/>
                  </a:cubicBezTo>
                  <a:cubicBezTo>
                    <a:pt x="421" y="1782"/>
                    <a:pt x="421" y="1782"/>
                    <a:pt x="421" y="1782"/>
                  </a:cubicBezTo>
                  <a:cubicBezTo>
                    <a:pt x="422" y="1782"/>
                    <a:pt x="422" y="1782"/>
                    <a:pt x="422" y="1782"/>
                  </a:cubicBezTo>
                  <a:cubicBezTo>
                    <a:pt x="422" y="1782"/>
                    <a:pt x="422" y="1782"/>
                    <a:pt x="422" y="1782"/>
                  </a:cubicBezTo>
                  <a:cubicBezTo>
                    <a:pt x="422" y="1782"/>
                    <a:pt x="422" y="1782"/>
                    <a:pt x="422" y="1782"/>
                  </a:cubicBezTo>
                  <a:cubicBezTo>
                    <a:pt x="422" y="1782"/>
                    <a:pt x="422" y="1782"/>
                    <a:pt x="422" y="1782"/>
                  </a:cubicBezTo>
                  <a:cubicBezTo>
                    <a:pt x="423" y="1782"/>
                    <a:pt x="423" y="1782"/>
                    <a:pt x="423" y="1782"/>
                  </a:cubicBezTo>
                  <a:cubicBezTo>
                    <a:pt x="423" y="1782"/>
                    <a:pt x="423" y="1782"/>
                    <a:pt x="423" y="1782"/>
                  </a:cubicBezTo>
                  <a:cubicBezTo>
                    <a:pt x="424" y="1782"/>
                    <a:pt x="424" y="1782"/>
                    <a:pt x="424" y="1782"/>
                  </a:cubicBezTo>
                  <a:cubicBezTo>
                    <a:pt x="424" y="1782"/>
                    <a:pt x="424" y="1782"/>
                    <a:pt x="424" y="1782"/>
                  </a:cubicBezTo>
                  <a:cubicBezTo>
                    <a:pt x="424" y="1782"/>
                    <a:pt x="424" y="1782"/>
                    <a:pt x="424" y="1782"/>
                  </a:cubicBezTo>
                  <a:cubicBezTo>
                    <a:pt x="424" y="1782"/>
                    <a:pt x="425" y="1783"/>
                    <a:pt x="425" y="1783"/>
                  </a:cubicBezTo>
                  <a:cubicBezTo>
                    <a:pt x="431" y="1783"/>
                    <a:pt x="431" y="1783"/>
                    <a:pt x="431" y="1783"/>
                  </a:cubicBezTo>
                  <a:cubicBezTo>
                    <a:pt x="437" y="1783"/>
                    <a:pt x="437" y="1783"/>
                    <a:pt x="437" y="1783"/>
                  </a:cubicBezTo>
                  <a:cubicBezTo>
                    <a:pt x="455" y="1783"/>
                    <a:pt x="471" y="1798"/>
                    <a:pt x="471" y="1817"/>
                  </a:cubicBezTo>
                  <a:cubicBezTo>
                    <a:pt x="471" y="1843"/>
                    <a:pt x="471" y="1843"/>
                    <a:pt x="471" y="1843"/>
                  </a:cubicBezTo>
                  <a:cubicBezTo>
                    <a:pt x="471" y="1883"/>
                    <a:pt x="471" y="1883"/>
                    <a:pt x="471" y="1883"/>
                  </a:cubicBezTo>
                  <a:cubicBezTo>
                    <a:pt x="471" y="1884"/>
                    <a:pt x="471" y="1884"/>
                    <a:pt x="471" y="1884"/>
                  </a:cubicBezTo>
                  <a:cubicBezTo>
                    <a:pt x="471" y="1898"/>
                    <a:pt x="482" y="1909"/>
                    <a:pt x="495" y="1909"/>
                  </a:cubicBezTo>
                  <a:cubicBezTo>
                    <a:pt x="568" y="1909"/>
                    <a:pt x="568" y="1909"/>
                    <a:pt x="568" y="1909"/>
                  </a:cubicBezTo>
                  <a:cubicBezTo>
                    <a:pt x="582" y="1909"/>
                    <a:pt x="593" y="1898"/>
                    <a:pt x="593" y="1884"/>
                  </a:cubicBezTo>
                  <a:cubicBezTo>
                    <a:pt x="593" y="1881"/>
                    <a:pt x="593" y="1881"/>
                    <a:pt x="593" y="1881"/>
                  </a:cubicBezTo>
                  <a:cubicBezTo>
                    <a:pt x="593" y="1669"/>
                    <a:pt x="593" y="1669"/>
                    <a:pt x="593" y="1669"/>
                  </a:cubicBezTo>
                  <a:cubicBezTo>
                    <a:pt x="593" y="1660"/>
                    <a:pt x="589" y="1652"/>
                    <a:pt x="572" y="1652"/>
                  </a:cubicBezTo>
                  <a:cubicBezTo>
                    <a:pt x="554" y="1652"/>
                    <a:pt x="554" y="1652"/>
                    <a:pt x="554" y="1652"/>
                  </a:cubicBezTo>
                  <a:cubicBezTo>
                    <a:pt x="540" y="1652"/>
                    <a:pt x="529" y="1641"/>
                    <a:pt x="529" y="1628"/>
                  </a:cubicBezTo>
                  <a:cubicBezTo>
                    <a:pt x="529" y="1619"/>
                    <a:pt x="529" y="1619"/>
                    <a:pt x="529" y="1619"/>
                  </a:cubicBezTo>
                  <a:cubicBezTo>
                    <a:pt x="529" y="1606"/>
                    <a:pt x="540" y="1595"/>
                    <a:pt x="554" y="1595"/>
                  </a:cubicBezTo>
                  <a:cubicBezTo>
                    <a:pt x="604" y="1595"/>
                    <a:pt x="654" y="1595"/>
                    <a:pt x="704" y="1595"/>
                  </a:cubicBezTo>
                  <a:cubicBezTo>
                    <a:pt x="718" y="1595"/>
                    <a:pt x="728" y="1584"/>
                    <a:pt x="728" y="1571"/>
                  </a:cubicBezTo>
                  <a:cubicBezTo>
                    <a:pt x="728" y="1505"/>
                    <a:pt x="728" y="1505"/>
                    <a:pt x="728" y="1505"/>
                  </a:cubicBezTo>
                  <a:cubicBezTo>
                    <a:pt x="728" y="1491"/>
                    <a:pt x="731" y="1476"/>
                    <a:pt x="757" y="1476"/>
                  </a:cubicBezTo>
                  <a:cubicBezTo>
                    <a:pt x="907" y="1476"/>
                    <a:pt x="907" y="1476"/>
                    <a:pt x="907" y="1476"/>
                  </a:cubicBezTo>
                  <a:cubicBezTo>
                    <a:pt x="921" y="1476"/>
                    <a:pt x="932" y="1465"/>
                    <a:pt x="932" y="1452"/>
                  </a:cubicBezTo>
                  <a:cubicBezTo>
                    <a:pt x="932" y="1444"/>
                    <a:pt x="932" y="1444"/>
                    <a:pt x="932" y="1444"/>
                  </a:cubicBezTo>
                  <a:cubicBezTo>
                    <a:pt x="932" y="1430"/>
                    <a:pt x="921" y="1419"/>
                    <a:pt x="907" y="1419"/>
                  </a:cubicBezTo>
                  <a:cubicBezTo>
                    <a:pt x="895" y="1419"/>
                    <a:pt x="895" y="1419"/>
                    <a:pt x="895" y="1419"/>
                  </a:cubicBezTo>
                  <a:cubicBezTo>
                    <a:pt x="895" y="1419"/>
                    <a:pt x="895" y="1419"/>
                    <a:pt x="895" y="1419"/>
                  </a:cubicBezTo>
                  <a:cubicBezTo>
                    <a:pt x="891" y="1419"/>
                    <a:pt x="891" y="1419"/>
                    <a:pt x="891" y="1419"/>
                  </a:cubicBezTo>
                  <a:cubicBezTo>
                    <a:pt x="878" y="1419"/>
                    <a:pt x="867" y="1408"/>
                    <a:pt x="867" y="1394"/>
                  </a:cubicBezTo>
                  <a:cubicBezTo>
                    <a:pt x="867" y="1242"/>
                    <a:pt x="867" y="1242"/>
                    <a:pt x="867" y="1242"/>
                  </a:cubicBezTo>
                  <a:cubicBezTo>
                    <a:pt x="867" y="1229"/>
                    <a:pt x="878" y="1218"/>
                    <a:pt x="891" y="1218"/>
                  </a:cubicBezTo>
                  <a:cubicBezTo>
                    <a:pt x="900" y="1218"/>
                    <a:pt x="900" y="1218"/>
                    <a:pt x="900" y="1218"/>
                  </a:cubicBezTo>
                  <a:cubicBezTo>
                    <a:pt x="900" y="1218"/>
                    <a:pt x="900" y="1218"/>
                    <a:pt x="900" y="1218"/>
                  </a:cubicBezTo>
                  <a:cubicBezTo>
                    <a:pt x="922" y="1218"/>
                    <a:pt x="922" y="1218"/>
                    <a:pt x="922" y="1218"/>
                  </a:cubicBezTo>
                  <a:cubicBezTo>
                    <a:pt x="935" y="1218"/>
                    <a:pt x="946" y="1207"/>
                    <a:pt x="946" y="1194"/>
                  </a:cubicBezTo>
                  <a:cubicBezTo>
                    <a:pt x="946" y="1162"/>
                    <a:pt x="946" y="1162"/>
                    <a:pt x="946" y="1162"/>
                  </a:cubicBezTo>
                  <a:cubicBezTo>
                    <a:pt x="980" y="1162"/>
                    <a:pt x="980" y="1162"/>
                    <a:pt x="980" y="1162"/>
                  </a:cubicBezTo>
                  <a:cubicBezTo>
                    <a:pt x="1000" y="1162"/>
                    <a:pt x="1015" y="1146"/>
                    <a:pt x="1015" y="1127"/>
                  </a:cubicBezTo>
                  <a:cubicBezTo>
                    <a:pt x="1015" y="71"/>
                    <a:pt x="1015" y="71"/>
                    <a:pt x="1015" y="71"/>
                  </a:cubicBezTo>
                  <a:cubicBezTo>
                    <a:pt x="959" y="71"/>
                    <a:pt x="959" y="71"/>
                    <a:pt x="959" y="71"/>
                  </a:cubicBezTo>
                  <a:cubicBezTo>
                    <a:pt x="945" y="71"/>
                    <a:pt x="933" y="59"/>
                    <a:pt x="933" y="46"/>
                  </a:cubicBezTo>
                  <a:cubicBezTo>
                    <a:pt x="933" y="37"/>
                    <a:pt x="933" y="37"/>
                    <a:pt x="933" y="37"/>
                  </a:cubicBezTo>
                  <a:cubicBezTo>
                    <a:pt x="933" y="23"/>
                    <a:pt x="945" y="12"/>
                    <a:pt x="959" y="12"/>
                  </a:cubicBezTo>
                  <a:cubicBezTo>
                    <a:pt x="1014" y="12"/>
                    <a:pt x="1014" y="12"/>
                    <a:pt x="1014" y="12"/>
                  </a:cubicBezTo>
                  <a:cubicBezTo>
                    <a:pt x="1014" y="0"/>
                    <a:pt x="1014" y="0"/>
                    <a:pt x="1014" y="0"/>
                  </a:cubicBezTo>
                  <a:cubicBezTo>
                    <a:pt x="713" y="0"/>
                    <a:pt x="713" y="0"/>
                    <a:pt x="713" y="0"/>
                  </a:cubicBezTo>
                  <a:cubicBezTo>
                    <a:pt x="705" y="5"/>
                    <a:pt x="697" y="5"/>
                    <a:pt x="693" y="5"/>
                  </a:cubicBezTo>
                  <a:close/>
                  <a:moveTo>
                    <a:pt x="401" y="1758"/>
                  </a:moveTo>
                  <a:cubicBezTo>
                    <a:pt x="401" y="1758"/>
                    <a:pt x="401" y="1758"/>
                    <a:pt x="401" y="1758"/>
                  </a:cubicBezTo>
                  <a:cubicBezTo>
                    <a:pt x="401" y="1758"/>
                    <a:pt x="401" y="1758"/>
                    <a:pt x="401" y="1758"/>
                  </a:cubicBezTo>
                  <a:close/>
                  <a:moveTo>
                    <a:pt x="206" y="1447"/>
                  </a:moveTo>
                  <a:cubicBezTo>
                    <a:pt x="206" y="1447"/>
                    <a:pt x="206" y="1447"/>
                    <a:pt x="206" y="1447"/>
                  </a:cubicBezTo>
                  <a:cubicBezTo>
                    <a:pt x="206" y="1447"/>
                    <a:pt x="206" y="1447"/>
                    <a:pt x="206" y="1447"/>
                  </a:cubicBezTo>
                  <a:close/>
                  <a:moveTo>
                    <a:pt x="270" y="1579"/>
                  </a:moveTo>
                  <a:cubicBezTo>
                    <a:pt x="270" y="1579"/>
                    <a:pt x="270" y="1579"/>
                    <a:pt x="270" y="1579"/>
                  </a:cubicBezTo>
                  <a:cubicBezTo>
                    <a:pt x="270" y="1579"/>
                    <a:pt x="270" y="1579"/>
                    <a:pt x="270" y="1579"/>
                  </a:cubicBezTo>
                  <a:close/>
                  <a:moveTo>
                    <a:pt x="331" y="1696"/>
                  </a:moveTo>
                  <a:cubicBezTo>
                    <a:pt x="331" y="1696"/>
                    <a:pt x="331" y="1696"/>
                    <a:pt x="331" y="1696"/>
                  </a:cubicBezTo>
                  <a:cubicBezTo>
                    <a:pt x="331" y="1696"/>
                    <a:pt x="331" y="1696"/>
                    <a:pt x="331" y="1696"/>
                  </a:cubicBezTo>
                  <a:close/>
                  <a:moveTo>
                    <a:pt x="732" y="37"/>
                  </a:moveTo>
                  <a:cubicBezTo>
                    <a:pt x="732" y="23"/>
                    <a:pt x="743" y="12"/>
                    <a:pt x="757" y="12"/>
                  </a:cubicBezTo>
                  <a:cubicBezTo>
                    <a:pt x="826" y="12"/>
                    <a:pt x="826" y="12"/>
                    <a:pt x="826" y="12"/>
                  </a:cubicBezTo>
                  <a:cubicBezTo>
                    <a:pt x="827" y="12"/>
                    <a:pt x="828" y="12"/>
                    <a:pt x="830" y="11"/>
                  </a:cubicBezTo>
                  <a:cubicBezTo>
                    <a:pt x="831" y="11"/>
                    <a:pt x="832" y="11"/>
                    <a:pt x="833" y="11"/>
                  </a:cubicBezTo>
                  <a:cubicBezTo>
                    <a:pt x="841" y="11"/>
                    <a:pt x="841" y="11"/>
                    <a:pt x="841" y="11"/>
                  </a:cubicBezTo>
                  <a:cubicBezTo>
                    <a:pt x="855" y="11"/>
                    <a:pt x="866" y="23"/>
                    <a:pt x="866" y="36"/>
                  </a:cubicBezTo>
                  <a:cubicBezTo>
                    <a:pt x="866" y="104"/>
                    <a:pt x="866" y="104"/>
                    <a:pt x="866" y="104"/>
                  </a:cubicBezTo>
                  <a:cubicBezTo>
                    <a:pt x="866" y="118"/>
                    <a:pt x="855" y="129"/>
                    <a:pt x="841" y="129"/>
                  </a:cubicBezTo>
                  <a:cubicBezTo>
                    <a:pt x="833" y="129"/>
                    <a:pt x="833" y="129"/>
                    <a:pt x="833" y="129"/>
                  </a:cubicBezTo>
                  <a:cubicBezTo>
                    <a:pt x="819" y="129"/>
                    <a:pt x="808" y="118"/>
                    <a:pt x="807" y="104"/>
                  </a:cubicBezTo>
                  <a:cubicBezTo>
                    <a:pt x="807" y="86"/>
                    <a:pt x="792" y="71"/>
                    <a:pt x="773" y="71"/>
                  </a:cubicBezTo>
                  <a:cubicBezTo>
                    <a:pt x="757" y="71"/>
                    <a:pt x="757" y="71"/>
                    <a:pt x="757" y="71"/>
                  </a:cubicBezTo>
                  <a:cubicBezTo>
                    <a:pt x="743" y="71"/>
                    <a:pt x="732" y="59"/>
                    <a:pt x="732" y="46"/>
                  </a:cubicBezTo>
                  <a:lnTo>
                    <a:pt x="732" y="37"/>
                  </a:ln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53" name="Freeform 67"/>
            <p:cNvSpPr>
              <a:spLocks/>
            </p:cNvSpPr>
            <p:nvPr userDrawn="1"/>
          </p:nvSpPr>
          <p:spPr bwMode="auto">
            <a:xfrm>
              <a:off x="1106" y="1182"/>
              <a:ext cx="111" cy="118"/>
            </a:xfrm>
            <a:custGeom>
              <a:avLst/>
              <a:gdLst>
                <a:gd name="T0" fmla="*/ 63 w 63"/>
                <a:gd name="T1" fmla="*/ 67 h 67"/>
                <a:gd name="T2" fmla="*/ 63 w 63"/>
                <a:gd name="T3" fmla="*/ 35 h 67"/>
                <a:gd name="T4" fmla="*/ 28 w 63"/>
                <a:gd name="T5" fmla="*/ 0 h 67"/>
                <a:gd name="T6" fmla="*/ 0 w 63"/>
                <a:gd name="T7" fmla="*/ 0 h 67"/>
                <a:gd name="T8" fmla="*/ 0 w 63"/>
                <a:gd name="T9" fmla="*/ 32 h 67"/>
                <a:gd name="T10" fmla="*/ 35 w 63"/>
                <a:gd name="T11" fmla="*/ 67 h 67"/>
                <a:gd name="T12" fmla="*/ 63 w 63"/>
                <a:gd name="T13" fmla="*/ 67 h 67"/>
              </a:gdLst>
              <a:ahLst/>
              <a:cxnLst>
                <a:cxn ang="0">
                  <a:pos x="T0" y="T1"/>
                </a:cxn>
                <a:cxn ang="0">
                  <a:pos x="T2" y="T3"/>
                </a:cxn>
                <a:cxn ang="0">
                  <a:pos x="T4" y="T5"/>
                </a:cxn>
                <a:cxn ang="0">
                  <a:pos x="T6" y="T7"/>
                </a:cxn>
                <a:cxn ang="0">
                  <a:pos x="T8" y="T9"/>
                </a:cxn>
                <a:cxn ang="0">
                  <a:pos x="T10" y="T11"/>
                </a:cxn>
                <a:cxn ang="0">
                  <a:pos x="T12" y="T13"/>
                </a:cxn>
              </a:cxnLst>
              <a:rect l="0" t="0" r="r" b="b"/>
              <a:pathLst>
                <a:path w="63" h="67">
                  <a:moveTo>
                    <a:pt x="63" y="67"/>
                  </a:moveTo>
                  <a:cubicBezTo>
                    <a:pt x="63" y="35"/>
                    <a:pt x="63" y="35"/>
                    <a:pt x="63" y="35"/>
                  </a:cubicBezTo>
                  <a:cubicBezTo>
                    <a:pt x="63" y="16"/>
                    <a:pt x="47" y="0"/>
                    <a:pt x="28" y="0"/>
                  </a:cubicBezTo>
                  <a:cubicBezTo>
                    <a:pt x="0" y="0"/>
                    <a:pt x="0" y="0"/>
                    <a:pt x="0" y="0"/>
                  </a:cubicBezTo>
                  <a:cubicBezTo>
                    <a:pt x="0" y="32"/>
                    <a:pt x="0" y="32"/>
                    <a:pt x="0" y="32"/>
                  </a:cubicBezTo>
                  <a:cubicBezTo>
                    <a:pt x="0" y="51"/>
                    <a:pt x="15" y="67"/>
                    <a:pt x="35" y="67"/>
                  </a:cubicBezTo>
                  <a:lnTo>
                    <a:pt x="63" y="67"/>
                  </a:ln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54" name="Freeform 68"/>
            <p:cNvSpPr>
              <a:spLocks/>
            </p:cNvSpPr>
            <p:nvPr userDrawn="1"/>
          </p:nvSpPr>
          <p:spPr bwMode="auto">
            <a:xfrm>
              <a:off x="885" y="1182"/>
              <a:ext cx="332" cy="421"/>
            </a:xfrm>
            <a:custGeom>
              <a:avLst/>
              <a:gdLst>
                <a:gd name="T0" fmla="*/ 35 w 188"/>
                <a:gd name="T1" fmla="*/ 238 h 238"/>
                <a:gd name="T2" fmla="*/ 153 w 188"/>
                <a:gd name="T3" fmla="*/ 238 h 238"/>
                <a:gd name="T4" fmla="*/ 188 w 188"/>
                <a:gd name="T5" fmla="*/ 203 h 238"/>
                <a:gd name="T6" fmla="*/ 188 w 188"/>
                <a:gd name="T7" fmla="*/ 101 h 238"/>
                <a:gd name="T8" fmla="*/ 188 w 188"/>
                <a:gd name="T9" fmla="*/ 67 h 238"/>
                <a:gd name="T10" fmla="*/ 160 w 188"/>
                <a:gd name="T11" fmla="*/ 67 h 238"/>
                <a:gd name="T12" fmla="*/ 158 w 188"/>
                <a:gd name="T13" fmla="*/ 67 h 238"/>
                <a:gd name="T14" fmla="*/ 157 w 188"/>
                <a:gd name="T15" fmla="*/ 67 h 238"/>
                <a:gd name="T16" fmla="*/ 125 w 188"/>
                <a:gd name="T17" fmla="*/ 32 h 238"/>
                <a:gd name="T18" fmla="*/ 125 w 188"/>
                <a:gd name="T19" fmla="*/ 0 h 238"/>
                <a:gd name="T20" fmla="*/ 100 w 188"/>
                <a:gd name="T21" fmla="*/ 0 h 238"/>
                <a:gd name="T22" fmla="*/ 66 w 188"/>
                <a:gd name="T23" fmla="*/ 33 h 238"/>
                <a:gd name="T24" fmla="*/ 33 w 188"/>
                <a:gd name="T25" fmla="*/ 67 h 238"/>
                <a:gd name="T26" fmla="*/ 0 w 188"/>
                <a:gd name="T27" fmla="*/ 101 h 238"/>
                <a:gd name="T28" fmla="*/ 0 w 188"/>
                <a:gd name="T29" fmla="*/ 203 h 238"/>
                <a:gd name="T30" fmla="*/ 35 w 188"/>
                <a:gd name="T31"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8" h="238">
                  <a:moveTo>
                    <a:pt x="35" y="238"/>
                  </a:moveTo>
                  <a:cubicBezTo>
                    <a:pt x="153" y="238"/>
                    <a:pt x="153" y="238"/>
                    <a:pt x="153" y="238"/>
                  </a:cubicBezTo>
                  <a:cubicBezTo>
                    <a:pt x="172" y="238"/>
                    <a:pt x="188" y="222"/>
                    <a:pt x="188" y="203"/>
                  </a:cubicBezTo>
                  <a:cubicBezTo>
                    <a:pt x="188" y="101"/>
                    <a:pt x="188" y="101"/>
                    <a:pt x="188" y="101"/>
                  </a:cubicBezTo>
                  <a:cubicBezTo>
                    <a:pt x="188" y="67"/>
                    <a:pt x="188" y="67"/>
                    <a:pt x="188" y="67"/>
                  </a:cubicBezTo>
                  <a:cubicBezTo>
                    <a:pt x="160" y="67"/>
                    <a:pt x="160" y="67"/>
                    <a:pt x="160" y="67"/>
                  </a:cubicBezTo>
                  <a:cubicBezTo>
                    <a:pt x="159" y="67"/>
                    <a:pt x="159" y="67"/>
                    <a:pt x="158" y="67"/>
                  </a:cubicBezTo>
                  <a:cubicBezTo>
                    <a:pt x="158" y="67"/>
                    <a:pt x="157" y="67"/>
                    <a:pt x="157" y="67"/>
                  </a:cubicBezTo>
                  <a:cubicBezTo>
                    <a:pt x="139" y="66"/>
                    <a:pt x="125" y="50"/>
                    <a:pt x="125" y="32"/>
                  </a:cubicBezTo>
                  <a:cubicBezTo>
                    <a:pt x="125" y="0"/>
                    <a:pt x="125" y="0"/>
                    <a:pt x="125" y="0"/>
                  </a:cubicBezTo>
                  <a:cubicBezTo>
                    <a:pt x="100" y="0"/>
                    <a:pt x="100" y="0"/>
                    <a:pt x="100" y="0"/>
                  </a:cubicBezTo>
                  <a:cubicBezTo>
                    <a:pt x="82" y="0"/>
                    <a:pt x="66" y="15"/>
                    <a:pt x="66" y="33"/>
                  </a:cubicBezTo>
                  <a:cubicBezTo>
                    <a:pt x="65" y="51"/>
                    <a:pt x="51" y="66"/>
                    <a:pt x="33" y="67"/>
                  </a:cubicBezTo>
                  <a:cubicBezTo>
                    <a:pt x="14" y="68"/>
                    <a:pt x="0" y="83"/>
                    <a:pt x="0" y="101"/>
                  </a:cubicBezTo>
                  <a:cubicBezTo>
                    <a:pt x="0" y="203"/>
                    <a:pt x="0" y="203"/>
                    <a:pt x="0" y="203"/>
                  </a:cubicBezTo>
                  <a:cubicBezTo>
                    <a:pt x="0" y="222"/>
                    <a:pt x="16" y="238"/>
                    <a:pt x="35" y="238"/>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55" name="Freeform 69"/>
            <p:cNvSpPr>
              <a:spLocks/>
            </p:cNvSpPr>
            <p:nvPr userDrawn="1"/>
          </p:nvSpPr>
          <p:spPr bwMode="auto">
            <a:xfrm>
              <a:off x="1238" y="758"/>
              <a:ext cx="800" cy="1065"/>
            </a:xfrm>
            <a:custGeom>
              <a:avLst/>
              <a:gdLst>
                <a:gd name="T0" fmla="*/ 98 w 453"/>
                <a:gd name="T1" fmla="*/ 297 h 603"/>
                <a:gd name="T2" fmla="*/ 154 w 453"/>
                <a:gd name="T3" fmla="*/ 297 h 603"/>
                <a:gd name="T4" fmla="*/ 157 w 453"/>
                <a:gd name="T5" fmla="*/ 297 h 603"/>
                <a:gd name="T6" fmla="*/ 163 w 453"/>
                <a:gd name="T7" fmla="*/ 297 h 603"/>
                <a:gd name="T8" fmla="*/ 163 w 453"/>
                <a:gd name="T9" fmla="*/ 297 h 603"/>
                <a:gd name="T10" fmla="*/ 194 w 453"/>
                <a:gd name="T11" fmla="*/ 331 h 603"/>
                <a:gd name="T12" fmla="*/ 194 w 453"/>
                <a:gd name="T13" fmla="*/ 332 h 603"/>
                <a:gd name="T14" fmla="*/ 162 w 453"/>
                <a:gd name="T15" fmla="*/ 365 h 603"/>
                <a:gd name="T16" fmla="*/ 129 w 453"/>
                <a:gd name="T17" fmla="*/ 397 h 603"/>
                <a:gd name="T18" fmla="*/ 95 w 453"/>
                <a:gd name="T19" fmla="*/ 427 h 603"/>
                <a:gd name="T20" fmla="*/ 86 w 453"/>
                <a:gd name="T21" fmla="*/ 427 h 603"/>
                <a:gd name="T22" fmla="*/ 61 w 453"/>
                <a:gd name="T23" fmla="*/ 452 h 603"/>
                <a:gd name="T24" fmla="*/ 61 w 453"/>
                <a:gd name="T25" fmla="*/ 455 h 603"/>
                <a:gd name="T26" fmla="*/ 86 w 453"/>
                <a:gd name="T27" fmla="*/ 480 h 603"/>
                <a:gd name="T28" fmla="*/ 94 w 453"/>
                <a:gd name="T29" fmla="*/ 480 h 603"/>
                <a:gd name="T30" fmla="*/ 128 w 453"/>
                <a:gd name="T31" fmla="*/ 514 h 603"/>
                <a:gd name="T32" fmla="*/ 128 w 453"/>
                <a:gd name="T33" fmla="*/ 516 h 603"/>
                <a:gd name="T34" fmla="*/ 94 w 453"/>
                <a:gd name="T35" fmla="*/ 550 h 603"/>
                <a:gd name="T36" fmla="*/ 25 w 453"/>
                <a:gd name="T37" fmla="*/ 550 h 603"/>
                <a:gd name="T38" fmla="*/ 0 w 453"/>
                <a:gd name="T39" fmla="*/ 575 h 603"/>
                <a:gd name="T40" fmla="*/ 0 w 453"/>
                <a:gd name="T41" fmla="*/ 578 h 603"/>
                <a:gd name="T42" fmla="*/ 25 w 453"/>
                <a:gd name="T43" fmla="*/ 603 h 603"/>
                <a:gd name="T44" fmla="*/ 163 w 453"/>
                <a:gd name="T45" fmla="*/ 603 h 603"/>
                <a:gd name="T46" fmla="*/ 167 w 453"/>
                <a:gd name="T47" fmla="*/ 603 h 603"/>
                <a:gd name="T48" fmla="*/ 218 w 453"/>
                <a:gd name="T49" fmla="*/ 603 h 603"/>
                <a:gd name="T50" fmla="*/ 253 w 453"/>
                <a:gd name="T51" fmla="*/ 572 h 603"/>
                <a:gd name="T52" fmla="*/ 287 w 453"/>
                <a:gd name="T53" fmla="*/ 543 h 603"/>
                <a:gd name="T54" fmla="*/ 352 w 453"/>
                <a:gd name="T55" fmla="*/ 543 h 603"/>
                <a:gd name="T56" fmla="*/ 386 w 453"/>
                <a:gd name="T57" fmla="*/ 513 h 603"/>
                <a:gd name="T58" fmla="*/ 419 w 453"/>
                <a:gd name="T59" fmla="*/ 484 h 603"/>
                <a:gd name="T60" fmla="*/ 453 w 453"/>
                <a:gd name="T61" fmla="*/ 449 h 603"/>
                <a:gd name="T62" fmla="*/ 453 w 453"/>
                <a:gd name="T63" fmla="*/ 402 h 603"/>
                <a:gd name="T64" fmla="*/ 419 w 453"/>
                <a:gd name="T65" fmla="*/ 367 h 603"/>
                <a:gd name="T66" fmla="*/ 387 w 453"/>
                <a:gd name="T67" fmla="*/ 336 h 603"/>
                <a:gd name="T68" fmla="*/ 353 w 453"/>
                <a:gd name="T69" fmla="*/ 305 h 603"/>
                <a:gd name="T70" fmla="*/ 320 w 453"/>
                <a:gd name="T71" fmla="*/ 271 h 603"/>
                <a:gd name="T72" fmla="*/ 320 w 453"/>
                <a:gd name="T73" fmla="*/ 217 h 603"/>
                <a:gd name="T74" fmla="*/ 287 w 453"/>
                <a:gd name="T75" fmla="*/ 182 h 603"/>
                <a:gd name="T76" fmla="*/ 256 w 453"/>
                <a:gd name="T77" fmla="*/ 148 h 603"/>
                <a:gd name="T78" fmla="*/ 256 w 453"/>
                <a:gd name="T79" fmla="*/ 94 h 603"/>
                <a:gd name="T80" fmla="*/ 221 w 453"/>
                <a:gd name="T81" fmla="*/ 59 h 603"/>
                <a:gd name="T82" fmla="*/ 188 w 453"/>
                <a:gd name="T83" fmla="*/ 30 h 603"/>
                <a:gd name="T84" fmla="*/ 154 w 453"/>
                <a:gd name="T85" fmla="*/ 0 h 603"/>
                <a:gd name="T86" fmla="*/ 98 w 453"/>
                <a:gd name="T87" fmla="*/ 0 h 603"/>
                <a:gd name="T88" fmla="*/ 63 w 453"/>
                <a:gd name="T89" fmla="*/ 35 h 603"/>
                <a:gd name="T90" fmla="*/ 63 w 453"/>
                <a:gd name="T91" fmla="*/ 262 h 603"/>
                <a:gd name="T92" fmla="*/ 98 w 453"/>
                <a:gd name="T93" fmla="*/ 297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3" h="603">
                  <a:moveTo>
                    <a:pt x="98" y="297"/>
                  </a:moveTo>
                  <a:cubicBezTo>
                    <a:pt x="154" y="297"/>
                    <a:pt x="154" y="297"/>
                    <a:pt x="154" y="297"/>
                  </a:cubicBezTo>
                  <a:cubicBezTo>
                    <a:pt x="155" y="297"/>
                    <a:pt x="156" y="297"/>
                    <a:pt x="157" y="297"/>
                  </a:cubicBezTo>
                  <a:cubicBezTo>
                    <a:pt x="159" y="297"/>
                    <a:pt x="160" y="297"/>
                    <a:pt x="163" y="297"/>
                  </a:cubicBezTo>
                  <a:cubicBezTo>
                    <a:pt x="163" y="297"/>
                    <a:pt x="163" y="297"/>
                    <a:pt x="163" y="297"/>
                  </a:cubicBezTo>
                  <a:cubicBezTo>
                    <a:pt x="181" y="298"/>
                    <a:pt x="194" y="313"/>
                    <a:pt x="194" y="331"/>
                  </a:cubicBezTo>
                  <a:cubicBezTo>
                    <a:pt x="194" y="332"/>
                    <a:pt x="194" y="332"/>
                    <a:pt x="194" y="332"/>
                  </a:cubicBezTo>
                  <a:cubicBezTo>
                    <a:pt x="194" y="350"/>
                    <a:pt x="180" y="365"/>
                    <a:pt x="162" y="365"/>
                  </a:cubicBezTo>
                  <a:cubicBezTo>
                    <a:pt x="144" y="366"/>
                    <a:pt x="130" y="380"/>
                    <a:pt x="129" y="397"/>
                  </a:cubicBezTo>
                  <a:cubicBezTo>
                    <a:pt x="127" y="414"/>
                    <a:pt x="112" y="427"/>
                    <a:pt x="95" y="427"/>
                  </a:cubicBezTo>
                  <a:cubicBezTo>
                    <a:pt x="86" y="427"/>
                    <a:pt x="86" y="427"/>
                    <a:pt x="86" y="427"/>
                  </a:cubicBezTo>
                  <a:cubicBezTo>
                    <a:pt x="72" y="427"/>
                    <a:pt x="61" y="439"/>
                    <a:pt x="61" y="452"/>
                  </a:cubicBezTo>
                  <a:cubicBezTo>
                    <a:pt x="61" y="455"/>
                    <a:pt x="61" y="455"/>
                    <a:pt x="61" y="455"/>
                  </a:cubicBezTo>
                  <a:cubicBezTo>
                    <a:pt x="61" y="469"/>
                    <a:pt x="72" y="480"/>
                    <a:pt x="86" y="480"/>
                  </a:cubicBezTo>
                  <a:cubicBezTo>
                    <a:pt x="94" y="480"/>
                    <a:pt x="94" y="480"/>
                    <a:pt x="94" y="480"/>
                  </a:cubicBezTo>
                  <a:cubicBezTo>
                    <a:pt x="113" y="480"/>
                    <a:pt x="128" y="496"/>
                    <a:pt x="128" y="514"/>
                  </a:cubicBezTo>
                  <a:cubicBezTo>
                    <a:pt x="128" y="516"/>
                    <a:pt x="128" y="516"/>
                    <a:pt x="128" y="516"/>
                  </a:cubicBezTo>
                  <a:cubicBezTo>
                    <a:pt x="128" y="535"/>
                    <a:pt x="113" y="550"/>
                    <a:pt x="94" y="550"/>
                  </a:cubicBezTo>
                  <a:cubicBezTo>
                    <a:pt x="25" y="550"/>
                    <a:pt x="25" y="550"/>
                    <a:pt x="25" y="550"/>
                  </a:cubicBezTo>
                  <a:cubicBezTo>
                    <a:pt x="11" y="550"/>
                    <a:pt x="0" y="562"/>
                    <a:pt x="0" y="575"/>
                  </a:cubicBezTo>
                  <a:cubicBezTo>
                    <a:pt x="0" y="578"/>
                    <a:pt x="0" y="578"/>
                    <a:pt x="0" y="578"/>
                  </a:cubicBezTo>
                  <a:cubicBezTo>
                    <a:pt x="0" y="592"/>
                    <a:pt x="11" y="603"/>
                    <a:pt x="25" y="603"/>
                  </a:cubicBezTo>
                  <a:cubicBezTo>
                    <a:pt x="163" y="603"/>
                    <a:pt x="163" y="603"/>
                    <a:pt x="163" y="603"/>
                  </a:cubicBezTo>
                  <a:cubicBezTo>
                    <a:pt x="167" y="603"/>
                    <a:pt x="167" y="603"/>
                    <a:pt x="167" y="603"/>
                  </a:cubicBezTo>
                  <a:cubicBezTo>
                    <a:pt x="218" y="603"/>
                    <a:pt x="218" y="603"/>
                    <a:pt x="218" y="603"/>
                  </a:cubicBezTo>
                  <a:cubicBezTo>
                    <a:pt x="236" y="603"/>
                    <a:pt x="251" y="590"/>
                    <a:pt x="253" y="572"/>
                  </a:cubicBezTo>
                  <a:cubicBezTo>
                    <a:pt x="255" y="555"/>
                    <a:pt x="270" y="543"/>
                    <a:pt x="287" y="543"/>
                  </a:cubicBezTo>
                  <a:cubicBezTo>
                    <a:pt x="352" y="543"/>
                    <a:pt x="352" y="543"/>
                    <a:pt x="352" y="543"/>
                  </a:cubicBezTo>
                  <a:cubicBezTo>
                    <a:pt x="369" y="543"/>
                    <a:pt x="384" y="530"/>
                    <a:pt x="386" y="513"/>
                  </a:cubicBezTo>
                  <a:cubicBezTo>
                    <a:pt x="389" y="497"/>
                    <a:pt x="402" y="485"/>
                    <a:pt x="419" y="484"/>
                  </a:cubicBezTo>
                  <a:cubicBezTo>
                    <a:pt x="438" y="484"/>
                    <a:pt x="453" y="468"/>
                    <a:pt x="453" y="449"/>
                  </a:cubicBezTo>
                  <a:cubicBezTo>
                    <a:pt x="453" y="402"/>
                    <a:pt x="453" y="402"/>
                    <a:pt x="453" y="402"/>
                  </a:cubicBezTo>
                  <a:cubicBezTo>
                    <a:pt x="453" y="383"/>
                    <a:pt x="438" y="367"/>
                    <a:pt x="419" y="367"/>
                  </a:cubicBezTo>
                  <a:cubicBezTo>
                    <a:pt x="402" y="366"/>
                    <a:pt x="388" y="353"/>
                    <a:pt x="387" y="336"/>
                  </a:cubicBezTo>
                  <a:cubicBezTo>
                    <a:pt x="385" y="319"/>
                    <a:pt x="370" y="305"/>
                    <a:pt x="353" y="305"/>
                  </a:cubicBezTo>
                  <a:cubicBezTo>
                    <a:pt x="334" y="304"/>
                    <a:pt x="320" y="289"/>
                    <a:pt x="320" y="271"/>
                  </a:cubicBezTo>
                  <a:cubicBezTo>
                    <a:pt x="320" y="217"/>
                    <a:pt x="320" y="217"/>
                    <a:pt x="320" y="217"/>
                  </a:cubicBezTo>
                  <a:cubicBezTo>
                    <a:pt x="320" y="198"/>
                    <a:pt x="305" y="183"/>
                    <a:pt x="287" y="182"/>
                  </a:cubicBezTo>
                  <a:cubicBezTo>
                    <a:pt x="269" y="180"/>
                    <a:pt x="256" y="166"/>
                    <a:pt x="256" y="148"/>
                  </a:cubicBezTo>
                  <a:cubicBezTo>
                    <a:pt x="256" y="94"/>
                    <a:pt x="256" y="94"/>
                    <a:pt x="256" y="94"/>
                  </a:cubicBezTo>
                  <a:cubicBezTo>
                    <a:pt x="256" y="75"/>
                    <a:pt x="240" y="60"/>
                    <a:pt x="221" y="59"/>
                  </a:cubicBezTo>
                  <a:cubicBezTo>
                    <a:pt x="204" y="59"/>
                    <a:pt x="191" y="47"/>
                    <a:pt x="188" y="30"/>
                  </a:cubicBezTo>
                  <a:cubicBezTo>
                    <a:pt x="186" y="13"/>
                    <a:pt x="171" y="0"/>
                    <a:pt x="154" y="0"/>
                  </a:cubicBezTo>
                  <a:cubicBezTo>
                    <a:pt x="98" y="0"/>
                    <a:pt x="98" y="0"/>
                    <a:pt x="98" y="0"/>
                  </a:cubicBezTo>
                  <a:cubicBezTo>
                    <a:pt x="79" y="0"/>
                    <a:pt x="63" y="16"/>
                    <a:pt x="63" y="35"/>
                  </a:cubicBezTo>
                  <a:cubicBezTo>
                    <a:pt x="63" y="262"/>
                    <a:pt x="63" y="262"/>
                    <a:pt x="63" y="262"/>
                  </a:cubicBezTo>
                  <a:cubicBezTo>
                    <a:pt x="63" y="281"/>
                    <a:pt x="79" y="297"/>
                    <a:pt x="98" y="297"/>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56" name="Freeform 70"/>
            <p:cNvSpPr>
              <a:spLocks/>
            </p:cNvSpPr>
            <p:nvPr userDrawn="1"/>
          </p:nvSpPr>
          <p:spPr bwMode="auto">
            <a:xfrm>
              <a:off x="2525" y="304"/>
              <a:ext cx="586" cy="555"/>
            </a:xfrm>
            <a:custGeom>
              <a:avLst/>
              <a:gdLst>
                <a:gd name="T0" fmla="*/ 35 w 332"/>
                <a:gd name="T1" fmla="*/ 314 h 314"/>
                <a:gd name="T2" fmla="*/ 153 w 332"/>
                <a:gd name="T3" fmla="*/ 314 h 314"/>
                <a:gd name="T4" fmla="*/ 188 w 332"/>
                <a:gd name="T5" fmla="*/ 281 h 314"/>
                <a:gd name="T6" fmla="*/ 222 w 332"/>
                <a:gd name="T7" fmla="*/ 248 h 314"/>
                <a:gd name="T8" fmla="*/ 256 w 332"/>
                <a:gd name="T9" fmla="*/ 217 h 314"/>
                <a:gd name="T10" fmla="*/ 290 w 332"/>
                <a:gd name="T11" fmla="*/ 186 h 314"/>
                <a:gd name="T12" fmla="*/ 298 w 332"/>
                <a:gd name="T13" fmla="*/ 186 h 314"/>
                <a:gd name="T14" fmla="*/ 332 w 332"/>
                <a:gd name="T15" fmla="*/ 220 h 314"/>
                <a:gd name="T16" fmla="*/ 332 w 332"/>
                <a:gd name="T17" fmla="*/ 0 h 314"/>
                <a:gd name="T18" fmla="*/ 131 w 332"/>
                <a:gd name="T19" fmla="*/ 0 h 314"/>
                <a:gd name="T20" fmla="*/ 113 w 332"/>
                <a:gd name="T21" fmla="*/ 6 h 314"/>
                <a:gd name="T22" fmla="*/ 99 w 332"/>
                <a:gd name="T23" fmla="*/ 11 h 314"/>
                <a:gd name="T24" fmla="*/ 69 w 332"/>
                <a:gd name="T25" fmla="*/ 45 h 314"/>
                <a:gd name="T26" fmla="*/ 69 w 332"/>
                <a:gd name="T27" fmla="*/ 158 h 314"/>
                <a:gd name="T28" fmla="*/ 35 w 332"/>
                <a:gd name="T29" fmla="*/ 192 h 314"/>
                <a:gd name="T30" fmla="*/ 0 w 332"/>
                <a:gd name="T31" fmla="*/ 227 h 314"/>
                <a:gd name="T32" fmla="*/ 0 w 332"/>
                <a:gd name="T33" fmla="*/ 279 h 314"/>
                <a:gd name="T34" fmla="*/ 35 w 332"/>
                <a:gd name="T3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2" h="314">
                  <a:moveTo>
                    <a:pt x="35" y="314"/>
                  </a:moveTo>
                  <a:cubicBezTo>
                    <a:pt x="153" y="314"/>
                    <a:pt x="153" y="314"/>
                    <a:pt x="153" y="314"/>
                  </a:cubicBezTo>
                  <a:cubicBezTo>
                    <a:pt x="172" y="314"/>
                    <a:pt x="188" y="299"/>
                    <a:pt x="188" y="281"/>
                  </a:cubicBezTo>
                  <a:cubicBezTo>
                    <a:pt x="189" y="263"/>
                    <a:pt x="204" y="248"/>
                    <a:pt x="222" y="248"/>
                  </a:cubicBezTo>
                  <a:cubicBezTo>
                    <a:pt x="240" y="248"/>
                    <a:pt x="255" y="234"/>
                    <a:pt x="256" y="217"/>
                  </a:cubicBezTo>
                  <a:cubicBezTo>
                    <a:pt x="258" y="199"/>
                    <a:pt x="273" y="186"/>
                    <a:pt x="290" y="186"/>
                  </a:cubicBezTo>
                  <a:cubicBezTo>
                    <a:pt x="298" y="186"/>
                    <a:pt x="298" y="186"/>
                    <a:pt x="298" y="186"/>
                  </a:cubicBezTo>
                  <a:cubicBezTo>
                    <a:pt x="317" y="186"/>
                    <a:pt x="332" y="202"/>
                    <a:pt x="332" y="220"/>
                  </a:cubicBezTo>
                  <a:cubicBezTo>
                    <a:pt x="332" y="0"/>
                    <a:pt x="332" y="0"/>
                    <a:pt x="332" y="0"/>
                  </a:cubicBezTo>
                  <a:cubicBezTo>
                    <a:pt x="131" y="0"/>
                    <a:pt x="131" y="0"/>
                    <a:pt x="131" y="0"/>
                  </a:cubicBezTo>
                  <a:cubicBezTo>
                    <a:pt x="125" y="0"/>
                    <a:pt x="118" y="2"/>
                    <a:pt x="113" y="6"/>
                  </a:cubicBezTo>
                  <a:cubicBezTo>
                    <a:pt x="108" y="8"/>
                    <a:pt x="104" y="10"/>
                    <a:pt x="99" y="11"/>
                  </a:cubicBezTo>
                  <a:cubicBezTo>
                    <a:pt x="82" y="13"/>
                    <a:pt x="69" y="28"/>
                    <a:pt x="69" y="45"/>
                  </a:cubicBezTo>
                  <a:cubicBezTo>
                    <a:pt x="69" y="158"/>
                    <a:pt x="69" y="158"/>
                    <a:pt x="69" y="158"/>
                  </a:cubicBezTo>
                  <a:cubicBezTo>
                    <a:pt x="69" y="177"/>
                    <a:pt x="54" y="192"/>
                    <a:pt x="35" y="192"/>
                  </a:cubicBezTo>
                  <a:cubicBezTo>
                    <a:pt x="16" y="192"/>
                    <a:pt x="0" y="208"/>
                    <a:pt x="0" y="227"/>
                  </a:cubicBezTo>
                  <a:cubicBezTo>
                    <a:pt x="0" y="279"/>
                    <a:pt x="0" y="279"/>
                    <a:pt x="0" y="279"/>
                  </a:cubicBezTo>
                  <a:cubicBezTo>
                    <a:pt x="0" y="298"/>
                    <a:pt x="16" y="314"/>
                    <a:pt x="35" y="314"/>
                  </a:cubicBezTo>
                  <a:close/>
                </a:path>
              </a:pathLst>
            </a:custGeom>
            <a:solidFill>
              <a:schemeClr val="accent3"/>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57" name="Freeform 71"/>
            <p:cNvSpPr>
              <a:spLocks/>
            </p:cNvSpPr>
            <p:nvPr userDrawn="1"/>
          </p:nvSpPr>
          <p:spPr bwMode="auto">
            <a:xfrm>
              <a:off x="3108" y="1081"/>
              <a:ext cx="98" cy="96"/>
            </a:xfrm>
            <a:custGeom>
              <a:avLst/>
              <a:gdLst>
                <a:gd name="T0" fmla="*/ 24 w 56"/>
                <a:gd name="T1" fmla="*/ 54 h 54"/>
                <a:gd name="T2" fmla="*/ 32 w 56"/>
                <a:gd name="T3" fmla="*/ 54 h 54"/>
                <a:gd name="T4" fmla="*/ 56 w 56"/>
                <a:gd name="T5" fmla="*/ 29 h 54"/>
                <a:gd name="T6" fmla="*/ 56 w 56"/>
                <a:gd name="T7" fmla="*/ 24 h 54"/>
                <a:gd name="T8" fmla="*/ 32 w 56"/>
                <a:gd name="T9" fmla="*/ 0 h 54"/>
                <a:gd name="T10" fmla="*/ 24 w 56"/>
                <a:gd name="T11" fmla="*/ 0 h 54"/>
                <a:gd name="T12" fmla="*/ 0 w 56"/>
                <a:gd name="T13" fmla="*/ 24 h 54"/>
                <a:gd name="T14" fmla="*/ 0 w 56"/>
                <a:gd name="T15" fmla="*/ 29 h 54"/>
                <a:gd name="T16" fmla="*/ 24 w 56"/>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54">
                  <a:moveTo>
                    <a:pt x="24" y="54"/>
                  </a:moveTo>
                  <a:cubicBezTo>
                    <a:pt x="32" y="54"/>
                    <a:pt x="32" y="54"/>
                    <a:pt x="32" y="54"/>
                  </a:cubicBezTo>
                  <a:cubicBezTo>
                    <a:pt x="46" y="54"/>
                    <a:pt x="56" y="43"/>
                    <a:pt x="56" y="29"/>
                  </a:cubicBezTo>
                  <a:cubicBezTo>
                    <a:pt x="56" y="24"/>
                    <a:pt x="56" y="24"/>
                    <a:pt x="56" y="24"/>
                  </a:cubicBezTo>
                  <a:cubicBezTo>
                    <a:pt x="56" y="10"/>
                    <a:pt x="46" y="0"/>
                    <a:pt x="32" y="0"/>
                  </a:cubicBezTo>
                  <a:cubicBezTo>
                    <a:pt x="24" y="0"/>
                    <a:pt x="24" y="0"/>
                    <a:pt x="24" y="0"/>
                  </a:cubicBezTo>
                  <a:cubicBezTo>
                    <a:pt x="11" y="0"/>
                    <a:pt x="0" y="10"/>
                    <a:pt x="0" y="24"/>
                  </a:cubicBezTo>
                  <a:cubicBezTo>
                    <a:pt x="0" y="29"/>
                    <a:pt x="0" y="29"/>
                    <a:pt x="0" y="29"/>
                  </a:cubicBezTo>
                  <a:cubicBezTo>
                    <a:pt x="0" y="43"/>
                    <a:pt x="11" y="54"/>
                    <a:pt x="24" y="54"/>
                  </a:cubicBezTo>
                  <a:close/>
                </a:path>
              </a:pathLst>
            </a:custGeom>
            <a:solidFill>
              <a:schemeClr val="accent3"/>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02" name="Freeform 11"/>
            <p:cNvSpPr>
              <a:spLocks/>
            </p:cNvSpPr>
            <p:nvPr userDrawn="1"/>
          </p:nvSpPr>
          <p:spPr bwMode="auto">
            <a:xfrm>
              <a:off x="3111" y="304"/>
              <a:ext cx="681" cy="873"/>
            </a:xfrm>
            <a:custGeom>
              <a:avLst/>
              <a:gdLst>
                <a:gd name="T0" fmla="*/ 355 w 386"/>
                <a:gd name="T1" fmla="*/ 8 h 494"/>
                <a:gd name="T2" fmla="*/ 363 w 386"/>
                <a:gd name="T3" fmla="*/ 8 h 494"/>
                <a:gd name="T4" fmla="*/ 385 w 386"/>
                <a:gd name="T5" fmla="*/ 0 h 494"/>
                <a:gd name="T6" fmla="*/ 0 w 386"/>
                <a:gd name="T7" fmla="*/ 0 h 494"/>
                <a:gd name="T8" fmla="*/ 0 w 386"/>
                <a:gd name="T9" fmla="*/ 108 h 494"/>
                <a:gd name="T10" fmla="*/ 0 w 386"/>
                <a:gd name="T11" fmla="*/ 143 h 494"/>
                <a:gd name="T12" fmla="*/ 0 w 386"/>
                <a:gd name="T13" fmla="*/ 276 h 494"/>
                <a:gd name="T14" fmla="*/ 33 w 386"/>
                <a:gd name="T15" fmla="*/ 311 h 494"/>
                <a:gd name="T16" fmla="*/ 65 w 386"/>
                <a:gd name="T17" fmla="*/ 345 h 494"/>
                <a:gd name="T18" fmla="*/ 65 w 386"/>
                <a:gd name="T19" fmla="*/ 396 h 494"/>
                <a:gd name="T20" fmla="*/ 98 w 386"/>
                <a:gd name="T21" fmla="*/ 431 h 494"/>
                <a:gd name="T22" fmla="*/ 131 w 386"/>
                <a:gd name="T23" fmla="*/ 465 h 494"/>
                <a:gd name="T24" fmla="*/ 131 w 386"/>
                <a:gd name="T25" fmla="*/ 469 h 494"/>
                <a:gd name="T26" fmla="*/ 155 w 386"/>
                <a:gd name="T27" fmla="*/ 494 h 494"/>
                <a:gd name="T28" fmla="*/ 163 w 386"/>
                <a:gd name="T29" fmla="*/ 494 h 494"/>
                <a:gd name="T30" fmla="*/ 188 w 386"/>
                <a:gd name="T31" fmla="*/ 469 h 494"/>
                <a:gd name="T32" fmla="*/ 188 w 386"/>
                <a:gd name="T33" fmla="*/ 465 h 494"/>
                <a:gd name="T34" fmla="*/ 222 w 386"/>
                <a:gd name="T35" fmla="*/ 431 h 494"/>
                <a:gd name="T36" fmla="*/ 286 w 386"/>
                <a:gd name="T37" fmla="*/ 431 h 494"/>
                <a:gd name="T38" fmla="*/ 321 w 386"/>
                <a:gd name="T39" fmla="*/ 396 h 494"/>
                <a:gd name="T40" fmla="*/ 321 w 386"/>
                <a:gd name="T41" fmla="*/ 290 h 494"/>
                <a:gd name="T42" fmla="*/ 286 w 386"/>
                <a:gd name="T43" fmla="*/ 255 h 494"/>
                <a:gd name="T44" fmla="*/ 253 w 386"/>
                <a:gd name="T45" fmla="*/ 222 h 494"/>
                <a:gd name="T46" fmla="*/ 287 w 386"/>
                <a:gd name="T47" fmla="*/ 188 h 494"/>
                <a:gd name="T48" fmla="*/ 361 w 386"/>
                <a:gd name="T49" fmla="*/ 188 h 494"/>
                <a:gd name="T50" fmla="*/ 386 w 386"/>
                <a:gd name="T51" fmla="*/ 164 h 494"/>
                <a:gd name="T52" fmla="*/ 386 w 386"/>
                <a:gd name="T53" fmla="*/ 155 h 494"/>
                <a:gd name="T54" fmla="*/ 361 w 386"/>
                <a:gd name="T55" fmla="*/ 131 h 494"/>
                <a:gd name="T56" fmla="*/ 355 w 386"/>
                <a:gd name="T57" fmla="*/ 131 h 494"/>
                <a:gd name="T58" fmla="*/ 321 w 386"/>
                <a:gd name="T59" fmla="*/ 97 h 494"/>
                <a:gd name="T60" fmla="*/ 321 w 386"/>
                <a:gd name="T61" fmla="*/ 42 h 494"/>
                <a:gd name="T62" fmla="*/ 355 w 386"/>
                <a:gd name="T63" fmla="*/ 8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6" h="494">
                  <a:moveTo>
                    <a:pt x="355" y="8"/>
                  </a:moveTo>
                  <a:cubicBezTo>
                    <a:pt x="363" y="8"/>
                    <a:pt x="363" y="8"/>
                    <a:pt x="363" y="8"/>
                  </a:cubicBezTo>
                  <a:cubicBezTo>
                    <a:pt x="371" y="8"/>
                    <a:pt x="379" y="5"/>
                    <a:pt x="385" y="0"/>
                  </a:cubicBezTo>
                  <a:cubicBezTo>
                    <a:pt x="0" y="0"/>
                    <a:pt x="0" y="0"/>
                    <a:pt x="0" y="0"/>
                  </a:cubicBezTo>
                  <a:cubicBezTo>
                    <a:pt x="0" y="108"/>
                    <a:pt x="0" y="108"/>
                    <a:pt x="0" y="108"/>
                  </a:cubicBezTo>
                  <a:cubicBezTo>
                    <a:pt x="0" y="143"/>
                    <a:pt x="0" y="143"/>
                    <a:pt x="0" y="143"/>
                  </a:cubicBezTo>
                  <a:cubicBezTo>
                    <a:pt x="0" y="276"/>
                    <a:pt x="0" y="276"/>
                    <a:pt x="0" y="276"/>
                  </a:cubicBezTo>
                  <a:cubicBezTo>
                    <a:pt x="0" y="294"/>
                    <a:pt x="14" y="310"/>
                    <a:pt x="33" y="311"/>
                  </a:cubicBezTo>
                  <a:cubicBezTo>
                    <a:pt x="51" y="312"/>
                    <a:pt x="65" y="327"/>
                    <a:pt x="65" y="345"/>
                  </a:cubicBezTo>
                  <a:cubicBezTo>
                    <a:pt x="65" y="396"/>
                    <a:pt x="65" y="396"/>
                    <a:pt x="65" y="396"/>
                  </a:cubicBezTo>
                  <a:cubicBezTo>
                    <a:pt x="65" y="415"/>
                    <a:pt x="80" y="430"/>
                    <a:pt x="98" y="431"/>
                  </a:cubicBezTo>
                  <a:cubicBezTo>
                    <a:pt x="117" y="432"/>
                    <a:pt x="131" y="447"/>
                    <a:pt x="131" y="465"/>
                  </a:cubicBezTo>
                  <a:cubicBezTo>
                    <a:pt x="131" y="469"/>
                    <a:pt x="131" y="469"/>
                    <a:pt x="131" y="469"/>
                  </a:cubicBezTo>
                  <a:cubicBezTo>
                    <a:pt x="131" y="483"/>
                    <a:pt x="142" y="494"/>
                    <a:pt x="155" y="494"/>
                  </a:cubicBezTo>
                  <a:cubicBezTo>
                    <a:pt x="163" y="494"/>
                    <a:pt x="163" y="494"/>
                    <a:pt x="163" y="494"/>
                  </a:cubicBezTo>
                  <a:cubicBezTo>
                    <a:pt x="177" y="494"/>
                    <a:pt x="188" y="483"/>
                    <a:pt x="188" y="469"/>
                  </a:cubicBezTo>
                  <a:cubicBezTo>
                    <a:pt x="188" y="465"/>
                    <a:pt x="188" y="465"/>
                    <a:pt x="188" y="465"/>
                  </a:cubicBezTo>
                  <a:cubicBezTo>
                    <a:pt x="188" y="446"/>
                    <a:pt x="203" y="431"/>
                    <a:pt x="222" y="431"/>
                  </a:cubicBezTo>
                  <a:cubicBezTo>
                    <a:pt x="286" y="431"/>
                    <a:pt x="286" y="431"/>
                    <a:pt x="286" y="431"/>
                  </a:cubicBezTo>
                  <a:cubicBezTo>
                    <a:pt x="305" y="431"/>
                    <a:pt x="321" y="415"/>
                    <a:pt x="321" y="396"/>
                  </a:cubicBezTo>
                  <a:cubicBezTo>
                    <a:pt x="321" y="290"/>
                    <a:pt x="321" y="290"/>
                    <a:pt x="321" y="290"/>
                  </a:cubicBezTo>
                  <a:cubicBezTo>
                    <a:pt x="321" y="271"/>
                    <a:pt x="305" y="252"/>
                    <a:pt x="286" y="255"/>
                  </a:cubicBezTo>
                  <a:cubicBezTo>
                    <a:pt x="266" y="258"/>
                    <a:pt x="252" y="251"/>
                    <a:pt x="253" y="222"/>
                  </a:cubicBezTo>
                  <a:cubicBezTo>
                    <a:pt x="253" y="203"/>
                    <a:pt x="268" y="188"/>
                    <a:pt x="287" y="188"/>
                  </a:cubicBezTo>
                  <a:cubicBezTo>
                    <a:pt x="361" y="188"/>
                    <a:pt x="361" y="188"/>
                    <a:pt x="361" y="188"/>
                  </a:cubicBezTo>
                  <a:cubicBezTo>
                    <a:pt x="375" y="188"/>
                    <a:pt x="386" y="177"/>
                    <a:pt x="386" y="164"/>
                  </a:cubicBezTo>
                  <a:cubicBezTo>
                    <a:pt x="386" y="155"/>
                    <a:pt x="386" y="155"/>
                    <a:pt x="386" y="155"/>
                  </a:cubicBezTo>
                  <a:cubicBezTo>
                    <a:pt x="386" y="142"/>
                    <a:pt x="375" y="131"/>
                    <a:pt x="361" y="131"/>
                  </a:cubicBezTo>
                  <a:cubicBezTo>
                    <a:pt x="355" y="131"/>
                    <a:pt x="355" y="131"/>
                    <a:pt x="355" y="131"/>
                  </a:cubicBezTo>
                  <a:cubicBezTo>
                    <a:pt x="336" y="131"/>
                    <a:pt x="321" y="116"/>
                    <a:pt x="321" y="97"/>
                  </a:cubicBezTo>
                  <a:cubicBezTo>
                    <a:pt x="321" y="42"/>
                    <a:pt x="321" y="42"/>
                    <a:pt x="321" y="42"/>
                  </a:cubicBezTo>
                  <a:cubicBezTo>
                    <a:pt x="321" y="23"/>
                    <a:pt x="336" y="8"/>
                    <a:pt x="355" y="8"/>
                  </a:cubicBezTo>
                  <a:close/>
                </a:path>
              </a:pathLst>
            </a:custGeom>
            <a:solidFill>
              <a:schemeClr val="accent3"/>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03" name="Freeform 12"/>
            <p:cNvSpPr>
              <a:spLocks/>
            </p:cNvSpPr>
            <p:nvPr userDrawn="1"/>
          </p:nvSpPr>
          <p:spPr bwMode="auto">
            <a:xfrm>
              <a:off x="4165" y="304"/>
              <a:ext cx="782" cy="219"/>
            </a:xfrm>
            <a:custGeom>
              <a:avLst/>
              <a:gdLst>
                <a:gd name="T0" fmla="*/ 35 w 443"/>
                <a:gd name="T1" fmla="*/ 124 h 124"/>
                <a:gd name="T2" fmla="*/ 287 w 443"/>
                <a:gd name="T3" fmla="*/ 124 h 124"/>
                <a:gd name="T4" fmla="*/ 320 w 443"/>
                <a:gd name="T5" fmla="*/ 124 h 124"/>
                <a:gd name="T6" fmla="*/ 320 w 443"/>
                <a:gd name="T7" fmla="*/ 94 h 124"/>
                <a:gd name="T8" fmla="*/ 353 w 443"/>
                <a:gd name="T9" fmla="*/ 64 h 124"/>
                <a:gd name="T10" fmla="*/ 385 w 443"/>
                <a:gd name="T11" fmla="*/ 35 h 124"/>
                <a:gd name="T12" fmla="*/ 420 w 443"/>
                <a:gd name="T13" fmla="*/ 5 h 124"/>
                <a:gd name="T14" fmla="*/ 427 w 443"/>
                <a:gd name="T15" fmla="*/ 5 h 124"/>
                <a:gd name="T16" fmla="*/ 443 w 443"/>
                <a:gd name="T17" fmla="*/ 0 h 124"/>
                <a:gd name="T18" fmla="*/ 0 w 443"/>
                <a:gd name="T19" fmla="*/ 0 h 124"/>
                <a:gd name="T20" fmla="*/ 0 w 443"/>
                <a:gd name="T21" fmla="*/ 89 h 124"/>
                <a:gd name="T22" fmla="*/ 35 w 443"/>
                <a:gd name="T23" fmla="*/ 12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3" h="124">
                  <a:moveTo>
                    <a:pt x="35" y="124"/>
                  </a:moveTo>
                  <a:cubicBezTo>
                    <a:pt x="287" y="124"/>
                    <a:pt x="287" y="124"/>
                    <a:pt x="287" y="124"/>
                  </a:cubicBezTo>
                  <a:cubicBezTo>
                    <a:pt x="320" y="124"/>
                    <a:pt x="320" y="124"/>
                    <a:pt x="320" y="124"/>
                  </a:cubicBezTo>
                  <a:cubicBezTo>
                    <a:pt x="320" y="94"/>
                    <a:pt x="320" y="94"/>
                    <a:pt x="320" y="94"/>
                  </a:cubicBezTo>
                  <a:cubicBezTo>
                    <a:pt x="320" y="78"/>
                    <a:pt x="336" y="65"/>
                    <a:pt x="353" y="64"/>
                  </a:cubicBezTo>
                  <a:cubicBezTo>
                    <a:pt x="370" y="63"/>
                    <a:pt x="383" y="51"/>
                    <a:pt x="385" y="35"/>
                  </a:cubicBezTo>
                  <a:cubicBezTo>
                    <a:pt x="388" y="18"/>
                    <a:pt x="402" y="5"/>
                    <a:pt x="420" y="5"/>
                  </a:cubicBezTo>
                  <a:cubicBezTo>
                    <a:pt x="427" y="5"/>
                    <a:pt x="427" y="5"/>
                    <a:pt x="427" y="5"/>
                  </a:cubicBezTo>
                  <a:cubicBezTo>
                    <a:pt x="433" y="5"/>
                    <a:pt x="438" y="3"/>
                    <a:pt x="443" y="0"/>
                  </a:cubicBezTo>
                  <a:cubicBezTo>
                    <a:pt x="0" y="0"/>
                    <a:pt x="0" y="0"/>
                    <a:pt x="0" y="0"/>
                  </a:cubicBezTo>
                  <a:cubicBezTo>
                    <a:pt x="0" y="89"/>
                    <a:pt x="0" y="89"/>
                    <a:pt x="0" y="89"/>
                  </a:cubicBezTo>
                  <a:cubicBezTo>
                    <a:pt x="0" y="108"/>
                    <a:pt x="15" y="124"/>
                    <a:pt x="35" y="124"/>
                  </a:cubicBezTo>
                  <a:close/>
                </a:path>
              </a:pathLst>
            </a:custGeom>
            <a:solidFill>
              <a:schemeClr val="accent3"/>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07" name="Freeform 13"/>
            <p:cNvSpPr>
              <a:spLocks/>
            </p:cNvSpPr>
            <p:nvPr userDrawn="1"/>
          </p:nvSpPr>
          <p:spPr bwMode="auto">
            <a:xfrm>
              <a:off x="4396" y="645"/>
              <a:ext cx="334" cy="216"/>
            </a:xfrm>
            <a:custGeom>
              <a:avLst/>
              <a:gdLst>
                <a:gd name="T0" fmla="*/ 189 w 189"/>
                <a:gd name="T1" fmla="*/ 0 h 122"/>
                <a:gd name="T2" fmla="*/ 29 w 189"/>
                <a:gd name="T3" fmla="*/ 0 h 122"/>
                <a:gd name="T4" fmla="*/ 0 w 189"/>
                <a:gd name="T5" fmla="*/ 29 h 122"/>
                <a:gd name="T6" fmla="*/ 0 w 189"/>
                <a:gd name="T7" fmla="*/ 92 h 122"/>
                <a:gd name="T8" fmla="*/ 29 w 189"/>
                <a:gd name="T9" fmla="*/ 122 h 122"/>
                <a:gd name="T10" fmla="*/ 189 w 189"/>
                <a:gd name="T11" fmla="*/ 122 h 122"/>
                <a:gd name="T12" fmla="*/ 189 w 189"/>
                <a:gd name="T13" fmla="*/ 0 h 122"/>
              </a:gdLst>
              <a:ahLst/>
              <a:cxnLst>
                <a:cxn ang="0">
                  <a:pos x="T0" y="T1"/>
                </a:cxn>
                <a:cxn ang="0">
                  <a:pos x="T2" y="T3"/>
                </a:cxn>
                <a:cxn ang="0">
                  <a:pos x="T4" y="T5"/>
                </a:cxn>
                <a:cxn ang="0">
                  <a:pos x="T6" y="T7"/>
                </a:cxn>
                <a:cxn ang="0">
                  <a:pos x="T8" y="T9"/>
                </a:cxn>
                <a:cxn ang="0">
                  <a:pos x="T10" y="T11"/>
                </a:cxn>
                <a:cxn ang="0">
                  <a:pos x="T12" y="T13"/>
                </a:cxn>
              </a:cxnLst>
              <a:rect l="0" t="0" r="r" b="b"/>
              <a:pathLst>
                <a:path w="189" h="122">
                  <a:moveTo>
                    <a:pt x="189" y="0"/>
                  </a:moveTo>
                  <a:cubicBezTo>
                    <a:pt x="29" y="0"/>
                    <a:pt x="29" y="0"/>
                    <a:pt x="29" y="0"/>
                  </a:cubicBezTo>
                  <a:cubicBezTo>
                    <a:pt x="13" y="0"/>
                    <a:pt x="0" y="13"/>
                    <a:pt x="0" y="29"/>
                  </a:cubicBezTo>
                  <a:cubicBezTo>
                    <a:pt x="0" y="92"/>
                    <a:pt x="0" y="92"/>
                    <a:pt x="0" y="92"/>
                  </a:cubicBezTo>
                  <a:cubicBezTo>
                    <a:pt x="0" y="108"/>
                    <a:pt x="13" y="122"/>
                    <a:pt x="29" y="122"/>
                  </a:cubicBezTo>
                  <a:cubicBezTo>
                    <a:pt x="189" y="122"/>
                    <a:pt x="189" y="122"/>
                    <a:pt x="189" y="122"/>
                  </a:cubicBezTo>
                  <a:lnTo>
                    <a:pt x="189" y="0"/>
                  </a:ln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08" name="Freeform 14"/>
            <p:cNvSpPr>
              <a:spLocks/>
            </p:cNvSpPr>
            <p:nvPr userDrawn="1"/>
          </p:nvSpPr>
          <p:spPr bwMode="auto">
            <a:xfrm>
              <a:off x="4165" y="861"/>
              <a:ext cx="565" cy="213"/>
            </a:xfrm>
            <a:custGeom>
              <a:avLst/>
              <a:gdLst>
                <a:gd name="T0" fmla="*/ 320 w 320"/>
                <a:gd name="T1" fmla="*/ 121 h 121"/>
                <a:gd name="T2" fmla="*/ 29 w 320"/>
                <a:gd name="T3" fmla="*/ 121 h 121"/>
                <a:gd name="T4" fmla="*/ 0 w 320"/>
                <a:gd name="T5" fmla="*/ 92 h 121"/>
                <a:gd name="T6" fmla="*/ 0 w 320"/>
                <a:gd name="T7" fmla="*/ 29 h 121"/>
                <a:gd name="T8" fmla="*/ 29 w 320"/>
                <a:gd name="T9" fmla="*/ 0 h 121"/>
                <a:gd name="T10" fmla="*/ 87 w 320"/>
                <a:gd name="T11" fmla="*/ 0 h 121"/>
                <a:gd name="T12" fmla="*/ 126 w 320"/>
                <a:gd name="T13" fmla="*/ 25 h 121"/>
                <a:gd name="T14" fmla="*/ 126 w 320"/>
                <a:gd name="T15" fmla="*/ 32 h 121"/>
                <a:gd name="T16" fmla="*/ 154 w 320"/>
                <a:gd name="T17" fmla="*/ 61 h 121"/>
                <a:gd name="T18" fmla="*/ 164 w 320"/>
                <a:gd name="T19" fmla="*/ 61 h 121"/>
                <a:gd name="T20" fmla="*/ 193 w 320"/>
                <a:gd name="T21" fmla="*/ 32 h 121"/>
                <a:gd name="T22" fmla="*/ 193 w 320"/>
                <a:gd name="T23" fmla="*/ 25 h 121"/>
                <a:gd name="T24" fmla="*/ 177 w 320"/>
                <a:gd name="T25" fmla="*/ 0 h 121"/>
                <a:gd name="T26" fmla="*/ 320 w 320"/>
                <a:gd name="T27" fmla="*/ 0 h 121"/>
                <a:gd name="T28" fmla="*/ 320 w 320"/>
                <a:gd name="T29"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0" h="121">
                  <a:moveTo>
                    <a:pt x="320" y="121"/>
                  </a:moveTo>
                  <a:cubicBezTo>
                    <a:pt x="29" y="121"/>
                    <a:pt x="29" y="121"/>
                    <a:pt x="29" y="121"/>
                  </a:cubicBezTo>
                  <a:cubicBezTo>
                    <a:pt x="13" y="121"/>
                    <a:pt x="0" y="108"/>
                    <a:pt x="0" y="92"/>
                  </a:cubicBezTo>
                  <a:cubicBezTo>
                    <a:pt x="0" y="29"/>
                    <a:pt x="0" y="29"/>
                    <a:pt x="0" y="29"/>
                  </a:cubicBezTo>
                  <a:cubicBezTo>
                    <a:pt x="0" y="13"/>
                    <a:pt x="13" y="0"/>
                    <a:pt x="29" y="0"/>
                  </a:cubicBezTo>
                  <a:cubicBezTo>
                    <a:pt x="87" y="0"/>
                    <a:pt x="87" y="0"/>
                    <a:pt x="87" y="0"/>
                  </a:cubicBezTo>
                  <a:cubicBezTo>
                    <a:pt x="112" y="0"/>
                    <a:pt x="126" y="14"/>
                    <a:pt x="126" y="25"/>
                  </a:cubicBezTo>
                  <a:cubicBezTo>
                    <a:pt x="126" y="32"/>
                    <a:pt x="126" y="32"/>
                    <a:pt x="126" y="32"/>
                  </a:cubicBezTo>
                  <a:cubicBezTo>
                    <a:pt x="126" y="48"/>
                    <a:pt x="139" y="61"/>
                    <a:pt x="154" y="61"/>
                  </a:cubicBezTo>
                  <a:cubicBezTo>
                    <a:pt x="164" y="61"/>
                    <a:pt x="164" y="61"/>
                    <a:pt x="164" y="61"/>
                  </a:cubicBezTo>
                  <a:cubicBezTo>
                    <a:pt x="180" y="61"/>
                    <a:pt x="193" y="48"/>
                    <a:pt x="193" y="32"/>
                  </a:cubicBezTo>
                  <a:cubicBezTo>
                    <a:pt x="193" y="25"/>
                    <a:pt x="193" y="25"/>
                    <a:pt x="193" y="25"/>
                  </a:cubicBezTo>
                  <a:cubicBezTo>
                    <a:pt x="193" y="14"/>
                    <a:pt x="186" y="4"/>
                    <a:pt x="177" y="0"/>
                  </a:cubicBezTo>
                  <a:cubicBezTo>
                    <a:pt x="320" y="0"/>
                    <a:pt x="320" y="0"/>
                    <a:pt x="320" y="0"/>
                  </a:cubicBezTo>
                  <a:lnTo>
                    <a:pt x="320" y="121"/>
                  </a:ln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09" name="Freeform 15"/>
            <p:cNvSpPr>
              <a:spLocks/>
            </p:cNvSpPr>
            <p:nvPr userDrawn="1"/>
          </p:nvSpPr>
          <p:spPr bwMode="auto">
            <a:xfrm>
              <a:off x="4214" y="1074"/>
              <a:ext cx="516" cy="209"/>
            </a:xfrm>
            <a:custGeom>
              <a:avLst/>
              <a:gdLst>
                <a:gd name="T0" fmla="*/ 292 w 292"/>
                <a:gd name="T1" fmla="*/ 27 h 118"/>
                <a:gd name="T2" fmla="*/ 292 w 292"/>
                <a:gd name="T3" fmla="*/ 32 h 118"/>
                <a:gd name="T4" fmla="*/ 292 w 292"/>
                <a:gd name="T5" fmla="*/ 35 h 118"/>
                <a:gd name="T6" fmla="*/ 267 w 292"/>
                <a:gd name="T7" fmla="*/ 61 h 118"/>
                <a:gd name="T8" fmla="*/ 229 w 292"/>
                <a:gd name="T9" fmla="*/ 61 h 118"/>
                <a:gd name="T10" fmla="*/ 229 w 292"/>
                <a:gd name="T11" fmla="*/ 93 h 118"/>
                <a:gd name="T12" fmla="*/ 203 w 292"/>
                <a:gd name="T13" fmla="*/ 118 h 118"/>
                <a:gd name="T14" fmla="*/ 103 w 292"/>
                <a:gd name="T15" fmla="*/ 118 h 118"/>
                <a:gd name="T16" fmla="*/ 103 w 292"/>
                <a:gd name="T17" fmla="*/ 86 h 118"/>
                <a:gd name="T18" fmla="*/ 78 w 292"/>
                <a:gd name="T19" fmla="*/ 61 h 118"/>
                <a:gd name="T20" fmla="*/ 11 w 292"/>
                <a:gd name="T21" fmla="*/ 61 h 118"/>
                <a:gd name="T22" fmla="*/ 36 w 292"/>
                <a:gd name="T23" fmla="*/ 35 h 118"/>
                <a:gd name="T24" fmla="*/ 36 w 292"/>
                <a:gd name="T25" fmla="*/ 27 h 118"/>
                <a:gd name="T26" fmla="*/ 11 w 292"/>
                <a:gd name="T27" fmla="*/ 1 h 118"/>
                <a:gd name="T28" fmla="*/ 48 w 292"/>
                <a:gd name="T29" fmla="*/ 1 h 118"/>
                <a:gd name="T30" fmla="*/ 48 w 292"/>
                <a:gd name="T31" fmla="*/ 0 h 118"/>
                <a:gd name="T32" fmla="*/ 203 w 292"/>
                <a:gd name="T33" fmla="*/ 0 h 118"/>
                <a:gd name="T34" fmla="*/ 292 w 292"/>
                <a:gd name="T35" fmla="*/ 0 h 118"/>
                <a:gd name="T36" fmla="*/ 292 w 292"/>
                <a:gd name="T37" fmla="*/ 27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2" h="118">
                  <a:moveTo>
                    <a:pt x="292" y="27"/>
                  </a:moveTo>
                  <a:cubicBezTo>
                    <a:pt x="292" y="32"/>
                    <a:pt x="292" y="32"/>
                    <a:pt x="292" y="32"/>
                  </a:cubicBezTo>
                  <a:cubicBezTo>
                    <a:pt x="292" y="35"/>
                    <a:pt x="292" y="35"/>
                    <a:pt x="292" y="35"/>
                  </a:cubicBezTo>
                  <a:cubicBezTo>
                    <a:pt x="292" y="49"/>
                    <a:pt x="281" y="61"/>
                    <a:pt x="267" y="61"/>
                  </a:cubicBezTo>
                  <a:cubicBezTo>
                    <a:pt x="229" y="61"/>
                    <a:pt x="229" y="61"/>
                    <a:pt x="229" y="61"/>
                  </a:cubicBezTo>
                  <a:cubicBezTo>
                    <a:pt x="229" y="93"/>
                    <a:pt x="229" y="93"/>
                    <a:pt x="229" y="93"/>
                  </a:cubicBezTo>
                  <a:cubicBezTo>
                    <a:pt x="229" y="107"/>
                    <a:pt x="217" y="118"/>
                    <a:pt x="203" y="118"/>
                  </a:cubicBezTo>
                  <a:cubicBezTo>
                    <a:pt x="103" y="118"/>
                    <a:pt x="103" y="118"/>
                    <a:pt x="103" y="118"/>
                  </a:cubicBezTo>
                  <a:cubicBezTo>
                    <a:pt x="103" y="86"/>
                    <a:pt x="103" y="86"/>
                    <a:pt x="103" y="86"/>
                  </a:cubicBezTo>
                  <a:cubicBezTo>
                    <a:pt x="103" y="72"/>
                    <a:pt x="92" y="61"/>
                    <a:pt x="78" y="61"/>
                  </a:cubicBezTo>
                  <a:cubicBezTo>
                    <a:pt x="11" y="61"/>
                    <a:pt x="11" y="61"/>
                    <a:pt x="11" y="61"/>
                  </a:cubicBezTo>
                  <a:cubicBezTo>
                    <a:pt x="25" y="61"/>
                    <a:pt x="36" y="49"/>
                    <a:pt x="36" y="35"/>
                  </a:cubicBezTo>
                  <a:cubicBezTo>
                    <a:pt x="36" y="27"/>
                    <a:pt x="36" y="27"/>
                    <a:pt x="36" y="27"/>
                  </a:cubicBezTo>
                  <a:cubicBezTo>
                    <a:pt x="36" y="13"/>
                    <a:pt x="25" y="1"/>
                    <a:pt x="11" y="1"/>
                  </a:cubicBezTo>
                  <a:cubicBezTo>
                    <a:pt x="0" y="1"/>
                    <a:pt x="19" y="1"/>
                    <a:pt x="48" y="1"/>
                  </a:cubicBezTo>
                  <a:cubicBezTo>
                    <a:pt x="48" y="0"/>
                    <a:pt x="48" y="0"/>
                    <a:pt x="48" y="0"/>
                  </a:cubicBezTo>
                  <a:cubicBezTo>
                    <a:pt x="203" y="0"/>
                    <a:pt x="203" y="0"/>
                    <a:pt x="203" y="0"/>
                  </a:cubicBezTo>
                  <a:cubicBezTo>
                    <a:pt x="292" y="0"/>
                    <a:pt x="292" y="0"/>
                    <a:pt x="292" y="0"/>
                  </a:cubicBezTo>
                  <a:lnTo>
                    <a:pt x="292" y="27"/>
                  </a:ln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10" name="Freeform 16"/>
            <p:cNvSpPr>
              <a:spLocks/>
            </p:cNvSpPr>
            <p:nvPr userDrawn="1"/>
          </p:nvSpPr>
          <p:spPr bwMode="auto">
            <a:xfrm>
              <a:off x="4027" y="1182"/>
              <a:ext cx="367" cy="101"/>
            </a:xfrm>
            <a:custGeom>
              <a:avLst/>
              <a:gdLst>
                <a:gd name="T0" fmla="*/ 208 w 208"/>
                <a:gd name="T1" fmla="*/ 57 h 57"/>
                <a:gd name="T2" fmla="*/ 208 w 208"/>
                <a:gd name="T3" fmla="*/ 25 h 57"/>
                <a:gd name="T4" fmla="*/ 182 w 208"/>
                <a:gd name="T5" fmla="*/ 0 h 57"/>
                <a:gd name="T6" fmla="*/ 37 w 208"/>
                <a:gd name="T7" fmla="*/ 0 h 57"/>
                <a:gd name="T8" fmla="*/ 12 w 208"/>
                <a:gd name="T9" fmla="*/ 25 h 57"/>
                <a:gd name="T10" fmla="*/ 12 w 208"/>
                <a:gd name="T11" fmla="*/ 31 h 57"/>
                <a:gd name="T12" fmla="*/ 0 w 208"/>
                <a:gd name="T13" fmla="*/ 57 h 57"/>
                <a:gd name="T14" fmla="*/ 208 w 208"/>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8" h="57">
                  <a:moveTo>
                    <a:pt x="208" y="57"/>
                  </a:moveTo>
                  <a:cubicBezTo>
                    <a:pt x="208" y="25"/>
                    <a:pt x="208" y="25"/>
                    <a:pt x="208" y="25"/>
                  </a:cubicBezTo>
                  <a:cubicBezTo>
                    <a:pt x="208" y="11"/>
                    <a:pt x="196" y="0"/>
                    <a:pt x="182" y="0"/>
                  </a:cubicBezTo>
                  <a:cubicBezTo>
                    <a:pt x="37" y="0"/>
                    <a:pt x="37" y="0"/>
                    <a:pt x="37" y="0"/>
                  </a:cubicBezTo>
                  <a:cubicBezTo>
                    <a:pt x="23" y="0"/>
                    <a:pt x="12" y="11"/>
                    <a:pt x="12" y="25"/>
                  </a:cubicBezTo>
                  <a:cubicBezTo>
                    <a:pt x="12" y="31"/>
                    <a:pt x="12" y="31"/>
                    <a:pt x="12" y="31"/>
                  </a:cubicBezTo>
                  <a:cubicBezTo>
                    <a:pt x="12" y="41"/>
                    <a:pt x="7" y="51"/>
                    <a:pt x="0" y="57"/>
                  </a:cubicBezTo>
                  <a:lnTo>
                    <a:pt x="208" y="57"/>
                  </a:ln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11" name="Freeform 17"/>
            <p:cNvSpPr>
              <a:spLocks/>
            </p:cNvSpPr>
            <p:nvPr userDrawn="1"/>
          </p:nvSpPr>
          <p:spPr bwMode="auto">
            <a:xfrm>
              <a:off x="3212" y="1716"/>
              <a:ext cx="828" cy="348"/>
            </a:xfrm>
            <a:custGeom>
              <a:avLst/>
              <a:gdLst>
                <a:gd name="T0" fmla="*/ 469 w 469"/>
                <a:gd name="T1" fmla="*/ 88 h 197"/>
                <a:gd name="T2" fmla="*/ 469 w 469"/>
                <a:gd name="T3" fmla="*/ 128 h 197"/>
                <a:gd name="T4" fmla="*/ 440 w 469"/>
                <a:gd name="T5" fmla="*/ 127 h 197"/>
                <a:gd name="T6" fmla="*/ 437 w 469"/>
                <a:gd name="T7" fmla="*/ 127 h 197"/>
                <a:gd name="T8" fmla="*/ 403 w 469"/>
                <a:gd name="T9" fmla="*/ 161 h 197"/>
                <a:gd name="T10" fmla="*/ 403 w 469"/>
                <a:gd name="T11" fmla="*/ 167 h 197"/>
                <a:gd name="T12" fmla="*/ 373 w 469"/>
                <a:gd name="T13" fmla="*/ 197 h 197"/>
                <a:gd name="T14" fmla="*/ 135 w 469"/>
                <a:gd name="T15" fmla="*/ 197 h 197"/>
                <a:gd name="T16" fmla="*/ 135 w 469"/>
                <a:gd name="T17" fmla="*/ 167 h 197"/>
                <a:gd name="T18" fmla="*/ 135 w 469"/>
                <a:gd name="T19" fmla="*/ 161 h 197"/>
                <a:gd name="T20" fmla="*/ 101 w 469"/>
                <a:gd name="T21" fmla="*/ 127 h 197"/>
                <a:gd name="T22" fmla="*/ 94 w 469"/>
                <a:gd name="T23" fmla="*/ 127 h 197"/>
                <a:gd name="T24" fmla="*/ 65 w 469"/>
                <a:gd name="T25" fmla="*/ 100 h 197"/>
                <a:gd name="T26" fmla="*/ 31 w 469"/>
                <a:gd name="T27" fmla="*/ 69 h 197"/>
                <a:gd name="T28" fmla="*/ 29 w 469"/>
                <a:gd name="T29" fmla="*/ 69 h 197"/>
                <a:gd name="T30" fmla="*/ 0 w 469"/>
                <a:gd name="T31" fmla="*/ 39 h 197"/>
                <a:gd name="T32" fmla="*/ 0 w 469"/>
                <a:gd name="T33" fmla="*/ 29 h 197"/>
                <a:gd name="T34" fmla="*/ 29 w 469"/>
                <a:gd name="T35" fmla="*/ 0 h 197"/>
                <a:gd name="T36" fmla="*/ 169 w 469"/>
                <a:gd name="T37" fmla="*/ 0 h 197"/>
                <a:gd name="T38" fmla="*/ 190 w 469"/>
                <a:gd name="T39" fmla="*/ 0 h 197"/>
                <a:gd name="T40" fmla="*/ 238 w 469"/>
                <a:gd name="T41" fmla="*/ 0 h 197"/>
                <a:gd name="T42" fmla="*/ 267 w 469"/>
                <a:gd name="T43" fmla="*/ 27 h 197"/>
                <a:gd name="T44" fmla="*/ 301 w 469"/>
                <a:gd name="T45" fmla="*/ 58 h 197"/>
                <a:gd name="T46" fmla="*/ 440 w 469"/>
                <a:gd name="T47" fmla="*/ 58 h 197"/>
                <a:gd name="T48" fmla="*/ 469 w 469"/>
                <a:gd name="T49" fmla="*/ 8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69" h="197">
                  <a:moveTo>
                    <a:pt x="469" y="88"/>
                  </a:moveTo>
                  <a:cubicBezTo>
                    <a:pt x="469" y="128"/>
                    <a:pt x="469" y="128"/>
                    <a:pt x="469" y="128"/>
                  </a:cubicBezTo>
                  <a:cubicBezTo>
                    <a:pt x="440" y="127"/>
                    <a:pt x="440" y="127"/>
                    <a:pt x="440" y="127"/>
                  </a:cubicBezTo>
                  <a:cubicBezTo>
                    <a:pt x="437" y="127"/>
                    <a:pt x="437" y="127"/>
                    <a:pt x="437" y="127"/>
                  </a:cubicBezTo>
                  <a:cubicBezTo>
                    <a:pt x="418" y="127"/>
                    <a:pt x="403" y="143"/>
                    <a:pt x="403" y="161"/>
                  </a:cubicBezTo>
                  <a:cubicBezTo>
                    <a:pt x="403" y="167"/>
                    <a:pt x="403" y="167"/>
                    <a:pt x="403" y="167"/>
                  </a:cubicBezTo>
                  <a:cubicBezTo>
                    <a:pt x="403" y="183"/>
                    <a:pt x="390" y="197"/>
                    <a:pt x="373" y="197"/>
                  </a:cubicBezTo>
                  <a:cubicBezTo>
                    <a:pt x="135" y="197"/>
                    <a:pt x="135" y="197"/>
                    <a:pt x="135" y="197"/>
                  </a:cubicBezTo>
                  <a:cubicBezTo>
                    <a:pt x="135" y="167"/>
                    <a:pt x="135" y="167"/>
                    <a:pt x="135" y="167"/>
                  </a:cubicBezTo>
                  <a:cubicBezTo>
                    <a:pt x="135" y="161"/>
                    <a:pt x="135" y="161"/>
                    <a:pt x="135" y="161"/>
                  </a:cubicBezTo>
                  <a:cubicBezTo>
                    <a:pt x="135" y="143"/>
                    <a:pt x="120" y="127"/>
                    <a:pt x="101" y="127"/>
                  </a:cubicBezTo>
                  <a:cubicBezTo>
                    <a:pt x="94" y="127"/>
                    <a:pt x="94" y="127"/>
                    <a:pt x="94" y="127"/>
                  </a:cubicBezTo>
                  <a:cubicBezTo>
                    <a:pt x="79" y="127"/>
                    <a:pt x="66" y="115"/>
                    <a:pt x="65" y="100"/>
                  </a:cubicBezTo>
                  <a:cubicBezTo>
                    <a:pt x="63" y="82"/>
                    <a:pt x="49" y="69"/>
                    <a:pt x="31" y="69"/>
                  </a:cubicBezTo>
                  <a:cubicBezTo>
                    <a:pt x="29" y="69"/>
                    <a:pt x="29" y="69"/>
                    <a:pt x="29" y="69"/>
                  </a:cubicBezTo>
                  <a:cubicBezTo>
                    <a:pt x="13" y="69"/>
                    <a:pt x="0" y="56"/>
                    <a:pt x="0" y="39"/>
                  </a:cubicBezTo>
                  <a:cubicBezTo>
                    <a:pt x="0" y="29"/>
                    <a:pt x="0" y="29"/>
                    <a:pt x="0" y="29"/>
                  </a:cubicBezTo>
                  <a:cubicBezTo>
                    <a:pt x="0" y="13"/>
                    <a:pt x="13" y="0"/>
                    <a:pt x="29" y="0"/>
                  </a:cubicBezTo>
                  <a:cubicBezTo>
                    <a:pt x="169" y="0"/>
                    <a:pt x="169" y="0"/>
                    <a:pt x="169" y="0"/>
                  </a:cubicBezTo>
                  <a:cubicBezTo>
                    <a:pt x="190" y="0"/>
                    <a:pt x="190" y="0"/>
                    <a:pt x="190" y="0"/>
                  </a:cubicBezTo>
                  <a:cubicBezTo>
                    <a:pt x="238" y="0"/>
                    <a:pt x="238" y="0"/>
                    <a:pt x="238" y="0"/>
                  </a:cubicBezTo>
                  <a:cubicBezTo>
                    <a:pt x="253" y="0"/>
                    <a:pt x="266" y="12"/>
                    <a:pt x="267" y="27"/>
                  </a:cubicBezTo>
                  <a:cubicBezTo>
                    <a:pt x="269" y="45"/>
                    <a:pt x="284" y="58"/>
                    <a:pt x="301" y="58"/>
                  </a:cubicBezTo>
                  <a:cubicBezTo>
                    <a:pt x="440" y="58"/>
                    <a:pt x="440" y="58"/>
                    <a:pt x="440" y="58"/>
                  </a:cubicBezTo>
                  <a:cubicBezTo>
                    <a:pt x="456" y="58"/>
                    <a:pt x="469" y="71"/>
                    <a:pt x="469" y="88"/>
                  </a:cubicBezTo>
                  <a:close/>
                </a:path>
              </a:pathLst>
            </a:custGeom>
            <a:solidFill>
              <a:schemeClr val="accent3"/>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12" name="Freeform 18"/>
            <p:cNvSpPr>
              <a:spLocks/>
            </p:cNvSpPr>
            <p:nvPr userDrawn="1"/>
          </p:nvSpPr>
          <p:spPr bwMode="auto">
            <a:xfrm>
              <a:off x="3807" y="1942"/>
              <a:ext cx="579" cy="207"/>
            </a:xfrm>
            <a:custGeom>
              <a:avLst/>
              <a:gdLst>
                <a:gd name="T0" fmla="*/ 0 w 328"/>
                <a:gd name="T1" fmla="*/ 69 h 117"/>
                <a:gd name="T2" fmla="*/ 0 w 328"/>
                <a:gd name="T3" fmla="*/ 117 h 117"/>
                <a:gd name="T4" fmla="*/ 101 w 328"/>
                <a:gd name="T5" fmla="*/ 117 h 117"/>
                <a:gd name="T6" fmla="*/ 122 w 328"/>
                <a:gd name="T7" fmla="*/ 117 h 117"/>
                <a:gd name="T8" fmla="*/ 170 w 328"/>
                <a:gd name="T9" fmla="*/ 117 h 117"/>
                <a:gd name="T10" fmla="*/ 199 w 328"/>
                <a:gd name="T11" fmla="*/ 90 h 117"/>
                <a:gd name="T12" fmla="*/ 233 w 328"/>
                <a:gd name="T13" fmla="*/ 59 h 117"/>
                <a:gd name="T14" fmla="*/ 328 w 328"/>
                <a:gd name="T15" fmla="*/ 59 h 117"/>
                <a:gd name="T16" fmla="*/ 328 w 328"/>
                <a:gd name="T17" fmla="*/ 0 h 117"/>
                <a:gd name="T18" fmla="*/ 222 w 328"/>
                <a:gd name="T19" fmla="*/ 0 h 117"/>
                <a:gd name="T20" fmla="*/ 94 w 328"/>
                <a:gd name="T21" fmla="*/ 0 h 117"/>
                <a:gd name="T22" fmla="*/ 66 w 328"/>
                <a:gd name="T23" fmla="*/ 33 h 117"/>
                <a:gd name="T24" fmla="*/ 66 w 328"/>
                <a:gd name="T25" fmla="*/ 39 h 117"/>
                <a:gd name="T26" fmla="*/ 36 w 328"/>
                <a:gd name="T27" fmla="*/ 69 h 117"/>
                <a:gd name="T28" fmla="*/ 0 w 328"/>
                <a:gd name="T29" fmla="*/ 69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8" h="117">
                  <a:moveTo>
                    <a:pt x="0" y="69"/>
                  </a:moveTo>
                  <a:cubicBezTo>
                    <a:pt x="0" y="117"/>
                    <a:pt x="0" y="117"/>
                    <a:pt x="0" y="117"/>
                  </a:cubicBezTo>
                  <a:cubicBezTo>
                    <a:pt x="101" y="117"/>
                    <a:pt x="101" y="117"/>
                    <a:pt x="101" y="117"/>
                  </a:cubicBezTo>
                  <a:cubicBezTo>
                    <a:pt x="122" y="117"/>
                    <a:pt x="122" y="117"/>
                    <a:pt x="122" y="117"/>
                  </a:cubicBezTo>
                  <a:cubicBezTo>
                    <a:pt x="170" y="117"/>
                    <a:pt x="170" y="117"/>
                    <a:pt x="170" y="117"/>
                  </a:cubicBezTo>
                  <a:cubicBezTo>
                    <a:pt x="186" y="117"/>
                    <a:pt x="198" y="105"/>
                    <a:pt x="199" y="90"/>
                  </a:cubicBezTo>
                  <a:cubicBezTo>
                    <a:pt x="201" y="73"/>
                    <a:pt x="216" y="59"/>
                    <a:pt x="233" y="59"/>
                  </a:cubicBezTo>
                  <a:cubicBezTo>
                    <a:pt x="328" y="59"/>
                    <a:pt x="328" y="59"/>
                    <a:pt x="328" y="59"/>
                  </a:cubicBezTo>
                  <a:cubicBezTo>
                    <a:pt x="328" y="0"/>
                    <a:pt x="328" y="0"/>
                    <a:pt x="328" y="0"/>
                  </a:cubicBezTo>
                  <a:cubicBezTo>
                    <a:pt x="222" y="0"/>
                    <a:pt x="222" y="0"/>
                    <a:pt x="222" y="0"/>
                  </a:cubicBezTo>
                  <a:cubicBezTo>
                    <a:pt x="94" y="0"/>
                    <a:pt x="94" y="0"/>
                    <a:pt x="94" y="0"/>
                  </a:cubicBezTo>
                  <a:cubicBezTo>
                    <a:pt x="79" y="3"/>
                    <a:pt x="66" y="17"/>
                    <a:pt x="66" y="33"/>
                  </a:cubicBezTo>
                  <a:cubicBezTo>
                    <a:pt x="66" y="39"/>
                    <a:pt x="66" y="39"/>
                    <a:pt x="66" y="39"/>
                  </a:cubicBezTo>
                  <a:cubicBezTo>
                    <a:pt x="66" y="55"/>
                    <a:pt x="53" y="69"/>
                    <a:pt x="36" y="69"/>
                  </a:cubicBezTo>
                  <a:lnTo>
                    <a:pt x="0" y="69"/>
                  </a:lnTo>
                  <a:close/>
                </a:path>
              </a:pathLst>
            </a:custGeom>
            <a:solidFill>
              <a:schemeClr val="bg1">
                <a:lumMod val="85000"/>
              </a:schemeClr>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13" name="Freeform 19"/>
            <p:cNvSpPr>
              <a:spLocks/>
            </p:cNvSpPr>
            <p:nvPr userDrawn="1"/>
          </p:nvSpPr>
          <p:spPr bwMode="auto">
            <a:xfrm>
              <a:off x="3448" y="1283"/>
              <a:ext cx="1171" cy="659"/>
            </a:xfrm>
            <a:custGeom>
              <a:avLst/>
              <a:gdLst>
                <a:gd name="T0" fmla="*/ 598 w 663"/>
                <a:gd name="T1" fmla="*/ 348 h 373"/>
                <a:gd name="T2" fmla="*/ 572 w 663"/>
                <a:gd name="T3" fmla="*/ 373 h 373"/>
                <a:gd name="T4" fmla="*/ 425 w 663"/>
                <a:gd name="T5" fmla="*/ 373 h 373"/>
                <a:gd name="T6" fmla="*/ 335 w 663"/>
                <a:gd name="T7" fmla="*/ 373 h 373"/>
                <a:gd name="T8" fmla="*/ 335 w 663"/>
                <a:gd name="T9" fmla="*/ 333 h 373"/>
                <a:gd name="T10" fmla="*/ 306 w 663"/>
                <a:gd name="T11" fmla="*/ 303 h 373"/>
                <a:gd name="T12" fmla="*/ 167 w 663"/>
                <a:gd name="T13" fmla="*/ 303 h 373"/>
                <a:gd name="T14" fmla="*/ 133 w 663"/>
                <a:gd name="T15" fmla="*/ 272 h 373"/>
                <a:gd name="T16" fmla="*/ 104 w 663"/>
                <a:gd name="T17" fmla="*/ 245 h 373"/>
                <a:gd name="T18" fmla="*/ 56 w 663"/>
                <a:gd name="T19" fmla="*/ 245 h 373"/>
                <a:gd name="T20" fmla="*/ 35 w 663"/>
                <a:gd name="T21" fmla="*/ 245 h 373"/>
                <a:gd name="T22" fmla="*/ 0 w 663"/>
                <a:gd name="T23" fmla="*/ 245 h 373"/>
                <a:gd name="T24" fmla="*/ 0 w 663"/>
                <a:gd name="T25" fmla="*/ 25 h 373"/>
                <a:gd name="T26" fmla="*/ 25 w 663"/>
                <a:gd name="T27" fmla="*/ 0 h 373"/>
                <a:gd name="T28" fmla="*/ 597 w 663"/>
                <a:gd name="T29" fmla="*/ 0 h 373"/>
                <a:gd name="T30" fmla="*/ 597 w 663"/>
                <a:gd name="T31" fmla="*/ 142 h 373"/>
                <a:gd name="T32" fmla="*/ 597 w 663"/>
                <a:gd name="T33" fmla="*/ 164 h 373"/>
                <a:gd name="T34" fmla="*/ 622 w 663"/>
                <a:gd name="T35" fmla="*/ 189 h 373"/>
                <a:gd name="T36" fmla="*/ 662 w 663"/>
                <a:gd name="T37" fmla="*/ 189 h 373"/>
                <a:gd name="T38" fmla="*/ 663 w 663"/>
                <a:gd name="T39" fmla="*/ 307 h 373"/>
                <a:gd name="T40" fmla="*/ 628 w 663"/>
                <a:gd name="T41" fmla="*/ 307 h 373"/>
                <a:gd name="T42" fmla="*/ 598 w 663"/>
                <a:gd name="T43" fmla="*/ 335 h 373"/>
                <a:gd name="T44" fmla="*/ 598 w 663"/>
                <a:gd name="T45" fmla="*/ 348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3" h="373">
                  <a:moveTo>
                    <a:pt x="598" y="348"/>
                  </a:moveTo>
                  <a:cubicBezTo>
                    <a:pt x="598" y="362"/>
                    <a:pt x="586" y="373"/>
                    <a:pt x="572" y="373"/>
                  </a:cubicBezTo>
                  <a:cubicBezTo>
                    <a:pt x="425" y="373"/>
                    <a:pt x="425" y="373"/>
                    <a:pt x="425" y="373"/>
                  </a:cubicBezTo>
                  <a:cubicBezTo>
                    <a:pt x="335" y="373"/>
                    <a:pt x="335" y="373"/>
                    <a:pt x="335" y="373"/>
                  </a:cubicBezTo>
                  <a:cubicBezTo>
                    <a:pt x="335" y="333"/>
                    <a:pt x="335" y="333"/>
                    <a:pt x="335" y="333"/>
                  </a:cubicBezTo>
                  <a:cubicBezTo>
                    <a:pt x="335" y="316"/>
                    <a:pt x="322" y="303"/>
                    <a:pt x="306" y="303"/>
                  </a:cubicBezTo>
                  <a:cubicBezTo>
                    <a:pt x="167" y="303"/>
                    <a:pt x="167" y="303"/>
                    <a:pt x="167" y="303"/>
                  </a:cubicBezTo>
                  <a:cubicBezTo>
                    <a:pt x="150" y="303"/>
                    <a:pt x="135" y="290"/>
                    <a:pt x="133" y="272"/>
                  </a:cubicBezTo>
                  <a:cubicBezTo>
                    <a:pt x="132" y="257"/>
                    <a:pt x="119" y="245"/>
                    <a:pt x="104" y="245"/>
                  </a:cubicBezTo>
                  <a:cubicBezTo>
                    <a:pt x="56" y="245"/>
                    <a:pt x="56" y="245"/>
                    <a:pt x="56" y="245"/>
                  </a:cubicBezTo>
                  <a:cubicBezTo>
                    <a:pt x="35" y="245"/>
                    <a:pt x="35" y="245"/>
                    <a:pt x="35" y="245"/>
                  </a:cubicBezTo>
                  <a:cubicBezTo>
                    <a:pt x="0" y="245"/>
                    <a:pt x="0" y="245"/>
                    <a:pt x="0" y="245"/>
                  </a:cubicBezTo>
                  <a:cubicBezTo>
                    <a:pt x="0" y="25"/>
                    <a:pt x="0" y="25"/>
                    <a:pt x="0" y="25"/>
                  </a:cubicBezTo>
                  <a:cubicBezTo>
                    <a:pt x="0" y="11"/>
                    <a:pt x="11" y="0"/>
                    <a:pt x="25" y="0"/>
                  </a:cubicBezTo>
                  <a:cubicBezTo>
                    <a:pt x="597" y="0"/>
                    <a:pt x="597" y="0"/>
                    <a:pt x="597" y="0"/>
                  </a:cubicBezTo>
                  <a:cubicBezTo>
                    <a:pt x="597" y="142"/>
                    <a:pt x="597" y="142"/>
                    <a:pt x="597" y="142"/>
                  </a:cubicBezTo>
                  <a:cubicBezTo>
                    <a:pt x="597" y="164"/>
                    <a:pt x="597" y="164"/>
                    <a:pt x="597" y="164"/>
                  </a:cubicBezTo>
                  <a:cubicBezTo>
                    <a:pt x="597" y="178"/>
                    <a:pt x="608" y="189"/>
                    <a:pt x="622" y="189"/>
                  </a:cubicBezTo>
                  <a:cubicBezTo>
                    <a:pt x="662" y="189"/>
                    <a:pt x="662" y="189"/>
                    <a:pt x="662" y="189"/>
                  </a:cubicBezTo>
                  <a:cubicBezTo>
                    <a:pt x="663" y="307"/>
                    <a:pt x="663" y="307"/>
                    <a:pt x="663" y="307"/>
                  </a:cubicBezTo>
                  <a:cubicBezTo>
                    <a:pt x="628" y="307"/>
                    <a:pt x="628" y="307"/>
                    <a:pt x="628" y="307"/>
                  </a:cubicBezTo>
                  <a:cubicBezTo>
                    <a:pt x="612" y="307"/>
                    <a:pt x="598" y="319"/>
                    <a:pt x="598" y="335"/>
                  </a:cubicBezTo>
                  <a:lnTo>
                    <a:pt x="598" y="348"/>
                  </a:lnTo>
                  <a:close/>
                </a:path>
              </a:pathLst>
            </a:custGeom>
            <a:solidFill>
              <a:schemeClr val="accent3"/>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14" name="Freeform 20"/>
            <p:cNvSpPr>
              <a:spLocks/>
            </p:cNvSpPr>
            <p:nvPr userDrawn="1"/>
          </p:nvSpPr>
          <p:spPr bwMode="auto">
            <a:xfrm>
              <a:off x="2624" y="1281"/>
              <a:ext cx="824" cy="873"/>
            </a:xfrm>
            <a:custGeom>
              <a:avLst/>
              <a:gdLst>
                <a:gd name="T0" fmla="*/ 68 w 467"/>
                <a:gd name="T1" fmla="*/ 156 h 494"/>
                <a:gd name="T2" fmla="*/ 68 w 467"/>
                <a:gd name="T3" fmla="*/ 70 h 494"/>
                <a:gd name="T4" fmla="*/ 93 w 467"/>
                <a:gd name="T5" fmla="*/ 69 h 494"/>
                <a:gd name="T6" fmla="*/ 104 w 467"/>
                <a:gd name="T7" fmla="*/ 69 h 494"/>
                <a:gd name="T8" fmla="*/ 136 w 467"/>
                <a:gd name="T9" fmla="*/ 37 h 494"/>
                <a:gd name="T10" fmla="*/ 136 w 467"/>
                <a:gd name="T11" fmla="*/ 30 h 494"/>
                <a:gd name="T12" fmla="*/ 118 w 467"/>
                <a:gd name="T13" fmla="*/ 1 h 494"/>
                <a:gd name="T14" fmla="*/ 369 w 467"/>
                <a:gd name="T15" fmla="*/ 0 h 494"/>
                <a:gd name="T16" fmla="*/ 399 w 467"/>
                <a:gd name="T17" fmla="*/ 30 h 494"/>
                <a:gd name="T18" fmla="*/ 399 w 467"/>
                <a:gd name="T19" fmla="*/ 37 h 494"/>
                <a:gd name="T20" fmla="*/ 431 w 467"/>
                <a:gd name="T21" fmla="*/ 69 h 494"/>
                <a:gd name="T22" fmla="*/ 442 w 467"/>
                <a:gd name="T23" fmla="*/ 69 h 494"/>
                <a:gd name="T24" fmla="*/ 467 w 467"/>
                <a:gd name="T25" fmla="*/ 57 h 494"/>
                <a:gd name="T26" fmla="*/ 467 w 467"/>
                <a:gd name="T27" fmla="*/ 246 h 494"/>
                <a:gd name="T28" fmla="*/ 362 w 467"/>
                <a:gd name="T29" fmla="*/ 246 h 494"/>
                <a:gd name="T30" fmla="*/ 333 w 467"/>
                <a:gd name="T31" fmla="*/ 275 h 494"/>
                <a:gd name="T32" fmla="*/ 333 w 467"/>
                <a:gd name="T33" fmla="*/ 285 h 494"/>
                <a:gd name="T34" fmla="*/ 362 w 467"/>
                <a:gd name="T35" fmla="*/ 315 h 494"/>
                <a:gd name="T36" fmla="*/ 364 w 467"/>
                <a:gd name="T37" fmla="*/ 315 h 494"/>
                <a:gd name="T38" fmla="*/ 398 w 467"/>
                <a:gd name="T39" fmla="*/ 346 h 494"/>
                <a:gd name="T40" fmla="*/ 427 w 467"/>
                <a:gd name="T41" fmla="*/ 373 h 494"/>
                <a:gd name="T42" fmla="*/ 434 w 467"/>
                <a:gd name="T43" fmla="*/ 373 h 494"/>
                <a:gd name="T44" fmla="*/ 467 w 467"/>
                <a:gd name="T45" fmla="*/ 401 h 494"/>
                <a:gd name="T46" fmla="*/ 467 w 467"/>
                <a:gd name="T47" fmla="*/ 464 h 494"/>
                <a:gd name="T48" fmla="*/ 438 w 467"/>
                <a:gd name="T49" fmla="*/ 494 h 494"/>
                <a:gd name="T50" fmla="*/ 312 w 467"/>
                <a:gd name="T51" fmla="*/ 494 h 494"/>
                <a:gd name="T52" fmla="*/ 309 w 467"/>
                <a:gd name="T53" fmla="*/ 494 h 494"/>
                <a:gd name="T54" fmla="*/ 303 w 467"/>
                <a:gd name="T55" fmla="*/ 494 h 494"/>
                <a:gd name="T56" fmla="*/ 69 w 467"/>
                <a:gd name="T57" fmla="*/ 494 h 494"/>
                <a:gd name="T58" fmla="*/ 69 w 467"/>
                <a:gd name="T59" fmla="*/ 467 h 494"/>
                <a:gd name="T60" fmla="*/ 35 w 467"/>
                <a:gd name="T61" fmla="*/ 433 h 494"/>
                <a:gd name="T62" fmla="*/ 30 w 467"/>
                <a:gd name="T63" fmla="*/ 433 h 494"/>
                <a:gd name="T64" fmla="*/ 0 w 467"/>
                <a:gd name="T65" fmla="*/ 404 h 494"/>
                <a:gd name="T66" fmla="*/ 0 w 467"/>
                <a:gd name="T67" fmla="*/ 220 h 494"/>
                <a:gd name="T68" fmla="*/ 30 w 467"/>
                <a:gd name="T69" fmla="*/ 190 h 494"/>
                <a:gd name="T70" fmla="*/ 34 w 467"/>
                <a:gd name="T71" fmla="*/ 190 h 494"/>
                <a:gd name="T72" fmla="*/ 68 w 467"/>
                <a:gd name="T73" fmla="*/ 156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7" h="494">
                  <a:moveTo>
                    <a:pt x="68" y="156"/>
                  </a:moveTo>
                  <a:cubicBezTo>
                    <a:pt x="68" y="70"/>
                    <a:pt x="68" y="70"/>
                    <a:pt x="68" y="70"/>
                  </a:cubicBezTo>
                  <a:cubicBezTo>
                    <a:pt x="93" y="69"/>
                    <a:pt x="93" y="69"/>
                    <a:pt x="93" y="69"/>
                  </a:cubicBezTo>
                  <a:cubicBezTo>
                    <a:pt x="104" y="69"/>
                    <a:pt x="104" y="69"/>
                    <a:pt x="104" y="69"/>
                  </a:cubicBezTo>
                  <a:cubicBezTo>
                    <a:pt x="121" y="69"/>
                    <a:pt x="136" y="55"/>
                    <a:pt x="136" y="37"/>
                  </a:cubicBezTo>
                  <a:cubicBezTo>
                    <a:pt x="136" y="30"/>
                    <a:pt x="136" y="30"/>
                    <a:pt x="136" y="30"/>
                  </a:cubicBezTo>
                  <a:cubicBezTo>
                    <a:pt x="136" y="17"/>
                    <a:pt x="128" y="6"/>
                    <a:pt x="118" y="1"/>
                  </a:cubicBezTo>
                  <a:cubicBezTo>
                    <a:pt x="194" y="1"/>
                    <a:pt x="293" y="0"/>
                    <a:pt x="369" y="0"/>
                  </a:cubicBezTo>
                  <a:cubicBezTo>
                    <a:pt x="395" y="1"/>
                    <a:pt x="399" y="17"/>
                    <a:pt x="399" y="30"/>
                  </a:cubicBezTo>
                  <a:cubicBezTo>
                    <a:pt x="399" y="37"/>
                    <a:pt x="399" y="37"/>
                    <a:pt x="399" y="37"/>
                  </a:cubicBezTo>
                  <a:cubicBezTo>
                    <a:pt x="399" y="55"/>
                    <a:pt x="413" y="69"/>
                    <a:pt x="431" y="69"/>
                  </a:cubicBezTo>
                  <a:cubicBezTo>
                    <a:pt x="442" y="69"/>
                    <a:pt x="442" y="69"/>
                    <a:pt x="442" y="69"/>
                  </a:cubicBezTo>
                  <a:cubicBezTo>
                    <a:pt x="452" y="69"/>
                    <a:pt x="462" y="64"/>
                    <a:pt x="467" y="57"/>
                  </a:cubicBezTo>
                  <a:cubicBezTo>
                    <a:pt x="467" y="246"/>
                    <a:pt x="467" y="246"/>
                    <a:pt x="467" y="246"/>
                  </a:cubicBezTo>
                  <a:cubicBezTo>
                    <a:pt x="362" y="246"/>
                    <a:pt x="362" y="246"/>
                    <a:pt x="362" y="246"/>
                  </a:cubicBezTo>
                  <a:cubicBezTo>
                    <a:pt x="346" y="246"/>
                    <a:pt x="333" y="259"/>
                    <a:pt x="333" y="275"/>
                  </a:cubicBezTo>
                  <a:cubicBezTo>
                    <a:pt x="333" y="285"/>
                    <a:pt x="333" y="285"/>
                    <a:pt x="333" y="285"/>
                  </a:cubicBezTo>
                  <a:cubicBezTo>
                    <a:pt x="333" y="302"/>
                    <a:pt x="346" y="315"/>
                    <a:pt x="362" y="315"/>
                  </a:cubicBezTo>
                  <a:cubicBezTo>
                    <a:pt x="364" y="315"/>
                    <a:pt x="364" y="315"/>
                    <a:pt x="364" y="315"/>
                  </a:cubicBezTo>
                  <a:cubicBezTo>
                    <a:pt x="382" y="315"/>
                    <a:pt x="396" y="328"/>
                    <a:pt x="398" y="346"/>
                  </a:cubicBezTo>
                  <a:cubicBezTo>
                    <a:pt x="399" y="361"/>
                    <a:pt x="412" y="373"/>
                    <a:pt x="427" y="373"/>
                  </a:cubicBezTo>
                  <a:cubicBezTo>
                    <a:pt x="434" y="373"/>
                    <a:pt x="434" y="373"/>
                    <a:pt x="434" y="373"/>
                  </a:cubicBezTo>
                  <a:cubicBezTo>
                    <a:pt x="450" y="373"/>
                    <a:pt x="464" y="385"/>
                    <a:pt x="467" y="401"/>
                  </a:cubicBezTo>
                  <a:cubicBezTo>
                    <a:pt x="467" y="464"/>
                    <a:pt x="467" y="464"/>
                    <a:pt x="467" y="464"/>
                  </a:cubicBezTo>
                  <a:cubicBezTo>
                    <a:pt x="467" y="480"/>
                    <a:pt x="454" y="494"/>
                    <a:pt x="438" y="494"/>
                  </a:cubicBezTo>
                  <a:cubicBezTo>
                    <a:pt x="312" y="494"/>
                    <a:pt x="312" y="494"/>
                    <a:pt x="312" y="494"/>
                  </a:cubicBezTo>
                  <a:cubicBezTo>
                    <a:pt x="311" y="494"/>
                    <a:pt x="310" y="494"/>
                    <a:pt x="309" y="494"/>
                  </a:cubicBezTo>
                  <a:cubicBezTo>
                    <a:pt x="307" y="494"/>
                    <a:pt x="305" y="494"/>
                    <a:pt x="303" y="494"/>
                  </a:cubicBezTo>
                  <a:cubicBezTo>
                    <a:pt x="69" y="494"/>
                    <a:pt x="69" y="494"/>
                    <a:pt x="69" y="494"/>
                  </a:cubicBezTo>
                  <a:cubicBezTo>
                    <a:pt x="69" y="467"/>
                    <a:pt x="69" y="467"/>
                    <a:pt x="69" y="467"/>
                  </a:cubicBezTo>
                  <a:cubicBezTo>
                    <a:pt x="69" y="449"/>
                    <a:pt x="53" y="433"/>
                    <a:pt x="35" y="433"/>
                  </a:cubicBezTo>
                  <a:cubicBezTo>
                    <a:pt x="30" y="433"/>
                    <a:pt x="30" y="433"/>
                    <a:pt x="30" y="433"/>
                  </a:cubicBezTo>
                  <a:cubicBezTo>
                    <a:pt x="14" y="433"/>
                    <a:pt x="0" y="420"/>
                    <a:pt x="0" y="404"/>
                  </a:cubicBezTo>
                  <a:cubicBezTo>
                    <a:pt x="0" y="220"/>
                    <a:pt x="0" y="220"/>
                    <a:pt x="0" y="220"/>
                  </a:cubicBezTo>
                  <a:cubicBezTo>
                    <a:pt x="0" y="204"/>
                    <a:pt x="14" y="190"/>
                    <a:pt x="30" y="190"/>
                  </a:cubicBezTo>
                  <a:cubicBezTo>
                    <a:pt x="34" y="190"/>
                    <a:pt x="34" y="190"/>
                    <a:pt x="34" y="190"/>
                  </a:cubicBezTo>
                  <a:cubicBezTo>
                    <a:pt x="53" y="190"/>
                    <a:pt x="68" y="175"/>
                    <a:pt x="68" y="156"/>
                  </a:cubicBezTo>
                  <a:close/>
                </a:path>
              </a:pathLst>
            </a:custGeom>
            <a:solidFill>
              <a:schemeClr val="accent3">
                <a:lumMod val="50000"/>
              </a:schemeClr>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15" name="Freeform 21"/>
            <p:cNvSpPr>
              <a:spLocks/>
            </p:cNvSpPr>
            <p:nvPr userDrawn="1"/>
          </p:nvSpPr>
          <p:spPr bwMode="auto">
            <a:xfrm>
              <a:off x="2753" y="861"/>
              <a:ext cx="226" cy="422"/>
            </a:xfrm>
            <a:custGeom>
              <a:avLst/>
              <a:gdLst>
                <a:gd name="T0" fmla="*/ 128 w 128"/>
                <a:gd name="T1" fmla="*/ 239 h 239"/>
                <a:gd name="T2" fmla="*/ 128 w 128"/>
                <a:gd name="T3" fmla="*/ 24 h 239"/>
                <a:gd name="T4" fmla="*/ 104 w 128"/>
                <a:gd name="T5" fmla="*/ 0 h 239"/>
                <a:gd name="T6" fmla="*/ 96 w 128"/>
                <a:gd name="T7" fmla="*/ 0 h 239"/>
                <a:gd name="T8" fmla="*/ 71 w 128"/>
                <a:gd name="T9" fmla="*/ 24 h 239"/>
                <a:gd name="T10" fmla="*/ 71 w 128"/>
                <a:gd name="T11" fmla="*/ 28 h 239"/>
                <a:gd name="T12" fmla="*/ 37 w 128"/>
                <a:gd name="T13" fmla="*/ 62 h 239"/>
                <a:gd name="T14" fmla="*/ 32 w 128"/>
                <a:gd name="T15" fmla="*/ 62 h 239"/>
                <a:gd name="T16" fmla="*/ 0 w 128"/>
                <a:gd name="T17" fmla="*/ 94 h 239"/>
                <a:gd name="T18" fmla="*/ 0 w 128"/>
                <a:gd name="T19" fmla="*/ 194 h 239"/>
                <a:gd name="T20" fmla="*/ 0 w 128"/>
                <a:gd name="T21" fmla="*/ 195 h 239"/>
                <a:gd name="T22" fmla="*/ 0 w 128"/>
                <a:gd name="T23" fmla="*/ 197 h 239"/>
                <a:gd name="T24" fmla="*/ 0 w 128"/>
                <a:gd name="T25" fmla="*/ 198 h 239"/>
                <a:gd name="T26" fmla="*/ 0 w 128"/>
                <a:gd name="T27" fmla="*/ 205 h 239"/>
                <a:gd name="T28" fmla="*/ 32 w 128"/>
                <a:gd name="T29" fmla="*/ 237 h 239"/>
                <a:gd name="T30" fmla="*/ 40 w 128"/>
                <a:gd name="T31" fmla="*/ 237 h 239"/>
                <a:gd name="T32" fmla="*/ 50 w 128"/>
                <a:gd name="T33" fmla="*/ 239 h 239"/>
                <a:gd name="T34" fmla="*/ 128 w 128"/>
                <a:gd name="T35"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39">
                  <a:moveTo>
                    <a:pt x="128" y="239"/>
                  </a:moveTo>
                  <a:cubicBezTo>
                    <a:pt x="128" y="24"/>
                    <a:pt x="128" y="24"/>
                    <a:pt x="128" y="24"/>
                  </a:cubicBezTo>
                  <a:cubicBezTo>
                    <a:pt x="128" y="11"/>
                    <a:pt x="117" y="0"/>
                    <a:pt x="104" y="0"/>
                  </a:cubicBezTo>
                  <a:cubicBezTo>
                    <a:pt x="96" y="0"/>
                    <a:pt x="96" y="0"/>
                    <a:pt x="96" y="0"/>
                  </a:cubicBezTo>
                  <a:cubicBezTo>
                    <a:pt x="82" y="0"/>
                    <a:pt x="71" y="11"/>
                    <a:pt x="71" y="24"/>
                  </a:cubicBezTo>
                  <a:cubicBezTo>
                    <a:pt x="71" y="28"/>
                    <a:pt x="71" y="28"/>
                    <a:pt x="71" y="28"/>
                  </a:cubicBezTo>
                  <a:cubicBezTo>
                    <a:pt x="71" y="47"/>
                    <a:pt x="56" y="62"/>
                    <a:pt x="37" y="62"/>
                  </a:cubicBezTo>
                  <a:cubicBezTo>
                    <a:pt x="32" y="62"/>
                    <a:pt x="32" y="62"/>
                    <a:pt x="32" y="62"/>
                  </a:cubicBezTo>
                  <a:cubicBezTo>
                    <a:pt x="15" y="62"/>
                    <a:pt x="0" y="77"/>
                    <a:pt x="0" y="94"/>
                  </a:cubicBezTo>
                  <a:cubicBezTo>
                    <a:pt x="0" y="194"/>
                    <a:pt x="0" y="194"/>
                    <a:pt x="0" y="194"/>
                  </a:cubicBezTo>
                  <a:cubicBezTo>
                    <a:pt x="0" y="194"/>
                    <a:pt x="0" y="194"/>
                    <a:pt x="0" y="195"/>
                  </a:cubicBezTo>
                  <a:cubicBezTo>
                    <a:pt x="0" y="195"/>
                    <a:pt x="0" y="196"/>
                    <a:pt x="0" y="197"/>
                  </a:cubicBezTo>
                  <a:cubicBezTo>
                    <a:pt x="0" y="197"/>
                    <a:pt x="0" y="197"/>
                    <a:pt x="0" y="198"/>
                  </a:cubicBezTo>
                  <a:cubicBezTo>
                    <a:pt x="0" y="205"/>
                    <a:pt x="0" y="205"/>
                    <a:pt x="0" y="205"/>
                  </a:cubicBezTo>
                  <a:cubicBezTo>
                    <a:pt x="0" y="223"/>
                    <a:pt x="15" y="237"/>
                    <a:pt x="32" y="237"/>
                  </a:cubicBezTo>
                  <a:cubicBezTo>
                    <a:pt x="40" y="237"/>
                    <a:pt x="40" y="237"/>
                    <a:pt x="40" y="237"/>
                  </a:cubicBezTo>
                  <a:cubicBezTo>
                    <a:pt x="43" y="237"/>
                    <a:pt x="47" y="238"/>
                    <a:pt x="50" y="239"/>
                  </a:cubicBezTo>
                  <a:cubicBezTo>
                    <a:pt x="75" y="239"/>
                    <a:pt x="101" y="239"/>
                    <a:pt x="128" y="239"/>
                  </a:cubicBezTo>
                  <a:close/>
                </a:path>
              </a:pathLst>
            </a:custGeom>
            <a:solidFill>
              <a:schemeClr val="accent3"/>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16" name="Freeform 22"/>
            <p:cNvSpPr>
              <a:spLocks/>
            </p:cNvSpPr>
            <p:nvPr userDrawn="1"/>
          </p:nvSpPr>
          <p:spPr bwMode="auto">
            <a:xfrm>
              <a:off x="2875" y="2701"/>
              <a:ext cx="100" cy="204"/>
            </a:xfrm>
            <a:custGeom>
              <a:avLst/>
              <a:gdLst>
                <a:gd name="T0" fmla="*/ 24 w 57"/>
                <a:gd name="T1" fmla="*/ 115 h 115"/>
                <a:gd name="T2" fmla="*/ 32 w 57"/>
                <a:gd name="T3" fmla="*/ 115 h 115"/>
                <a:gd name="T4" fmla="*/ 57 w 57"/>
                <a:gd name="T5" fmla="*/ 91 h 115"/>
                <a:gd name="T6" fmla="*/ 57 w 57"/>
                <a:gd name="T7" fmla="*/ 24 h 115"/>
                <a:gd name="T8" fmla="*/ 32 w 57"/>
                <a:gd name="T9" fmla="*/ 0 h 115"/>
                <a:gd name="T10" fmla="*/ 24 w 57"/>
                <a:gd name="T11" fmla="*/ 0 h 115"/>
                <a:gd name="T12" fmla="*/ 0 w 57"/>
                <a:gd name="T13" fmla="*/ 24 h 115"/>
                <a:gd name="T14" fmla="*/ 0 w 57"/>
                <a:gd name="T15" fmla="*/ 91 h 115"/>
                <a:gd name="T16" fmla="*/ 24 w 57"/>
                <a:gd name="T17"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115">
                  <a:moveTo>
                    <a:pt x="24" y="115"/>
                  </a:moveTo>
                  <a:cubicBezTo>
                    <a:pt x="32" y="115"/>
                    <a:pt x="32" y="115"/>
                    <a:pt x="32" y="115"/>
                  </a:cubicBezTo>
                  <a:cubicBezTo>
                    <a:pt x="46" y="115"/>
                    <a:pt x="57" y="104"/>
                    <a:pt x="57" y="91"/>
                  </a:cubicBezTo>
                  <a:cubicBezTo>
                    <a:pt x="57" y="24"/>
                    <a:pt x="57" y="24"/>
                    <a:pt x="57" y="24"/>
                  </a:cubicBezTo>
                  <a:cubicBezTo>
                    <a:pt x="57" y="11"/>
                    <a:pt x="46" y="0"/>
                    <a:pt x="32" y="0"/>
                  </a:cubicBezTo>
                  <a:cubicBezTo>
                    <a:pt x="24" y="0"/>
                    <a:pt x="24" y="0"/>
                    <a:pt x="24" y="0"/>
                  </a:cubicBezTo>
                  <a:cubicBezTo>
                    <a:pt x="11" y="0"/>
                    <a:pt x="0" y="11"/>
                    <a:pt x="0" y="24"/>
                  </a:cubicBezTo>
                  <a:cubicBezTo>
                    <a:pt x="0" y="91"/>
                    <a:pt x="0" y="91"/>
                    <a:pt x="0" y="91"/>
                  </a:cubicBezTo>
                  <a:cubicBezTo>
                    <a:pt x="0" y="104"/>
                    <a:pt x="11" y="115"/>
                    <a:pt x="24" y="115"/>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17" name="Freeform 23"/>
            <p:cNvSpPr>
              <a:spLocks/>
            </p:cNvSpPr>
            <p:nvPr userDrawn="1"/>
          </p:nvSpPr>
          <p:spPr bwMode="auto">
            <a:xfrm>
              <a:off x="2283" y="1403"/>
              <a:ext cx="461" cy="321"/>
            </a:xfrm>
            <a:custGeom>
              <a:avLst/>
              <a:gdLst>
                <a:gd name="T0" fmla="*/ 139 w 261"/>
                <a:gd name="T1" fmla="*/ 0 h 182"/>
                <a:gd name="T2" fmla="*/ 104 w 261"/>
                <a:gd name="T3" fmla="*/ 35 h 182"/>
                <a:gd name="T4" fmla="*/ 104 w 261"/>
                <a:gd name="T5" fmla="*/ 61 h 182"/>
                <a:gd name="T6" fmla="*/ 35 w 261"/>
                <a:gd name="T7" fmla="*/ 61 h 182"/>
                <a:gd name="T8" fmla="*/ 0 w 261"/>
                <a:gd name="T9" fmla="*/ 96 h 182"/>
                <a:gd name="T10" fmla="*/ 0 w 261"/>
                <a:gd name="T11" fmla="*/ 119 h 182"/>
                <a:gd name="T12" fmla="*/ 98 w 261"/>
                <a:gd name="T13" fmla="*/ 119 h 182"/>
                <a:gd name="T14" fmla="*/ 133 w 261"/>
                <a:gd name="T15" fmla="*/ 154 h 182"/>
                <a:gd name="T16" fmla="*/ 165 w 261"/>
                <a:gd name="T17" fmla="*/ 182 h 182"/>
                <a:gd name="T18" fmla="*/ 193 w 261"/>
                <a:gd name="T19" fmla="*/ 182 h 182"/>
                <a:gd name="T20" fmla="*/ 193 w 261"/>
                <a:gd name="T21" fmla="*/ 151 h 182"/>
                <a:gd name="T22" fmla="*/ 223 w 261"/>
                <a:gd name="T23" fmla="*/ 121 h 182"/>
                <a:gd name="T24" fmla="*/ 227 w 261"/>
                <a:gd name="T25" fmla="*/ 121 h 182"/>
                <a:gd name="T26" fmla="*/ 261 w 261"/>
                <a:gd name="T27" fmla="*/ 87 h 182"/>
                <a:gd name="T28" fmla="*/ 261 w 261"/>
                <a:gd name="T29" fmla="*/ 1 h 182"/>
                <a:gd name="T30" fmla="*/ 139 w 261"/>
                <a:gd name="T31"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182">
                  <a:moveTo>
                    <a:pt x="139" y="0"/>
                  </a:moveTo>
                  <a:cubicBezTo>
                    <a:pt x="120" y="0"/>
                    <a:pt x="104" y="15"/>
                    <a:pt x="104" y="35"/>
                  </a:cubicBezTo>
                  <a:cubicBezTo>
                    <a:pt x="104" y="61"/>
                    <a:pt x="104" y="61"/>
                    <a:pt x="104" y="61"/>
                  </a:cubicBezTo>
                  <a:cubicBezTo>
                    <a:pt x="35" y="61"/>
                    <a:pt x="35" y="61"/>
                    <a:pt x="35" y="61"/>
                  </a:cubicBezTo>
                  <a:cubicBezTo>
                    <a:pt x="16" y="61"/>
                    <a:pt x="0" y="77"/>
                    <a:pt x="0" y="96"/>
                  </a:cubicBezTo>
                  <a:cubicBezTo>
                    <a:pt x="0" y="119"/>
                    <a:pt x="0" y="119"/>
                    <a:pt x="0" y="119"/>
                  </a:cubicBezTo>
                  <a:cubicBezTo>
                    <a:pt x="98" y="119"/>
                    <a:pt x="98" y="119"/>
                    <a:pt x="98" y="119"/>
                  </a:cubicBezTo>
                  <a:cubicBezTo>
                    <a:pt x="117" y="119"/>
                    <a:pt x="133" y="135"/>
                    <a:pt x="133" y="154"/>
                  </a:cubicBezTo>
                  <a:cubicBezTo>
                    <a:pt x="131" y="170"/>
                    <a:pt x="143" y="179"/>
                    <a:pt x="165" y="182"/>
                  </a:cubicBezTo>
                  <a:cubicBezTo>
                    <a:pt x="193" y="182"/>
                    <a:pt x="193" y="182"/>
                    <a:pt x="193" y="182"/>
                  </a:cubicBezTo>
                  <a:cubicBezTo>
                    <a:pt x="193" y="151"/>
                    <a:pt x="193" y="151"/>
                    <a:pt x="193" y="151"/>
                  </a:cubicBezTo>
                  <a:cubicBezTo>
                    <a:pt x="193" y="135"/>
                    <a:pt x="207" y="121"/>
                    <a:pt x="223" y="121"/>
                  </a:cubicBezTo>
                  <a:cubicBezTo>
                    <a:pt x="227" y="121"/>
                    <a:pt x="227" y="121"/>
                    <a:pt x="227" y="121"/>
                  </a:cubicBezTo>
                  <a:cubicBezTo>
                    <a:pt x="246" y="121"/>
                    <a:pt x="261" y="106"/>
                    <a:pt x="261" y="87"/>
                  </a:cubicBezTo>
                  <a:cubicBezTo>
                    <a:pt x="261" y="1"/>
                    <a:pt x="261" y="1"/>
                    <a:pt x="261" y="1"/>
                  </a:cubicBezTo>
                  <a:lnTo>
                    <a:pt x="139" y="0"/>
                  </a:lnTo>
                  <a:close/>
                </a:path>
              </a:pathLst>
            </a:custGeom>
            <a:solidFill>
              <a:schemeClr val="accent3">
                <a:lumMod val="50000"/>
              </a:schemeClr>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18" name="Freeform 24"/>
            <p:cNvSpPr>
              <a:spLocks/>
            </p:cNvSpPr>
            <p:nvPr userDrawn="1"/>
          </p:nvSpPr>
          <p:spPr bwMode="auto">
            <a:xfrm>
              <a:off x="2160" y="1613"/>
              <a:ext cx="464" cy="332"/>
            </a:xfrm>
            <a:custGeom>
              <a:avLst/>
              <a:gdLst>
                <a:gd name="T0" fmla="*/ 263 w 263"/>
                <a:gd name="T1" fmla="*/ 188 h 188"/>
                <a:gd name="T2" fmla="*/ 263 w 263"/>
                <a:gd name="T3" fmla="*/ 63 h 188"/>
                <a:gd name="T4" fmla="*/ 235 w 263"/>
                <a:gd name="T5" fmla="*/ 63 h 188"/>
                <a:gd name="T6" fmla="*/ 203 w 263"/>
                <a:gd name="T7" fmla="*/ 35 h 188"/>
                <a:gd name="T8" fmla="*/ 168 w 263"/>
                <a:gd name="T9" fmla="*/ 0 h 188"/>
                <a:gd name="T10" fmla="*/ 71 w 263"/>
                <a:gd name="T11" fmla="*/ 0 h 188"/>
                <a:gd name="T12" fmla="*/ 71 w 263"/>
                <a:gd name="T13" fmla="*/ 29 h 188"/>
                <a:gd name="T14" fmla="*/ 35 w 263"/>
                <a:gd name="T15" fmla="*/ 66 h 188"/>
                <a:gd name="T16" fmla="*/ 0 w 263"/>
                <a:gd name="T17" fmla="*/ 66 h 188"/>
                <a:gd name="T18" fmla="*/ 0 w 263"/>
                <a:gd name="T19" fmla="*/ 89 h 188"/>
                <a:gd name="T20" fmla="*/ 35 w 263"/>
                <a:gd name="T21" fmla="*/ 124 h 188"/>
                <a:gd name="T22" fmla="*/ 95 w 263"/>
                <a:gd name="T23" fmla="*/ 124 h 188"/>
                <a:gd name="T24" fmla="*/ 134 w 263"/>
                <a:gd name="T25" fmla="*/ 153 h 188"/>
                <a:gd name="T26" fmla="*/ 169 w 263"/>
                <a:gd name="T27" fmla="*/ 188 h 188"/>
                <a:gd name="T28" fmla="*/ 263 w 263"/>
                <a:gd name="T29"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3" h="188">
                  <a:moveTo>
                    <a:pt x="263" y="188"/>
                  </a:moveTo>
                  <a:cubicBezTo>
                    <a:pt x="263" y="63"/>
                    <a:pt x="263" y="63"/>
                    <a:pt x="263" y="63"/>
                  </a:cubicBezTo>
                  <a:cubicBezTo>
                    <a:pt x="235" y="63"/>
                    <a:pt x="235" y="63"/>
                    <a:pt x="235" y="63"/>
                  </a:cubicBezTo>
                  <a:cubicBezTo>
                    <a:pt x="213" y="60"/>
                    <a:pt x="201" y="51"/>
                    <a:pt x="203" y="35"/>
                  </a:cubicBezTo>
                  <a:cubicBezTo>
                    <a:pt x="203" y="16"/>
                    <a:pt x="187" y="0"/>
                    <a:pt x="168" y="0"/>
                  </a:cubicBezTo>
                  <a:cubicBezTo>
                    <a:pt x="71" y="0"/>
                    <a:pt x="71" y="0"/>
                    <a:pt x="71" y="0"/>
                  </a:cubicBezTo>
                  <a:cubicBezTo>
                    <a:pt x="71" y="29"/>
                    <a:pt x="71" y="29"/>
                    <a:pt x="71" y="29"/>
                  </a:cubicBezTo>
                  <a:cubicBezTo>
                    <a:pt x="71" y="48"/>
                    <a:pt x="55" y="66"/>
                    <a:pt x="35" y="66"/>
                  </a:cubicBezTo>
                  <a:cubicBezTo>
                    <a:pt x="0" y="66"/>
                    <a:pt x="0" y="66"/>
                    <a:pt x="0" y="66"/>
                  </a:cubicBezTo>
                  <a:cubicBezTo>
                    <a:pt x="0" y="89"/>
                    <a:pt x="0" y="89"/>
                    <a:pt x="0" y="89"/>
                  </a:cubicBezTo>
                  <a:cubicBezTo>
                    <a:pt x="0" y="108"/>
                    <a:pt x="16" y="124"/>
                    <a:pt x="35" y="124"/>
                  </a:cubicBezTo>
                  <a:cubicBezTo>
                    <a:pt x="95" y="124"/>
                    <a:pt x="95" y="124"/>
                    <a:pt x="95" y="124"/>
                  </a:cubicBezTo>
                  <a:cubicBezTo>
                    <a:pt x="129" y="123"/>
                    <a:pt x="134" y="136"/>
                    <a:pt x="134" y="153"/>
                  </a:cubicBezTo>
                  <a:cubicBezTo>
                    <a:pt x="134" y="172"/>
                    <a:pt x="149" y="188"/>
                    <a:pt x="169" y="188"/>
                  </a:cubicBezTo>
                  <a:lnTo>
                    <a:pt x="263" y="188"/>
                  </a:lnTo>
                  <a:close/>
                </a:path>
              </a:pathLst>
            </a:custGeom>
            <a:solidFill>
              <a:schemeClr val="accent3">
                <a:lumMod val="50000"/>
              </a:schemeClr>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19" name="Freeform 25"/>
            <p:cNvSpPr>
              <a:spLocks/>
            </p:cNvSpPr>
            <p:nvPr userDrawn="1"/>
          </p:nvSpPr>
          <p:spPr bwMode="auto">
            <a:xfrm>
              <a:off x="2511" y="1829"/>
              <a:ext cx="113" cy="116"/>
            </a:xfrm>
            <a:custGeom>
              <a:avLst/>
              <a:gdLst>
                <a:gd name="T0" fmla="*/ 64 w 64"/>
                <a:gd name="T1" fmla="*/ 0 h 66"/>
                <a:gd name="T2" fmla="*/ 25 w 64"/>
                <a:gd name="T3" fmla="*/ 0 h 66"/>
                <a:gd name="T4" fmla="*/ 0 w 64"/>
                <a:gd name="T5" fmla="*/ 24 h 66"/>
                <a:gd name="T6" fmla="*/ 0 w 64"/>
                <a:gd name="T7" fmla="*/ 66 h 66"/>
                <a:gd name="T8" fmla="*/ 64 w 64"/>
                <a:gd name="T9" fmla="*/ 66 h 66"/>
                <a:gd name="T10" fmla="*/ 64 w 64"/>
                <a:gd name="T11" fmla="*/ 0 h 66"/>
              </a:gdLst>
              <a:ahLst/>
              <a:cxnLst>
                <a:cxn ang="0">
                  <a:pos x="T0" y="T1"/>
                </a:cxn>
                <a:cxn ang="0">
                  <a:pos x="T2" y="T3"/>
                </a:cxn>
                <a:cxn ang="0">
                  <a:pos x="T4" y="T5"/>
                </a:cxn>
                <a:cxn ang="0">
                  <a:pos x="T6" y="T7"/>
                </a:cxn>
                <a:cxn ang="0">
                  <a:pos x="T8" y="T9"/>
                </a:cxn>
                <a:cxn ang="0">
                  <a:pos x="T10" y="T11"/>
                </a:cxn>
              </a:cxnLst>
              <a:rect l="0" t="0" r="r" b="b"/>
              <a:pathLst>
                <a:path w="64" h="66">
                  <a:moveTo>
                    <a:pt x="64" y="0"/>
                  </a:moveTo>
                  <a:cubicBezTo>
                    <a:pt x="25" y="0"/>
                    <a:pt x="25" y="0"/>
                    <a:pt x="25" y="0"/>
                  </a:cubicBezTo>
                  <a:cubicBezTo>
                    <a:pt x="11" y="0"/>
                    <a:pt x="0" y="11"/>
                    <a:pt x="0" y="24"/>
                  </a:cubicBezTo>
                  <a:cubicBezTo>
                    <a:pt x="0" y="66"/>
                    <a:pt x="0" y="66"/>
                    <a:pt x="0" y="66"/>
                  </a:cubicBezTo>
                  <a:cubicBezTo>
                    <a:pt x="64" y="66"/>
                    <a:pt x="64" y="66"/>
                    <a:pt x="64" y="66"/>
                  </a:cubicBezTo>
                  <a:lnTo>
                    <a:pt x="64" y="0"/>
                  </a:ln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20" name="Freeform 26"/>
            <p:cNvSpPr>
              <a:spLocks/>
            </p:cNvSpPr>
            <p:nvPr userDrawn="1"/>
          </p:nvSpPr>
          <p:spPr bwMode="auto">
            <a:xfrm>
              <a:off x="1348" y="1730"/>
              <a:ext cx="1396" cy="1067"/>
            </a:xfrm>
            <a:custGeom>
              <a:avLst/>
              <a:gdLst>
                <a:gd name="T0" fmla="*/ 397 w 791"/>
                <a:gd name="T1" fmla="*/ 86 h 604"/>
                <a:gd name="T2" fmla="*/ 234 w 791"/>
                <a:gd name="T3" fmla="*/ 120 h 604"/>
                <a:gd name="T4" fmla="*/ 165 w 791"/>
                <a:gd name="T5" fmla="*/ 181 h 604"/>
                <a:gd name="T6" fmla="*/ 0 w 791"/>
                <a:gd name="T7" fmla="*/ 205 h 604"/>
                <a:gd name="T8" fmla="*/ 24 w 791"/>
                <a:gd name="T9" fmla="*/ 238 h 604"/>
                <a:gd name="T10" fmla="*/ 127 w 791"/>
                <a:gd name="T11" fmla="*/ 271 h 604"/>
                <a:gd name="T12" fmla="*/ 231 w 791"/>
                <a:gd name="T13" fmla="*/ 295 h 604"/>
                <a:gd name="T14" fmla="*/ 265 w 791"/>
                <a:gd name="T15" fmla="*/ 388 h 604"/>
                <a:gd name="T16" fmla="*/ 225 w 791"/>
                <a:gd name="T17" fmla="*/ 422 h 604"/>
                <a:gd name="T18" fmla="*/ 201 w 791"/>
                <a:gd name="T19" fmla="*/ 513 h 604"/>
                <a:gd name="T20" fmla="*/ 371 w 791"/>
                <a:gd name="T21" fmla="*/ 547 h 604"/>
                <a:gd name="T22" fmla="*/ 395 w 791"/>
                <a:gd name="T23" fmla="*/ 580 h 604"/>
                <a:gd name="T24" fmla="*/ 395 w 791"/>
                <a:gd name="T25" fmla="*/ 580 h 604"/>
                <a:gd name="T26" fmla="*/ 529 w 791"/>
                <a:gd name="T27" fmla="*/ 604 h 604"/>
                <a:gd name="T28" fmla="*/ 553 w 791"/>
                <a:gd name="T29" fmla="*/ 548 h 604"/>
                <a:gd name="T30" fmla="*/ 749 w 791"/>
                <a:gd name="T31" fmla="*/ 548 h 604"/>
                <a:gd name="T32" fmla="*/ 791 w 791"/>
                <a:gd name="T33" fmla="*/ 523 h 604"/>
                <a:gd name="T34" fmla="*/ 751 w 791"/>
                <a:gd name="T35" fmla="*/ 363 h 604"/>
                <a:gd name="T36" fmla="*/ 727 w 791"/>
                <a:gd name="T37" fmla="*/ 265 h 604"/>
                <a:gd name="T38" fmla="*/ 791 w 791"/>
                <a:gd name="T39" fmla="*/ 240 h 604"/>
                <a:gd name="T40" fmla="*/ 758 w 791"/>
                <a:gd name="T41" fmla="*/ 179 h 604"/>
                <a:gd name="T42" fmla="*/ 723 w 791"/>
                <a:gd name="T43" fmla="*/ 150 h 604"/>
                <a:gd name="T44" fmla="*/ 629 w 791"/>
                <a:gd name="T45" fmla="*/ 122 h 604"/>
                <a:gd name="T46" fmla="*/ 594 w 791"/>
                <a:gd name="T47" fmla="*/ 86 h 604"/>
                <a:gd name="T48" fmla="*/ 554 w 791"/>
                <a:gd name="T49" fmla="*/ 58 h 604"/>
                <a:gd name="T50" fmla="*/ 471 w 791"/>
                <a:gd name="T51" fmla="*/ 48 h 604"/>
                <a:gd name="T52" fmla="*/ 468 w 791"/>
                <a:gd name="T53" fmla="*/ 45 h 604"/>
                <a:gd name="T54" fmla="*/ 467 w 791"/>
                <a:gd name="T55" fmla="*/ 45 h 604"/>
                <a:gd name="T56" fmla="*/ 466 w 791"/>
                <a:gd name="T57" fmla="*/ 42 h 604"/>
                <a:gd name="T58" fmla="*/ 465 w 791"/>
                <a:gd name="T59" fmla="*/ 41 h 604"/>
                <a:gd name="T60" fmla="*/ 465 w 791"/>
                <a:gd name="T61" fmla="*/ 41 h 604"/>
                <a:gd name="T62" fmla="*/ 465 w 791"/>
                <a:gd name="T63" fmla="*/ 40 h 604"/>
                <a:gd name="T64" fmla="*/ 464 w 791"/>
                <a:gd name="T65" fmla="*/ 40 h 604"/>
                <a:gd name="T66" fmla="*/ 464 w 791"/>
                <a:gd name="T67" fmla="*/ 40 h 604"/>
                <a:gd name="T68" fmla="*/ 464 w 791"/>
                <a:gd name="T69" fmla="*/ 39 h 604"/>
                <a:gd name="T70" fmla="*/ 464 w 791"/>
                <a:gd name="T71" fmla="*/ 39 h 604"/>
                <a:gd name="T72" fmla="*/ 464 w 791"/>
                <a:gd name="T73" fmla="*/ 39 h 604"/>
                <a:gd name="T74" fmla="*/ 463 w 791"/>
                <a:gd name="T75" fmla="*/ 38 h 604"/>
                <a:gd name="T76" fmla="*/ 463 w 791"/>
                <a:gd name="T77" fmla="*/ 38 h 604"/>
                <a:gd name="T78" fmla="*/ 463 w 791"/>
                <a:gd name="T79" fmla="*/ 37 h 604"/>
                <a:gd name="T80" fmla="*/ 463 w 791"/>
                <a:gd name="T81" fmla="*/ 37 h 604"/>
                <a:gd name="T82" fmla="*/ 463 w 791"/>
                <a:gd name="T83" fmla="*/ 36 h 604"/>
                <a:gd name="T84" fmla="*/ 462 w 791"/>
                <a:gd name="T85" fmla="*/ 36 h 604"/>
                <a:gd name="T86" fmla="*/ 460 w 791"/>
                <a:gd name="T87" fmla="*/ 0 h 604"/>
                <a:gd name="T88" fmla="*/ 397 w 791"/>
                <a:gd name="T89" fmla="*/ 35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91" h="604">
                  <a:moveTo>
                    <a:pt x="397" y="48"/>
                  </a:moveTo>
                  <a:cubicBezTo>
                    <a:pt x="397" y="86"/>
                    <a:pt x="397" y="86"/>
                    <a:pt x="397" y="86"/>
                  </a:cubicBezTo>
                  <a:cubicBezTo>
                    <a:pt x="397" y="105"/>
                    <a:pt x="381" y="120"/>
                    <a:pt x="363" y="120"/>
                  </a:cubicBezTo>
                  <a:cubicBezTo>
                    <a:pt x="234" y="120"/>
                    <a:pt x="234" y="120"/>
                    <a:pt x="234" y="120"/>
                  </a:cubicBezTo>
                  <a:cubicBezTo>
                    <a:pt x="216" y="120"/>
                    <a:pt x="201" y="134"/>
                    <a:pt x="199" y="151"/>
                  </a:cubicBezTo>
                  <a:cubicBezTo>
                    <a:pt x="197" y="168"/>
                    <a:pt x="183" y="181"/>
                    <a:pt x="165" y="181"/>
                  </a:cubicBezTo>
                  <a:cubicBezTo>
                    <a:pt x="24" y="181"/>
                    <a:pt x="24" y="181"/>
                    <a:pt x="24" y="181"/>
                  </a:cubicBezTo>
                  <a:cubicBezTo>
                    <a:pt x="10" y="181"/>
                    <a:pt x="0" y="192"/>
                    <a:pt x="0" y="205"/>
                  </a:cubicBezTo>
                  <a:cubicBezTo>
                    <a:pt x="0" y="213"/>
                    <a:pt x="0" y="213"/>
                    <a:pt x="0" y="213"/>
                  </a:cubicBezTo>
                  <a:cubicBezTo>
                    <a:pt x="0" y="227"/>
                    <a:pt x="10" y="238"/>
                    <a:pt x="24" y="238"/>
                  </a:cubicBezTo>
                  <a:cubicBezTo>
                    <a:pt x="93" y="238"/>
                    <a:pt x="93" y="238"/>
                    <a:pt x="93" y="238"/>
                  </a:cubicBezTo>
                  <a:cubicBezTo>
                    <a:pt x="112" y="238"/>
                    <a:pt x="127" y="253"/>
                    <a:pt x="127" y="271"/>
                  </a:cubicBezTo>
                  <a:cubicBezTo>
                    <a:pt x="127" y="284"/>
                    <a:pt x="138" y="295"/>
                    <a:pt x="151" y="295"/>
                  </a:cubicBezTo>
                  <a:cubicBezTo>
                    <a:pt x="231" y="295"/>
                    <a:pt x="231" y="295"/>
                    <a:pt x="231" y="295"/>
                  </a:cubicBezTo>
                  <a:cubicBezTo>
                    <a:pt x="250" y="295"/>
                    <a:pt x="265" y="310"/>
                    <a:pt x="265" y="329"/>
                  </a:cubicBezTo>
                  <a:cubicBezTo>
                    <a:pt x="265" y="388"/>
                    <a:pt x="265" y="388"/>
                    <a:pt x="265" y="388"/>
                  </a:cubicBezTo>
                  <a:cubicBezTo>
                    <a:pt x="265" y="407"/>
                    <a:pt x="250" y="422"/>
                    <a:pt x="231" y="422"/>
                  </a:cubicBezTo>
                  <a:cubicBezTo>
                    <a:pt x="225" y="422"/>
                    <a:pt x="225" y="422"/>
                    <a:pt x="225" y="422"/>
                  </a:cubicBezTo>
                  <a:cubicBezTo>
                    <a:pt x="211" y="422"/>
                    <a:pt x="201" y="433"/>
                    <a:pt x="201" y="447"/>
                  </a:cubicBezTo>
                  <a:cubicBezTo>
                    <a:pt x="201" y="513"/>
                    <a:pt x="201" y="513"/>
                    <a:pt x="201" y="513"/>
                  </a:cubicBezTo>
                  <a:cubicBezTo>
                    <a:pt x="201" y="532"/>
                    <a:pt x="185" y="547"/>
                    <a:pt x="167" y="547"/>
                  </a:cubicBezTo>
                  <a:cubicBezTo>
                    <a:pt x="371" y="547"/>
                    <a:pt x="371" y="547"/>
                    <a:pt x="371" y="547"/>
                  </a:cubicBezTo>
                  <a:cubicBezTo>
                    <a:pt x="384" y="547"/>
                    <a:pt x="395" y="558"/>
                    <a:pt x="395" y="571"/>
                  </a:cubicBezTo>
                  <a:cubicBezTo>
                    <a:pt x="395" y="580"/>
                    <a:pt x="395" y="580"/>
                    <a:pt x="395" y="580"/>
                  </a:cubicBezTo>
                  <a:cubicBezTo>
                    <a:pt x="395" y="580"/>
                    <a:pt x="395" y="580"/>
                    <a:pt x="395" y="580"/>
                  </a:cubicBezTo>
                  <a:cubicBezTo>
                    <a:pt x="395" y="580"/>
                    <a:pt x="395" y="580"/>
                    <a:pt x="395" y="580"/>
                  </a:cubicBezTo>
                  <a:cubicBezTo>
                    <a:pt x="395" y="593"/>
                    <a:pt x="406" y="604"/>
                    <a:pt x="419" y="604"/>
                  </a:cubicBezTo>
                  <a:cubicBezTo>
                    <a:pt x="529" y="604"/>
                    <a:pt x="529" y="604"/>
                    <a:pt x="529" y="604"/>
                  </a:cubicBezTo>
                  <a:cubicBezTo>
                    <a:pt x="529" y="572"/>
                    <a:pt x="529" y="572"/>
                    <a:pt x="529" y="572"/>
                  </a:cubicBezTo>
                  <a:cubicBezTo>
                    <a:pt x="529" y="559"/>
                    <a:pt x="540" y="548"/>
                    <a:pt x="553" y="548"/>
                  </a:cubicBezTo>
                  <a:cubicBezTo>
                    <a:pt x="741" y="548"/>
                    <a:pt x="741" y="548"/>
                    <a:pt x="741" y="548"/>
                  </a:cubicBezTo>
                  <a:cubicBezTo>
                    <a:pt x="749" y="548"/>
                    <a:pt x="749" y="548"/>
                    <a:pt x="749" y="548"/>
                  </a:cubicBezTo>
                  <a:cubicBezTo>
                    <a:pt x="767" y="547"/>
                    <a:pt x="767" y="547"/>
                    <a:pt x="767" y="547"/>
                  </a:cubicBezTo>
                  <a:cubicBezTo>
                    <a:pt x="780" y="547"/>
                    <a:pt x="791" y="536"/>
                    <a:pt x="791" y="523"/>
                  </a:cubicBezTo>
                  <a:cubicBezTo>
                    <a:pt x="791" y="470"/>
                    <a:pt x="791" y="417"/>
                    <a:pt x="791" y="363"/>
                  </a:cubicBezTo>
                  <a:cubicBezTo>
                    <a:pt x="751" y="363"/>
                    <a:pt x="751" y="363"/>
                    <a:pt x="751" y="363"/>
                  </a:cubicBezTo>
                  <a:cubicBezTo>
                    <a:pt x="738" y="363"/>
                    <a:pt x="727" y="353"/>
                    <a:pt x="727" y="339"/>
                  </a:cubicBezTo>
                  <a:cubicBezTo>
                    <a:pt x="727" y="265"/>
                    <a:pt x="727" y="265"/>
                    <a:pt x="727" y="265"/>
                  </a:cubicBezTo>
                  <a:cubicBezTo>
                    <a:pt x="727" y="251"/>
                    <a:pt x="738" y="240"/>
                    <a:pt x="751" y="240"/>
                  </a:cubicBezTo>
                  <a:cubicBezTo>
                    <a:pt x="791" y="240"/>
                    <a:pt x="791" y="240"/>
                    <a:pt x="791" y="240"/>
                  </a:cubicBezTo>
                  <a:cubicBezTo>
                    <a:pt x="791" y="208"/>
                    <a:pt x="791" y="208"/>
                    <a:pt x="791" y="208"/>
                  </a:cubicBezTo>
                  <a:cubicBezTo>
                    <a:pt x="789" y="192"/>
                    <a:pt x="775" y="179"/>
                    <a:pt x="758" y="179"/>
                  </a:cubicBezTo>
                  <a:cubicBezTo>
                    <a:pt x="753" y="179"/>
                    <a:pt x="753" y="179"/>
                    <a:pt x="753" y="179"/>
                  </a:cubicBezTo>
                  <a:cubicBezTo>
                    <a:pt x="737" y="179"/>
                    <a:pt x="723" y="166"/>
                    <a:pt x="723" y="150"/>
                  </a:cubicBezTo>
                  <a:cubicBezTo>
                    <a:pt x="723" y="122"/>
                    <a:pt x="723" y="122"/>
                    <a:pt x="723" y="122"/>
                  </a:cubicBezTo>
                  <a:cubicBezTo>
                    <a:pt x="629" y="122"/>
                    <a:pt x="629" y="122"/>
                    <a:pt x="629" y="122"/>
                  </a:cubicBezTo>
                  <a:cubicBezTo>
                    <a:pt x="612" y="122"/>
                    <a:pt x="598" y="110"/>
                    <a:pt x="595" y="95"/>
                  </a:cubicBezTo>
                  <a:cubicBezTo>
                    <a:pt x="594" y="92"/>
                    <a:pt x="594" y="89"/>
                    <a:pt x="594" y="86"/>
                  </a:cubicBezTo>
                  <a:cubicBezTo>
                    <a:pt x="594" y="70"/>
                    <a:pt x="589" y="57"/>
                    <a:pt x="555" y="58"/>
                  </a:cubicBezTo>
                  <a:cubicBezTo>
                    <a:pt x="555" y="58"/>
                    <a:pt x="554" y="58"/>
                    <a:pt x="554" y="58"/>
                  </a:cubicBezTo>
                  <a:cubicBezTo>
                    <a:pt x="495" y="58"/>
                    <a:pt x="495" y="58"/>
                    <a:pt x="495" y="58"/>
                  </a:cubicBezTo>
                  <a:cubicBezTo>
                    <a:pt x="486" y="58"/>
                    <a:pt x="477" y="54"/>
                    <a:pt x="471" y="48"/>
                  </a:cubicBezTo>
                  <a:cubicBezTo>
                    <a:pt x="471" y="48"/>
                    <a:pt x="471" y="48"/>
                    <a:pt x="471" y="48"/>
                  </a:cubicBezTo>
                  <a:cubicBezTo>
                    <a:pt x="470" y="47"/>
                    <a:pt x="469" y="46"/>
                    <a:pt x="468" y="45"/>
                  </a:cubicBezTo>
                  <a:cubicBezTo>
                    <a:pt x="468" y="45"/>
                    <a:pt x="468" y="45"/>
                    <a:pt x="468" y="45"/>
                  </a:cubicBezTo>
                  <a:cubicBezTo>
                    <a:pt x="467" y="45"/>
                    <a:pt x="467" y="45"/>
                    <a:pt x="467" y="45"/>
                  </a:cubicBezTo>
                  <a:cubicBezTo>
                    <a:pt x="467" y="45"/>
                    <a:pt x="467" y="45"/>
                    <a:pt x="467" y="45"/>
                  </a:cubicBezTo>
                  <a:cubicBezTo>
                    <a:pt x="467" y="44"/>
                    <a:pt x="466" y="43"/>
                    <a:pt x="466" y="42"/>
                  </a:cubicBezTo>
                  <a:cubicBezTo>
                    <a:pt x="466" y="42"/>
                    <a:pt x="466" y="42"/>
                    <a:pt x="466" y="42"/>
                  </a:cubicBezTo>
                  <a:cubicBezTo>
                    <a:pt x="465" y="42"/>
                    <a:pt x="465" y="41"/>
                    <a:pt x="465" y="41"/>
                  </a:cubicBezTo>
                  <a:cubicBezTo>
                    <a:pt x="465" y="41"/>
                    <a:pt x="465" y="41"/>
                    <a:pt x="465" y="41"/>
                  </a:cubicBezTo>
                  <a:cubicBezTo>
                    <a:pt x="465" y="41"/>
                    <a:pt x="465" y="41"/>
                    <a:pt x="465" y="41"/>
                  </a:cubicBezTo>
                  <a:cubicBezTo>
                    <a:pt x="465" y="41"/>
                    <a:pt x="465" y="41"/>
                    <a:pt x="465" y="41"/>
                  </a:cubicBezTo>
                  <a:cubicBezTo>
                    <a:pt x="465" y="40"/>
                    <a:pt x="465" y="40"/>
                    <a:pt x="465" y="40"/>
                  </a:cubicBezTo>
                  <a:cubicBezTo>
                    <a:pt x="465" y="40"/>
                    <a:pt x="465" y="40"/>
                    <a:pt x="465" y="40"/>
                  </a:cubicBezTo>
                  <a:cubicBezTo>
                    <a:pt x="464" y="40"/>
                    <a:pt x="464" y="40"/>
                    <a:pt x="464" y="40"/>
                  </a:cubicBezTo>
                  <a:cubicBezTo>
                    <a:pt x="464" y="40"/>
                    <a:pt x="464" y="40"/>
                    <a:pt x="464" y="40"/>
                  </a:cubicBezTo>
                  <a:cubicBezTo>
                    <a:pt x="464" y="40"/>
                    <a:pt x="464" y="40"/>
                    <a:pt x="464" y="40"/>
                  </a:cubicBezTo>
                  <a:cubicBezTo>
                    <a:pt x="464" y="40"/>
                    <a:pt x="464" y="40"/>
                    <a:pt x="464" y="40"/>
                  </a:cubicBezTo>
                  <a:cubicBezTo>
                    <a:pt x="464" y="39"/>
                    <a:pt x="464" y="39"/>
                    <a:pt x="464" y="39"/>
                  </a:cubicBezTo>
                  <a:cubicBezTo>
                    <a:pt x="464" y="39"/>
                    <a:pt x="464" y="39"/>
                    <a:pt x="464" y="39"/>
                  </a:cubicBezTo>
                  <a:cubicBezTo>
                    <a:pt x="464" y="39"/>
                    <a:pt x="464" y="39"/>
                    <a:pt x="464" y="39"/>
                  </a:cubicBezTo>
                  <a:cubicBezTo>
                    <a:pt x="464" y="39"/>
                    <a:pt x="464" y="39"/>
                    <a:pt x="464" y="39"/>
                  </a:cubicBezTo>
                  <a:cubicBezTo>
                    <a:pt x="464" y="39"/>
                    <a:pt x="464" y="39"/>
                    <a:pt x="464" y="39"/>
                  </a:cubicBezTo>
                  <a:cubicBezTo>
                    <a:pt x="463" y="38"/>
                    <a:pt x="463" y="38"/>
                    <a:pt x="463" y="38"/>
                  </a:cubicBezTo>
                  <a:cubicBezTo>
                    <a:pt x="463" y="38"/>
                    <a:pt x="463" y="38"/>
                    <a:pt x="463" y="38"/>
                  </a:cubicBezTo>
                  <a:cubicBezTo>
                    <a:pt x="463" y="38"/>
                    <a:pt x="463" y="38"/>
                    <a:pt x="463" y="38"/>
                  </a:cubicBezTo>
                  <a:cubicBezTo>
                    <a:pt x="463" y="38"/>
                    <a:pt x="463" y="38"/>
                    <a:pt x="463" y="38"/>
                  </a:cubicBezTo>
                  <a:cubicBezTo>
                    <a:pt x="463" y="37"/>
                    <a:pt x="463" y="37"/>
                    <a:pt x="463" y="37"/>
                  </a:cubicBezTo>
                  <a:cubicBezTo>
                    <a:pt x="463" y="37"/>
                    <a:pt x="463" y="37"/>
                    <a:pt x="463" y="37"/>
                  </a:cubicBezTo>
                  <a:cubicBezTo>
                    <a:pt x="463" y="37"/>
                    <a:pt x="463" y="37"/>
                    <a:pt x="463" y="37"/>
                  </a:cubicBezTo>
                  <a:cubicBezTo>
                    <a:pt x="463" y="37"/>
                    <a:pt x="463" y="37"/>
                    <a:pt x="463" y="37"/>
                  </a:cubicBezTo>
                  <a:cubicBezTo>
                    <a:pt x="463" y="36"/>
                    <a:pt x="463" y="36"/>
                    <a:pt x="463" y="36"/>
                  </a:cubicBezTo>
                  <a:cubicBezTo>
                    <a:pt x="463" y="36"/>
                    <a:pt x="463" y="36"/>
                    <a:pt x="463" y="36"/>
                  </a:cubicBezTo>
                  <a:cubicBezTo>
                    <a:pt x="462" y="36"/>
                    <a:pt x="462" y="36"/>
                    <a:pt x="462" y="36"/>
                  </a:cubicBezTo>
                  <a:cubicBezTo>
                    <a:pt x="462" y="36"/>
                    <a:pt x="462" y="36"/>
                    <a:pt x="462" y="36"/>
                  </a:cubicBezTo>
                  <a:cubicBezTo>
                    <a:pt x="461" y="32"/>
                    <a:pt x="460" y="28"/>
                    <a:pt x="460" y="23"/>
                  </a:cubicBezTo>
                  <a:cubicBezTo>
                    <a:pt x="460" y="0"/>
                    <a:pt x="460" y="0"/>
                    <a:pt x="460" y="0"/>
                  </a:cubicBezTo>
                  <a:cubicBezTo>
                    <a:pt x="432" y="0"/>
                    <a:pt x="432" y="0"/>
                    <a:pt x="432" y="0"/>
                  </a:cubicBezTo>
                  <a:cubicBezTo>
                    <a:pt x="412" y="0"/>
                    <a:pt x="397" y="16"/>
                    <a:pt x="397" y="35"/>
                  </a:cubicBezTo>
                  <a:cubicBezTo>
                    <a:pt x="397" y="48"/>
                    <a:pt x="397" y="48"/>
                    <a:pt x="397" y="48"/>
                  </a:cubicBezTo>
                  <a:close/>
                </a:path>
              </a:pathLst>
            </a:custGeom>
            <a:solidFill>
              <a:schemeClr val="accent3">
                <a:lumMod val="50000"/>
              </a:schemeClr>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21" name="Freeform 27"/>
            <p:cNvSpPr>
              <a:spLocks/>
            </p:cNvSpPr>
            <p:nvPr userDrawn="1"/>
          </p:nvSpPr>
          <p:spPr bwMode="auto">
            <a:xfrm>
              <a:off x="2167" y="3127"/>
              <a:ext cx="100" cy="97"/>
            </a:xfrm>
            <a:custGeom>
              <a:avLst/>
              <a:gdLst>
                <a:gd name="T0" fmla="*/ 24 w 57"/>
                <a:gd name="T1" fmla="*/ 55 h 55"/>
                <a:gd name="T2" fmla="*/ 33 w 57"/>
                <a:gd name="T3" fmla="*/ 55 h 55"/>
                <a:gd name="T4" fmla="*/ 57 w 57"/>
                <a:gd name="T5" fmla="*/ 30 h 55"/>
                <a:gd name="T6" fmla="*/ 57 w 57"/>
                <a:gd name="T7" fmla="*/ 25 h 55"/>
                <a:gd name="T8" fmla="*/ 33 w 57"/>
                <a:gd name="T9" fmla="*/ 0 h 55"/>
                <a:gd name="T10" fmla="*/ 24 w 57"/>
                <a:gd name="T11" fmla="*/ 0 h 55"/>
                <a:gd name="T12" fmla="*/ 0 w 57"/>
                <a:gd name="T13" fmla="*/ 25 h 55"/>
                <a:gd name="T14" fmla="*/ 0 w 57"/>
                <a:gd name="T15" fmla="*/ 30 h 55"/>
                <a:gd name="T16" fmla="*/ 24 w 57"/>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55">
                  <a:moveTo>
                    <a:pt x="24" y="55"/>
                  </a:moveTo>
                  <a:cubicBezTo>
                    <a:pt x="33" y="55"/>
                    <a:pt x="33" y="55"/>
                    <a:pt x="33" y="55"/>
                  </a:cubicBezTo>
                  <a:cubicBezTo>
                    <a:pt x="46" y="55"/>
                    <a:pt x="57" y="44"/>
                    <a:pt x="57" y="30"/>
                  </a:cubicBezTo>
                  <a:cubicBezTo>
                    <a:pt x="57" y="25"/>
                    <a:pt x="57" y="25"/>
                    <a:pt x="57" y="25"/>
                  </a:cubicBezTo>
                  <a:cubicBezTo>
                    <a:pt x="57" y="11"/>
                    <a:pt x="46" y="0"/>
                    <a:pt x="33" y="0"/>
                  </a:cubicBezTo>
                  <a:cubicBezTo>
                    <a:pt x="24" y="0"/>
                    <a:pt x="24" y="0"/>
                    <a:pt x="24" y="0"/>
                  </a:cubicBezTo>
                  <a:cubicBezTo>
                    <a:pt x="11" y="0"/>
                    <a:pt x="0" y="11"/>
                    <a:pt x="0" y="25"/>
                  </a:cubicBezTo>
                  <a:cubicBezTo>
                    <a:pt x="0" y="30"/>
                    <a:pt x="0" y="30"/>
                    <a:pt x="0" y="30"/>
                  </a:cubicBezTo>
                  <a:cubicBezTo>
                    <a:pt x="0" y="44"/>
                    <a:pt x="11" y="55"/>
                    <a:pt x="24" y="55"/>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22" name="Freeform 28"/>
            <p:cNvSpPr>
              <a:spLocks noEditPoints="1"/>
            </p:cNvSpPr>
            <p:nvPr userDrawn="1"/>
          </p:nvSpPr>
          <p:spPr bwMode="auto">
            <a:xfrm>
              <a:off x="2875" y="3027"/>
              <a:ext cx="222" cy="310"/>
            </a:xfrm>
            <a:custGeom>
              <a:avLst/>
              <a:gdLst>
                <a:gd name="T0" fmla="*/ 57 w 126"/>
                <a:gd name="T1" fmla="*/ 152 h 176"/>
                <a:gd name="T2" fmla="*/ 101 w 126"/>
                <a:gd name="T3" fmla="*/ 57 h 176"/>
                <a:gd name="T4" fmla="*/ 101 w 126"/>
                <a:gd name="T5" fmla="*/ 0 h 176"/>
                <a:gd name="T6" fmla="*/ 23 w 126"/>
                <a:gd name="T7" fmla="*/ 0 h 176"/>
                <a:gd name="T8" fmla="*/ 23 w 126"/>
                <a:gd name="T9" fmla="*/ 0 h 176"/>
                <a:gd name="T10" fmla="*/ 21 w 126"/>
                <a:gd name="T11" fmla="*/ 1 h 176"/>
                <a:gd name="T12" fmla="*/ 21 w 126"/>
                <a:gd name="T13" fmla="*/ 1 h 176"/>
                <a:gd name="T14" fmla="*/ 20 w 126"/>
                <a:gd name="T15" fmla="*/ 1 h 176"/>
                <a:gd name="T16" fmla="*/ 19 w 126"/>
                <a:gd name="T17" fmla="*/ 1 h 176"/>
                <a:gd name="T18" fmla="*/ 18 w 126"/>
                <a:gd name="T19" fmla="*/ 1 h 176"/>
                <a:gd name="T20" fmla="*/ 17 w 126"/>
                <a:gd name="T21" fmla="*/ 1 h 176"/>
                <a:gd name="T22" fmla="*/ 16 w 126"/>
                <a:gd name="T23" fmla="*/ 2 h 176"/>
                <a:gd name="T24" fmla="*/ 16 w 126"/>
                <a:gd name="T25" fmla="*/ 2 h 176"/>
                <a:gd name="T26" fmla="*/ 15 w 126"/>
                <a:gd name="T27" fmla="*/ 2 h 176"/>
                <a:gd name="T28" fmla="*/ 14 w 126"/>
                <a:gd name="T29" fmla="*/ 3 h 176"/>
                <a:gd name="T30" fmla="*/ 13 w 126"/>
                <a:gd name="T31" fmla="*/ 3 h 176"/>
                <a:gd name="T32" fmla="*/ 12 w 126"/>
                <a:gd name="T33" fmla="*/ 3 h 176"/>
                <a:gd name="T34" fmla="*/ 11 w 126"/>
                <a:gd name="T35" fmla="*/ 4 h 176"/>
                <a:gd name="T36" fmla="*/ 11 w 126"/>
                <a:gd name="T37" fmla="*/ 4 h 176"/>
                <a:gd name="T38" fmla="*/ 10 w 126"/>
                <a:gd name="T39" fmla="*/ 5 h 176"/>
                <a:gd name="T40" fmla="*/ 9 w 126"/>
                <a:gd name="T41" fmla="*/ 5 h 176"/>
                <a:gd name="T42" fmla="*/ 9 w 126"/>
                <a:gd name="T43" fmla="*/ 6 h 176"/>
                <a:gd name="T44" fmla="*/ 8 w 126"/>
                <a:gd name="T45" fmla="*/ 6 h 176"/>
                <a:gd name="T46" fmla="*/ 7 w 126"/>
                <a:gd name="T47" fmla="*/ 7 h 176"/>
                <a:gd name="T48" fmla="*/ 7 w 126"/>
                <a:gd name="T49" fmla="*/ 8 h 176"/>
                <a:gd name="T50" fmla="*/ 6 w 126"/>
                <a:gd name="T51" fmla="*/ 8 h 176"/>
                <a:gd name="T52" fmla="*/ 6 w 126"/>
                <a:gd name="T53" fmla="*/ 9 h 176"/>
                <a:gd name="T54" fmla="*/ 5 w 126"/>
                <a:gd name="T55" fmla="*/ 10 h 176"/>
                <a:gd name="T56" fmla="*/ 5 w 126"/>
                <a:gd name="T57" fmla="*/ 10 h 176"/>
                <a:gd name="T58" fmla="*/ 4 w 126"/>
                <a:gd name="T59" fmla="*/ 11 h 176"/>
                <a:gd name="T60" fmla="*/ 4 w 126"/>
                <a:gd name="T61" fmla="*/ 12 h 176"/>
                <a:gd name="T62" fmla="*/ 3 w 126"/>
                <a:gd name="T63" fmla="*/ 13 h 176"/>
                <a:gd name="T64" fmla="*/ 3 w 126"/>
                <a:gd name="T65" fmla="*/ 13 h 176"/>
                <a:gd name="T66" fmla="*/ 2 w 126"/>
                <a:gd name="T67" fmla="*/ 14 h 176"/>
                <a:gd name="T68" fmla="*/ 2 w 126"/>
                <a:gd name="T69" fmla="*/ 15 h 176"/>
                <a:gd name="T70" fmla="*/ 1 w 126"/>
                <a:gd name="T71" fmla="*/ 16 h 176"/>
                <a:gd name="T72" fmla="*/ 1 w 126"/>
                <a:gd name="T73" fmla="*/ 16 h 176"/>
                <a:gd name="T74" fmla="*/ 1 w 126"/>
                <a:gd name="T75" fmla="*/ 17 h 176"/>
                <a:gd name="T76" fmla="*/ 1 w 126"/>
                <a:gd name="T77" fmla="*/ 18 h 176"/>
                <a:gd name="T78" fmla="*/ 0 w 126"/>
                <a:gd name="T79" fmla="*/ 19 h 176"/>
                <a:gd name="T80" fmla="*/ 0 w 126"/>
                <a:gd name="T81" fmla="*/ 20 h 176"/>
                <a:gd name="T82" fmla="*/ 0 w 126"/>
                <a:gd name="T83" fmla="*/ 21 h 176"/>
                <a:gd name="T84" fmla="*/ 0 w 126"/>
                <a:gd name="T85" fmla="*/ 22 h 176"/>
                <a:gd name="T86" fmla="*/ 0 w 126"/>
                <a:gd name="T87" fmla="*/ 23 h 176"/>
                <a:gd name="T88" fmla="*/ 0 w 126"/>
                <a:gd name="T89" fmla="*/ 23 h 176"/>
                <a:gd name="T90" fmla="*/ 0 w 126"/>
                <a:gd name="T91" fmla="*/ 25 h 176"/>
                <a:gd name="T92" fmla="*/ 0 w 126"/>
                <a:gd name="T93" fmla="*/ 152 h 176"/>
                <a:gd name="T94" fmla="*/ 24 w 126"/>
                <a:gd name="T95"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6" h="176">
                  <a:moveTo>
                    <a:pt x="24" y="176"/>
                  </a:moveTo>
                  <a:cubicBezTo>
                    <a:pt x="32" y="176"/>
                    <a:pt x="32" y="176"/>
                    <a:pt x="32" y="176"/>
                  </a:cubicBezTo>
                  <a:cubicBezTo>
                    <a:pt x="46" y="176"/>
                    <a:pt x="57" y="165"/>
                    <a:pt x="57" y="152"/>
                  </a:cubicBezTo>
                  <a:cubicBezTo>
                    <a:pt x="57" y="91"/>
                    <a:pt x="57" y="91"/>
                    <a:pt x="57" y="91"/>
                  </a:cubicBezTo>
                  <a:cubicBezTo>
                    <a:pt x="57" y="72"/>
                    <a:pt x="72" y="57"/>
                    <a:pt x="91" y="57"/>
                  </a:cubicBezTo>
                  <a:cubicBezTo>
                    <a:pt x="101" y="57"/>
                    <a:pt x="101" y="57"/>
                    <a:pt x="101" y="57"/>
                  </a:cubicBezTo>
                  <a:cubicBezTo>
                    <a:pt x="115" y="57"/>
                    <a:pt x="126" y="46"/>
                    <a:pt x="126" y="33"/>
                  </a:cubicBezTo>
                  <a:cubicBezTo>
                    <a:pt x="126" y="25"/>
                    <a:pt x="126" y="25"/>
                    <a:pt x="126" y="25"/>
                  </a:cubicBezTo>
                  <a:cubicBezTo>
                    <a:pt x="126" y="11"/>
                    <a:pt x="115" y="0"/>
                    <a:pt x="101" y="0"/>
                  </a:cubicBezTo>
                  <a:cubicBezTo>
                    <a:pt x="32" y="0"/>
                    <a:pt x="32" y="0"/>
                    <a:pt x="32" y="0"/>
                  </a:cubicBezTo>
                  <a:cubicBezTo>
                    <a:pt x="24" y="0"/>
                    <a:pt x="24" y="0"/>
                    <a:pt x="24" y="0"/>
                  </a:cubicBezTo>
                  <a:cubicBezTo>
                    <a:pt x="23" y="0"/>
                    <a:pt x="23" y="0"/>
                    <a:pt x="23" y="0"/>
                  </a:cubicBezTo>
                  <a:cubicBezTo>
                    <a:pt x="23" y="0"/>
                    <a:pt x="23" y="0"/>
                    <a:pt x="23" y="0"/>
                  </a:cubicBezTo>
                  <a:cubicBezTo>
                    <a:pt x="23" y="0"/>
                    <a:pt x="23" y="0"/>
                    <a:pt x="23" y="0"/>
                  </a:cubicBezTo>
                  <a:cubicBezTo>
                    <a:pt x="23" y="0"/>
                    <a:pt x="23" y="0"/>
                    <a:pt x="23" y="0"/>
                  </a:cubicBezTo>
                  <a:cubicBezTo>
                    <a:pt x="22" y="0"/>
                    <a:pt x="22" y="0"/>
                    <a:pt x="22" y="0"/>
                  </a:cubicBezTo>
                  <a:cubicBezTo>
                    <a:pt x="22" y="0"/>
                    <a:pt x="22" y="0"/>
                    <a:pt x="22" y="0"/>
                  </a:cubicBezTo>
                  <a:cubicBezTo>
                    <a:pt x="21" y="1"/>
                    <a:pt x="21" y="1"/>
                    <a:pt x="21" y="1"/>
                  </a:cubicBezTo>
                  <a:cubicBezTo>
                    <a:pt x="21" y="1"/>
                    <a:pt x="21" y="1"/>
                    <a:pt x="21" y="1"/>
                  </a:cubicBezTo>
                  <a:cubicBezTo>
                    <a:pt x="21" y="1"/>
                    <a:pt x="21" y="1"/>
                    <a:pt x="21" y="1"/>
                  </a:cubicBezTo>
                  <a:cubicBezTo>
                    <a:pt x="21" y="1"/>
                    <a:pt x="21" y="1"/>
                    <a:pt x="21" y="1"/>
                  </a:cubicBezTo>
                  <a:cubicBezTo>
                    <a:pt x="20" y="1"/>
                    <a:pt x="20" y="1"/>
                    <a:pt x="20" y="1"/>
                  </a:cubicBezTo>
                  <a:cubicBezTo>
                    <a:pt x="20" y="1"/>
                    <a:pt x="20" y="1"/>
                    <a:pt x="20" y="1"/>
                  </a:cubicBezTo>
                  <a:cubicBezTo>
                    <a:pt x="20" y="1"/>
                    <a:pt x="20" y="1"/>
                    <a:pt x="20" y="1"/>
                  </a:cubicBezTo>
                  <a:cubicBezTo>
                    <a:pt x="20" y="1"/>
                    <a:pt x="20" y="1"/>
                    <a:pt x="20" y="1"/>
                  </a:cubicBezTo>
                  <a:cubicBezTo>
                    <a:pt x="19" y="1"/>
                    <a:pt x="19" y="1"/>
                    <a:pt x="19" y="1"/>
                  </a:cubicBezTo>
                  <a:cubicBezTo>
                    <a:pt x="19" y="1"/>
                    <a:pt x="19" y="1"/>
                    <a:pt x="19" y="1"/>
                  </a:cubicBezTo>
                  <a:cubicBezTo>
                    <a:pt x="18" y="1"/>
                    <a:pt x="18" y="1"/>
                    <a:pt x="18" y="1"/>
                  </a:cubicBezTo>
                  <a:cubicBezTo>
                    <a:pt x="18" y="1"/>
                    <a:pt x="18" y="1"/>
                    <a:pt x="18" y="1"/>
                  </a:cubicBezTo>
                  <a:cubicBezTo>
                    <a:pt x="18" y="1"/>
                    <a:pt x="18" y="1"/>
                    <a:pt x="18" y="1"/>
                  </a:cubicBezTo>
                  <a:cubicBezTo>
                    <a:pt x="18" y="1"/>
                    <a:pt x="18" y="1"/>
                    <a:pt x="18" y="1"/>
                  </a:cubicBezTo>
                  <a:cubicBezTo>
                    <a:pt x="17" y="1"/>
                    <a:pt x="17" y="1"/>
                    <a:pt x="17" y="1"/>
                  </a:cubicBezTo>
                  <a:cubicBezTo>
                    <a:pt x="17" y="1"/>
                    <a:pt x="17" y="1"/>
                    <a:pt x="17" y="1"/>
                  </a:cubicBezTo>
                  <a:cubicBezTo>
                    <a:pt x="17" y="2"/>
                    <a:pt x="17" y="2"/>
                    <a:pt x="17" y="2"/>
                  </a:cubicBezTo>
                  <a:cubicBezTo>
                    <a:pt x="17" y="2"/>
                    <a:pt x="17" y="2"/>
                    <a:pt x="17" y="2"/>
                  </a:cubicBezTo>
                  <a:cubicBezTo>
                    <a:pt x="16" y="2"/>
                    <a:pt x="16" y="2"/>
                    <a:pt x="16" y="2"/>
                  </a:cubicBezTo>
                  <a:cubicBezTo>
                    <a:pt x="16" y="2"/>
                    <a:pt x="16" y="2"/>
                    <a:pt x="16" y="2"/>
                  </a:cubicBezTo>
                  <a:cubicBezTo>
                    <a:pt x="16" y="2"/>
                    <a:pt x="16" y="2"/>
                    <a:pt x="16" y="2"/>
                  </a:cubicBezTo>
                  <a:cubicBezTo>
                    <a:pt x="16" y="2"/>
                    <a:pt x="16" y="2"/>
                    <a:pt x="16" y="2"/>
                  </a:cubicBezTo>
                  <a:cubicBezTo>
                    <a:pt x="15" y="2"/>
                    <a:pt x="15" y="2"/>
                    <a:pt x="15" y="2"/>
                  </a:cubicBezTo>
                  <a:cubicBezTo>
                    <a:pt x="15" y="2"/>
                    <a:pt x="15" y="2"/>
                    <a:pt x="15" y="2"/>
                  </a:cubicBezTo>
                  <a:cubicBezTo>
                    <a:pt x="15" y="2"/>
                    <a:pt x="15" y="2"/>
                    <a:pt x="15" y="2"/>
                  </a:cubicBezTo>
                  <a:cubicBezTo>
                    <a:pt x="15" y="2"/>
                    <a:pt x="15" y="2"/>
                    <a:pt x="15" y="2"/>
                  </a:cubicBezTo>
                  <a:cubicBezTo>
                    <a:pt x="14" y="3"/>
                    <a:pt x="14" y="3"/>
                    <a:pt x="14" y="3"/>
                  </a:cubicBezTo>
                  <a:cubicBezTo>
                    <a:pt x="14" y="3"/>
                    <a:pt x="14" y="3"/>
                    <a:pt x="14" y="3"/>
                  </a:cubicBezTo>
                  <a:cubicBezTo>
                    <a:pt x="13" y="3"/>
                    <a:pt x="13" y="3"/>
                    <a:pt x="13" y="3"/>
                  </a:cubicBezTo>
                  <a:cubicBezTo>
                    <a:pt x="13" y="3"/>
                    <a:pt x="13" y="3"/>
                    <a:pt x="13" y="3"/>
                  </a:cubicBezTo>
                  <a:cubicBezTo>
                    <a:pt x="13" y="3"/>
                    <a:pt x="13" y="3"/>
                    <a:pt x="13" y="3"/>
                  </a:cubicBezTo>
                  <a:cubicBezTo>
                    <a:pt x="13" y="3"/>
                    <a:pt x="13" y="3"/>
                    <a:pt x="13" y="3"/>
                  </a:cubicBezTo>
                  <a:cubicBezTo>
                    <a:pt x="13" y="3"/>
                    <a:pt x="13" y="3"/>
                    <a:pt x="12" y="3"/>
                  </a:cubicBezTo>
                  <a:cubicBezTo>
                    <a:pt x="12" y="3"/>
                    <a:pt x="12" y="3"/>
                    <a:pt x="12" y="3"/>
                  </a:cubicBezTo>
                  <a:cubicBezTo>
                    <a:pt x="12" y="4"/>
                    <a:pt x="12" y="4"/>
                    <a:pt x="12" y="4"/>
                  </a:cubicBezTo>
                  <a:cubicBezTo>
                    <a:pt x="12" y="4"/>
                    <a:pt x="12" y="4"/>
                    <a:pt x="12" y="4"/>
                  </a:cubicBezTo>
                  <a:cubicBezTo>
                    <a:pt x="12" y="4"/>
                    <a:pt x="12" y="4"/>
                    <a:pt x="11" y="4"/>
                  </a:cubicBezTo>
                  <a:cubicBezTo>
                    <a:pt x="11" y="4"/>
                    <a:pt x="11" y="4"/>
                    <a:pt x="11" y="4"/>
                  </a:cubicBezTo>
                  <a:cubicBezTo>
                    <a:pt x="11" y="4"/>
                    <a:pt x="11" y="4"/>
                    <a:pt x="11" y="4"/>
                  </a:cubicBezTo>
                  <a:cubicBezTo>
                    <a:pt x="11" y="4"/>
                    <a:pt x="11" y="4"/>
                    <a:pt x="11" y="4"/>
                  </a:cubicBezTo>
                  <a:cubicBezTo>
                    <a:pt x="10" y="5"/>
                    <a:pt x="10" y="5"/>
                    <a:pt x="10" y="5"/>
                  </a:cubicBezTo>
                  <a:cubicBezTo>
                    <a:pt x="10" y="5"/>
                    <a:pt x="10" y="5"/>
                    <a:pt x="10" y="5"/>
                  </a:cubicBezTo>
                  <a:cubicBezTo>
                    <a:pt x="10" y="5"/>
                    <a:pt x="10" y="5"/>
                    <a:pt x="10" y="5"/>
                  </a:cubicBezTo>
                  <a:cubicBezTo>
                    <a:pt x="10" y="5"/>
                    <a:pt x="10" y="5"/>
                    <a:pt x="10" y="5"/>
                  </a:cubicBezTo>
                  <a:cubicBezTo>
                    <a:pt x="9" y="5"/>
                    <a:pt x="9" y="5"/>
                    <a:pt x="9" y="5"/>
                  </a:cubicBezTo>
                  <a:cubicBezTo>
                    <a:pt x="9" y="5"/>
                    <a:pt x="9" y="5"/>
                    <a:pt x="9" y="5"/>
                  </a:cubicBezTo>
                  <a:cubicBezTo>
                    <a:pt x="9" y="6"/>
                    <a:pt x="9" y="6"/>
                    <a:pt x="9" y="6"/>
                  </a:cubicBezTo>
                  <a:cubicBezTo>
                    <a:pt x="9" y="6"/>
                    <a:pt x="9" y="6"/>
                    <a:pt x="9" y="6"/>
                  </a:cubicBezTo>
                  <a:cubicBezTo>
                    <a:pt x="9" y="6"/>
                    <a:pt x="9" y="6"/>
                    <a:pt x="9" y="6"/>
                  </a:cubicBezTo>
                  <a:cubicBezTo>
                    <a:pt x="9" y="6"/>
                    <a:pt x="9" y="6"/>
                    <a:pt x="9" y="6"/>
                  </a:cubicBezTo>
                  <a:cubicBezTo>
                    <a:pt x="8" y="6"/>
                    <a:pt x="8" y="6"/>
                    <a:pt x="8" y="6"/>
                  </a:cubicBezTo>
                  <a:cubicBezTo>
                    <a:pt x="8" y="6"/>
                    <a:pt x="8" y="6"/>
                    <a:pt x="8" y="6"/>
                  </a:cubicBezTo>
                  <a:cubicBezTo>
                    <a:pt x="8" y="7"/>
                    <a:pt x="8" y="7"/>
                    <a:pt x="8" y="7"/>
                  </a:cubicBezTo>
                  <a:cubicBezTo>
                    <a:pt x="8" y="7"/>
                    <a:pt x="8" y="7"/>
                    <a:pt x="8" y="7"/>
                  </a:cubicBezTo>
                  <a:cubicBezTo>
                    <a:pt x="7" y="7"/>
                    <a:pt x="7" y="7"/>
                    <a:pt x="7" y="7"/>
                  </a:cubicBezTo>
                  <a:cubicBezTo>
                    <a:pt x="7" y="7"/>
                    <a:pt x="7" y="7"/>
                    <a:pt x="7" y="7"/>
                  </a:cubicBezTo>
                  <a:cubicBezTo>
                    <a:pt x="7" y="8"/>
                    <a:pt x="7" y="8"/>
                    <a:pt x="7" y="8"/>
                  </a:cubicBezTo>
                  <a:cubicBezTo>
                    <a:pt x="7" y="8"/>
                    <a:pt x="7" y="8"/>
                    <a:pt x="7" y="8"/>
                  </a:cubicBezTo>
                  <a:cubicBezTo>
                    <a:pt x="6" y="8"/>
                    <a:pt x="6" y="8"/>
                    <a:pt x="6" y="8"/>
                  </a:cubicBezTo>
                  <a:cubicBezTo>
                    <a:pt x="6" y="8"/>
                    <a:pt x="6" y="8"/>
                    <a:pt x="6" y="8"/>
                  </a:cubicBezTo>
                  <a:cubicBezTo>
                    <a:pt x="6" y="8"/>
                    <a:pt x="6" y="8"/>
                    <a:pt x="6" y="8"/>
                  </a:cubicBezTo>
                  <a:cubicBezTo>
                    <a:pt x="6" y="8"/>
                    <a:pt x="6" y="8"/>
                    <a:pt x="6" y="8"/>
                  </a:cubicBezTo>
                  <a:cubicBezTo>
                    <a:pt x="6" y="9"/>
                    <a:pt x="6" y="9"/>
                    <a:pt x="6" y="9"/>
                  </a:cubicBezTo>
                  <a:cubicBezTo>
                    <a:pt x="6" y="9"/>
                    <a:pt x="6" y="9"/>
                    <a:pt x="6" y="9"/>
                  </a:cubicBezTo>
                  <a:cubicBezTo>
                    <a:pt x="5" y="9"/>
                    <a:pt x="5" y="9"/>
                    <a:pt x="5" y="9"/>
                  </a:cubicBezTo>
                  <a:cubicBezTo>
                    <a:pt x="5" y="9"/>
                    <a:pt x="5" y="9"/>
                    <a:pt x="5" y="9"/>
                  </a:cubicBezTo>
                  <a:cubicBezTo>
                    <a:pt x="5" y="9"/>
                    <a:pt x="5" y="10"/>
                    <a:pt x="5" y="10"/>
                  </a:cubicBezTo>
                  <a:cubicBezTo>
                    <a:pt x="5" y="10"/>
                    <a:pt x="5" y="10"/>
                    <a:pt x="5" y="10"/>
                  </a:cubicBezTo>
                  <a:cubicBezTo>
                    <a:pt x="5" y="10"/>
                    <a:pt x="5" y="10"/>
                    <a:pt x="5" y="10"/>
                  </a:cubicBezTo>
                  <a:cubicBezTo>
                    <a:pt x="5" y="10"/>
                    <a:pt x="5" y="10"/>
                    <a:pt x="5" y="10"/>
                  </a:cubicBezTo>
                  <a:cubicBezTo>
                    <a:pt x="4" y="11"/>
                    <a:pt x="4" y="11"/>
                    <a:pt x="4" y="11"/>
                  </a:cubicBezTo>
                  <a:cubicBezTo>
                    <a:pt x="4" y="11"/>
                    <a:pt x="4" y="11"/>
                    <a:pt x="4" y="11"/>
                  </a:cubicBezTo>
                  <a:cubicBezTo>
                    <a:pt x="4" y="11"/>
                    <a:pt x="4" y="11"/>
                    <a:pt x="4" y="11"/>
                  </a:cubicBezTo>
                  <a:cubicBezTo>
                    <a:pt x="4" y="11"/>
                    <a:pt x="4" y="11"/>
                    <a:pt x="4" y="11"/>
                  </a:cubicBezTo>
                  <a:cubicBezTo>
                    <a:pt x="4" y="12"/>
                    <a:pt x="4" y="12"/>
                    <a:pt x="4" y="12"/>
                  </a:cubicBezTo>
                  <a:cubicBezTo>
                    <a:pt x="4" y="12"/>
                    <a:pt x="4" y="12"/>
                    <a:pt x="4" y="12"/>
                  </a:cubicBezTo>
                  <a:cubicBezTo>
                    <a:pt x="3" y="12"/>
                    <a:pt x="3" y="12"/>
                    <a:pt x="3" y="12"/>
                  </a:cubicBezTo>
                  <a:cubicBezTo>
                    <a:pt x="3" y="12"/>
                    <a:pt x="3" y="12"/>
                    <a:pt x="3" y="12"/>
                  </a:cubicBezTo>
                  <a:cubicBezTo>
                    <a:pt x="3" y="13"/>
                    <a:pt x="3" y="13"/>
                    <a:pt x="3" y="13"/>
                  </a:cubicBezTo>
                  <a:cubicBezTo>
                    <a:pt x="3" y="13"/>
                    <a:pt x="3" y="13"/>
                    <a:pt x="3" y="13"/>
                  </a:cubicBezTo>
                  <a:cubicBezTo>
                    <a:pt x="3" y="13"/>
                    <a:pt x="3" y="13"/>
                    <a:pt x="3" y="13"/>
                  </a:cubicBezTo>
                  <a:cubicBezTo>
                    <a:pt x="3" y="13"/>
                    <a:pt x="3" y="13"/>
                    <a:pt x="3" y="13"/>
                  </a:cubicBezTo>
                  <a:cubicBezTo>
                    <a:pt x="2" y="14"/>
                    <a:pt x="2" y="14"/>
                    <a:pt x="2" y="14"/>
                  </a:cubicBezTo>
                  <a:cubicBezTo>
                    <a:pt x="2" y="14"/>
                    <a:pt x="2" y="14"/>
                    <a:pt x="2" y="14"/>
                  </a:cubicBezTo>
                  <a:cubicBezTo>
                    <a:pt x="2" y="14"/>
                    <a:pt x="2" y="14"/>
                    <a:pt x="2" y="14"/>
                  </a:cubicBezTo>
                  <a:cubicBezTo>
                    <a:pt x="2" y="14"/>
                    <a:pt x="2" y="14"/>
                    <a:pt x="2" y="14"/>
                  </a:cubicBezTo>
                  <a:cubicBezTo>
                    <a:pt x="2" y="15"/>
                    <a:pt x="2" y="15"/>
                    <a:pt x="2" y="15"/>
                  </a:cubicBezTo>
                  <a:cubicBezTo>
                    <a:pt x="2" y="15"/>
                    <a:pt x="2" y="15"/>
                    <a:pt x="2" y="15"/>
                  </a:cubicBezTo>
                  <a:cubicBezTo>
                    <a:pt x="2" y="15"/>
                    <a:pt x="2" y="15"/>
                    <a:pt x="2" y="15"/>
                  </a:cubicBezTo>
                  <a:cubicBezTo>
                    <a:pt x="2" y="15"/>
                    <a:pt x="2" y="15"/>
                    <a:pt x="2" y="15"/>
                  </a:cubicBezTo>
                  <a:cubicBezTo>
                    <a:pt x="1" y="16"/>
                    <a:pt x="1" y="16"/>
                    <a:pt x="1" y="16"/>
                  </a:cubicBezTo>
                  <a:cubicBezTo>
                    <a:pt x="1" y="16"/>
                    <a:pt x="1" y="16"/>
                    <a:pt x="1" y="16"/>
                  </a:cubicBezTo>
                  <a:cubicBezTo>
                    <a:pt x="1" y="16"/>
                    <a:pt x="1" y="16"/>
                    <a:pt x="1" y="16"/>
                  </a:cubicBezTo>
                  <a:cubicBezTo>
                    <a:pt x="1" y="16"/>
                    <a:pt x="1" y="16"/>
                    <a:pt x="1" y="16"/>
                  </a:cubicBezTo>
                  <a:cubicBezTo>
                    <a:pt x="1" y="17"/>
                    <a:pt x="1" y="17"/>
                    <a:pt x="1" y="17"/>
                  </a:cubicBezTo>
                  <a:cubicBezTo>
                    <a:pt x="1" y="17"/>
                    <a:pt x="1" y="17"/>
                    <a:pt x="1" y="17"/>
                  </a:cubicBezTo>
                  <a:cubicBezTo>
                    <a:pt x="1" y="17"/>
                    <a:pt x="1" y="17"/>
                    <a:pt x="1" y="17"/>
                  </a:cubicBezTo>
                  <a:cubicBezTo>
                    <a:pt x="1" y="17"/>
                    <a:pt x="1" y="17"/>
                    <a:pt x="1" y="17"/>
                  </a:cubicBezTo>
                  <a:cubicBezTo>
                    <a:pt x="1" y="18"/>
                    <a:pt x="1" y="18"/>
                    <a:pt x="1" y="18"/>
                  </a:cubicBezTo>
                  <a:cubicBezTo>
                    <a:pt x="1" y="18"/>
                    <a:pt x="1" y="18"/>
                    <a:pt x="1" y="18"/>
                  </a:cubicBezTo>
                  <a:cubicBezTo>
                    <a:pt x="1" y="19"/>
                    <a:pt x="1" y="19"/>
                    <a:pt x="1" y="19"/>
                  </a:cubicBezTo>
                  <a:cubicBezTo>
                    <a:pt x="1" y="19"/>
                    <a:pt x="1" y="19"/>
                    <a:pt x="1" y="19"/>
                  </a:cubicBezTo>
                  <a:cubicBezTo>
                    <a:pt x="0" y="19"/>
                    <a:pt x="0" y="19"/>
                    <a:pt x="0" y="19"/>
                  </a:cubicBezTo>
                  <a:cubicBezTo>
                    <a:pt x="0" y="19"/>
                    <a:pt x="0" y="19"/>
                    <a:pt x="0" y="19"/>
                  </a:cubicBezTo>
                  <a:cubicBezTo>
                    <a:pt x="0" y="20"/>
                    <a:pt x="0" y="20"/>
                    <a:pt x="0" y="20"/>
                  </a:cubicBezTo>
                  <a:cubicBezTo>
                    <a:pt x="0" y="20"/>
                    <a:pt x="0" y="20"/>
                    <a:pt x="0" y="20"/>
                  </a:cubicBezTo>
                  <a:cubicBezTo>
                    <a:pt x="0" y="20"/>
                    <a:pt x="0" y="20"/>
                    <a:pt x="0" y="20"/>
                  </a:cubicBezTo>
                  <a:cubicBezTo>
                    <a:pt x="0" y="20"/>
                    <a:pt x="0" y="20"/>
                    <a:pt x="0" y="20"/>
                  </a:cubicBezTo>
                  <a:cubicBezTo>
                    <a:pt x="0" y="21"/>
                    <a:pt x="0" y="21"/>
                    <a:pt x="0" y="21"/>
                  </a:cubicBezTo>
                  <a:cubicBezTo>
                    <a:pt x="0" y="21"/>
                    <a:pt x="0" y="21"/>
                    <a:pt x="0" y="21"/>
                  </a:cubicBezTo>
                  <a:cubicBezTo>
                    <a:pt x="0" y="22"/>
                    <a:pt x="0" y="22"/>
                    <a:pt x="0" y="22"/>
                  </a:cubicBezTo>
                  <a:cubicBezTo>
                    <a:pt x="0" y="22"/>
                    <a:pt x="0" y="22"/>
                    <a:pt x="0" y="22"/>
                  </a:cubicBezTo>
                  <a:cubicBezTo>
                    <a:pt x="0" y="22"/>
                    <a:pt x="0" y="22"/>
                    <a:pt x="0" y="22"/>
                  </a:cubicBezTo>
                  <a:cubicBezTo>
                    <a:pt x="0" y="22"/>
                    <a:pt x="0" y="22"/>
                    <a:pt x="0" y="22"/>
                  </a:cubicBezTo>
                  <a:cubicBezTo>
                    <a:pt x="0" y="23"/>
                    <a:pt x="0" y="23"/>
                    <a:pt x="0" y="23"/>
                  </a:cubicBezTo>
                  <a:cubicBezTo>
                    <a:pt x="0" y="23"/>
                    <a:pt x="0" y="23"/>
                    <a:pt x="0" y="23"/>
                  </a:cubicBezTo>
                  <a:cubicBezTo>
                    <a:pt x="0" y="23"/>
                    <a:pt x="0" y="23"/>
                    <a:pt x="0" y="23"/>
                  </a:cubicBezTo>
                  <a:cubicBezTo>
                    <a:pt x="0" y="23"/>
                    <a:pt x="0" y="23"/>
                    <a:pt x="0" y="23"/>
                  </a:cubicBezTo>
                  <a:cubicBezTo>
                    <a:pt x="0" y="24"/>
                    <a:pt x="0" y="24"/>
                    <a:pt x="0" y="24"/>
                  </a:cubicBezTo>
                  <a:cubicBezTo>
                    <a:pt x="0" y="24"/>
                    <a:pt x="0" y="24"/>
                    <a:pt x="0" y="24"/>
                  </a:cubicBezTo>
                  <a:cubicBezTo>
                    <a:pt x="0" y="25"/>
                    <a:pt x="0" y="25"/>
                    <a:pt x="0" y="25"/>
                  </a:cubicBezTo>
                  <a:cubicBezTo>
                    <a:pt x="0" y="25"/>
                    <a:pt x="0" y="25"/>
                    <a:pt x="0" y="25"/>
                  </a:cubicBezTo>
                  <a:cubicBezTo>
                    <a:pt x="0" y="33"/>
                    <a:pt x="0" y="33"/>
                    <a:pt x="0" y="33"/>
                  </a:cubicBezTo>
                  <a:cubicBezTo>
                    <a:pt x="0" y="152"/>
                    <a:pt x="0" y="152"/>
                    <a:pt x="0" y="152"/>
                  </a:cubicBezTo>
                  <a:cubicBezTo>
                    <a:pt x="0" y="165"/>
                    <a:pt x="11" y="176"/>
                    <a:pt x="24" y="176"/>
                  </a:cubicBezTo>
                  <a:close/>
                  <a:moveTo>
                    <a:pt x="24" y="0"/>
                  </a:moveTo>
                  <a:cubicBezTo>
                    <a:pt x="24" y="0"/>
                    <a:pt x="24" y="0"/>
                    <a:pt x="24" y="0"/>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23" name="Freeform 29"/>
            <p:cNvSpPr>
              <a:spLocks/>
            </p:cNvSpPr>
            <p:nvPr userDrawn="1"/>
          </p:nvSpPr>
          <p:spPr bwMode="auto">
            <a:xfrm>
              <a:off x="762" y="2910"/>
              <a:ext cx="464" cy="645"/>
            </a:xfrm>
            <a:custGeom>
              <a:avLst/>
              <a:gdLst>
                <a:gd name="T0" fmla="*/ 231 w 263"/>
                <a:gd name="T1" fmla="*/ 127 h 365"/>
                <a:gd name="T2" fmla="*/ 239 w 263"/>
                <a:gd name="T3" fmla="*/ 127 h 365"/>
                <a:gd name="T4" fmla="*/ 263 w 263"/>
                <a:gd name="T5" fmla="*/ 102 h 365"/>
                <a:gd name="T6" fmla="*/ 263 w 263"/>
                <a:gd name="T7" fmla="*/ 25 h 365"/>
                <a:gd name="T8" fmla="*/ 239 w 263"/>
                <a:gd name="T9" fmla="*/ 0 h 365"/>
                <a:gd name="T10" fmla="*/ 91 w 263"/>
                <a:gd name="T11" fmla="*/ 0 h 365"/>
                <a:gd name="T12" fmla="*/ 66 w 263"/>
                <a:gd name="T13" fmla="*/ 1 h 365"/>
                <a:gd name="T14" fmla="*/ 66 w 263"/>
                <a:gd name="T15" fmla="*/ 90 h 365"/>
                <a:gd name="T16" fmla="*/ 32 w 263"/>
                <a:gd name="T17" fmla="*/ 124 h 365"/>
                <a:gd name="T18" fmla="*/ 24 w 263"/>
                <a:gd name="T19" fmla="*/ 124 h 365"/>
                <a:gd name="T20" fmla="*/ 0 w 263"/>
                <a:gd name="T21" fmla="*/ 149 h 365"/>
                <a:gd name="T22" fmla="*/ 0 w 263"/>
                <a:gd name="T23" fmla="*/ 195 h 365"/>
                <a:gd name="T24" fmla="*/ 0 w 263"/>
                <a:gd name="T25" fmla="*/ 219 h 365"/>
                <a:gd name="T26" fmla="*/ 0 w 263"/>
                <a:gd name="T27" fmla="*/ 341 h 365"/>
                <a:gd name="T28" fmla="*/ 24 w 263"/>
                <a:gd name="T29" fmla="*/ 365 h 365"/>
                <a:gd name="T30" fmla="*/ 106 w 263"/>
                <a:gd name="T31" fmla="*/ 365 h 365"/>
                <a:gd name="T32" fmla="*/ 130 w 263"/>
                <a:gd name="T33" fmla="*/ 364 h 365"/>
                <a:gd name="T34" fmla="*/ 130 w 263"/>
                <a:gd name="T35" fmla="*/ 278 h 365"/>
                <a:gd name="T36" fmla="*/ 164 w 263"/>
                <a:gd name="T37" fmla="*/ 244 h 365"/>
                <a:gd name="T38" fmla="*/ 172 w 263"/>
                <a:gd name="T39" fmla="*/ 244 h 365"/>
                <a:gd name="T40" fmla="*/ 197 w 263"/>
                <a:gd name="T41" fmla="*/ 219 h 365"/>
                <a:gd name="T42" fmla="*/ 197 w 263"/>
                <a:gd name="T43" fmla="*/ 161 h 365"/>
                <a:gd name="T44" fmla="*/ 231 w 263"/>
                <a:gd name="T45" fmla="*/ 127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3" h="365">
                  <a:moveTo>
                    <a:pt x="231" y="127"/>
                  </a:moveTo>
                  <a:cubicBezTo>
                    <a:pt x="239" y="127"/>
                    <a:pt x="239" y="127"/>
                    <a:pt x="239" y="127"/>
                  </a:cubicBezTo>
                  <a:cubicBezTo>
                    <a:pt x="252" y="127"/>
                    <a:pt x="263" y="116"/>
                    <a:pt x="263" y="102"/>
                  </a:cubicBezTo>
                  <a:cubicBezTo>
                    <a:pt x="263" y="25"/>
                    <a:pt x="263" y="25"/>
                    <a:pt x="263" y="25"/>
                  </a:cubicBezTo>
                  <a:cubicBezTo>
                    <a:pt x="263" y="11"/>
                    <a:pt x="252" y="0"/>
                    <a:pt x="239" y="0"/>
                  </a:cubicBezTo>
                  <a:cubicBezTo>
                    <a:pt x="91" y="0"/>
                    <a:pt x="91" y="0"/>
                    <a:pt x="91" y="0"/>
                  </a:cubicBezTo>
                  <a:cubicBezTo>
                    <a:pt x="66" y="1"/>
                    <a:pt x="66" y="1"/>
                    <a:pt x="66" y="1"/>
                  </a:cubicBezTo>
                  <a:cubicBezTo>
                    <a:pt x="66" y="90"/>
                    <a:pt x="66" y="90"/>
                    <a:pt x="66" y="90"/>
                  </a:cubicBezTo>
                  <a:cubicBezTo>
                    <a:pt x="66" y="108"/>
                    <a:pt x="51" y="124"/>
                    <a:pt x="32" y="124"/>
                  </a:cubicBezTo>
                  <a:cubicBezTo>
                    <a:pt x="24" y="124"/>
                    <a:pt x="24" y="124"/>
                    <a:pt x="24" y="124"/>
                  </a:cubicBezTo>
                  <a:cubicBezTo>
                    <a:pt x="10" y="124"/>
                    <a:pt x="0" y="135"/>
                    <a:pt x="0" y="149"/>
                  </a:cubicBezTo>
                  <a:cubicBezTo>
                    <a:pt x="0" y="195"/>
                    <a:pt x="0" y="195"/>
                    <a:pt x="0" y="195"/>
                  </a:cubicBezTo>
                  <a:cubicBezTo>
                    <a:pt x="0" y="219"/>
                    <a:pt x="0" y="219"/>
                    <a:pt x="0" y="219"/>
                  </a:cubicBezTo>
                  <a:cubicBezTo>
                    <a:pt x="0" y="341"/>
                    <a:pt x="0" y="341"/>
                    <a:pt x="0" y="341"/>
                  </a:cubicBezTo>
                  <a:cubicBezTo>
                    <a:pt x="0" y="354"/>
                    <a:pt x="10" y="365"/>
                    <a:pt x="24" y="365"/>
                  </a:cubicBezTo>
                  <a:cubicBezTo>
                    <a:pt x="106" y="365"/>
                    <a:pt x="106" y="365"/>
                    <a:pt x="106" y="365"/>
                  </a:cubicBezTo>
                  <a:cubicBezTo>
                    <a:pt x="130" y="364"/>
                    <a:pt x="130" y="364"/>
                    <a:pt x="130" y="364"/>
                  </a:cubicBezTo>
                  <a:cubicBezTo>
                    <a:pt x="130" y="278"/>
                    <a:pt x="130" y="278"/>
                    <a:pt x="130" y="278"/>
                  </a:cubicBezTo>
                  <a:cubicBezTo>
                    <a:pt x="130" y="259"/>
                    <a:pt x="145" y="244"/>
                    <a:pt x="164" y="244"/>
                  </a:cubicBezTo>
                  <a:cubicBezTo>
                    <a:pt x="172" y="244"/>
                    <a:pt x="172" y="244"/>
                    <a:pt x="172" y="244"/>
                  </a:cubicBezTo>
                  <a:cubicBezTo>
                    <a:pt x="186" y="244"/>
                    <a:pt x="197" y="233"/>
                    <a:pt x="197" y="219"/>
                  </a:cubicBezTo>
                  <a:cubicBezTo>
                    <a:pt x="197" y="161"/>
                    <a:pt x="197" y="161"/>
                    <a:pt x="197" y="161"/>
                  </a:cubicBezTo>
                  <a:cubicBezTo>
                    <a:pt x="197" y="142"/>
                    <a:pt x="212" y="127"/>
                    <a:pt x="231" y="127"/>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24" name="Freeform 30"/>
            <p:cNvSpPr>
              <a:spLocks/>
            </p:cNvSpPr>
            <p:nvPr userDrawn="1"/>
          </p:nvSpPr>
          <p:spPr bwMode="auto">
            <a:xfrm>
              <a:off x="878" y="2594"/>
              <a:ext cx="1404" cy="1063"/>
            </a:xfrm>
            <a:custGeom>
              <a:avLst/>
              <a:gdLst>
                <a:gd name="T0" fmla="*/ 164 w 795"/>
                <a:gd name="T1" fmla="*/ 602 h 602"/>
                <a:gd name="T2" fmla="*/ 228 w 795"/>
                <a:gd name="T3" fmla="*/ 602 h 602"/>
                <a:gd name="T4" fmla="*/ 263 w 795"/>
                <a:gd name="T5" fmla="*/ 572 h 602"/>
                <a:gd name="T6" fmla="*/ 296 w 795"/>
                <a:gd name="T7" fmla="*/ 544 h 602"/>
                <a:gd name="T8" fmla="*/ 428 w 795"/>
                <a:gd name="T9" fmla="*/ 544 h 602"/>
                <a:gd name="T10" fmla="*/ 462 w 795"/>
                <a:gd name="T11" fmla="*/ 514 h 602"/>
                <a:gd name="T12" fmla="*/ 495 w 795"/>
                <a:gd name="T13" fmla="*/ 485 h 602"/>
                <a:gd name="T14" fmla="*/ 529 w 795"/>
                <a:gd name="T15" fmla="*/ 450 h 602"/>
                <a:gd name="T16" fmla="*/ 529 w 795"/>
                <a:gd name="T17" fmla="*/ 335 h 602"/>
                <a:gd name="T18" fmla="*/ 562 w 795"/>
                <a:gd name="T19" fmla="*/ 301 h 602"/>
                <a:gd name="T20" fmla="*/ 596 w 795"/>
                <a:gd name="T21" fmla="*/ 271 h 602"/>
                <a:gd name="T22" fmla="*/ 628 w 795"/>
                <a:gd name="T23" fmla="*/ 243 h 602"/>
                <a:gd name="T24" fmla="*/ 662 w 795"/>
                <a:gd name="T25" fmla="*/ 208 h 602"/>
                <a:gd name="T26" fmla="*/ 696 w 795"/>
                <a:gd name="T27" fmla="*/ 175 h 602"/>
                <a:gd name="T28" fmla="*/ 771 w 795"/>
                <a:gd name="T29" fmla="*/ 175 h 602"/>
                <a:gd name="T30" fmla="*/ 795 w 795"/>
                <a:gd name="T31" fmla="*/ 153 h 602"/>
                <a:gd name="T32" fmla="*/ 795 w 795"/>
                <a:gd name="T33" fmla="*/ 115 h 602"/>
                <a:gd name="T34" fmla="*/ 685 w 795"/>
                <a:gd name="T35" fmla="*/ 115 h 602"/>
                <a:gd name="T36" fmla="*/ 661 w 795"/>
                <a:gd name="T37" fmla="*/ 91 h 602"/>
                <a:gd name="T38" fmla="*/ 661 w 795"/>
                <a:gd name="T39" fmla="*/ 91 h 602"/>
                <a:gd name="T40" fmla="*/ 661 w 795"/>
                <a:gd name="T41" fmla="*/ 91 h 602"/>
                <a:gd name="T42" fmla="*/ 661 w 795"/>
                <a:gd name="T43" fmla="*/ 82 h 602"/>
                <a:gd name="T44" fmla="*/ 637 w 795"/>
                <a:gd name="T45" fmla="*/ 58 h 602"/>
                <a:gd name="T46" fmla="*/ 433 w 795"/>
                <a:gd name="T47" fmla="*/ 58 h 602"/>
                <a:gd name="T48" fmla="*/ 433 w 795"/>
                <a:gd name="T49" fmla="*/ 58 h 602"/>
                <a:gd name="T50" fmla="*/ 359 w 795"/>
                <a:gd name="T51" fmla="*/ 58 h 602"/>
                <a:gd name="T52" fmla="*/ 325 w 795"/>
                <a:gd name="T53" fmla="*/ 24 h 602"/>
                <a:gd name="T54" fmla="*/ 300 w 795"/>
                <a:gd name="T55" fmla="*/ 0 h 602"/>
                <a:gd name="T56" fmla="*/ 25 w 795"/>
                <a:gd name="T57" fmla="*/ 0 h 602"/>
                <a:gd name="T58" fmla="*/ 0 w 795"/>
                <a:gd name="T59" fmla="*/ 24 h 602"/>
                <a:gd name="T60" fmla="*/ 0 w 795"/>
                <a:gd name="T61" fmla="*/ 122 h 602"/>
                <a:gd name="T62" fmla="*/ 0 w 795"/>
                <a:gd name="T63" fmla="*/ 123 h 602"/>
                <a:gd name="T64" fmla="*/ 0 w 795"/>
                <a:gd name="T65" fmla="*/ 126 h 602"/>
                <a:gd name="T66" fmla="*/ 0 w 795"/>
                <a:gd name="T67" fmla="*/ 128 h 602"/>
                <a:gd name="T68" fmla="*/ 0 w 795"/>
                <a:gd name="T69" fmla="*/ 180 h 602"/>
                <a:gd name="T70" fmla="*/ 25 w 795"/>
                <a:gd name="T71" fmla="*/ 179 h 602"/>
                <a:gd name="T72" fmla="*/ 173 w 795"/>
                <a:gd name="T73" fmla="*/ 179 h 602"/>
                <a:gd name="T74" fmla="*/ 197 w 795"/>
                <a:gd name="T75" fmla="*/ 204 h 602"/>
                <a:gd name="T76" fmla="*/ 197 w 795"/>
                <a:gd name="T77" fmla="*/ 281 h 602"/>
                <a:gd name="T78" fmla="*/ 173 w 795"/>
                <a:gd name="T79" fmla="*/ 306 h 602"/>
                <a:gd name="T80" fmla="*/ 165 w 795"/>
                <a:gd name="T81" fmla="*/ 306 h 602"/>
                <a:gd name="T82" fmla="*/ 131 w 795"/>
                <a:gd name="T83" fmla="*/ 340 h 602"/>
                <a:gd name="T84" fmla="*/ 131 w 795"/>
                <a:gd name="T85" fmla="*/ 398 h 602"/>
                <a:gd name="T86" fmla="*/ 106 w 795"/>
                <a:gd name="T87" fmla="*/ 423 h 602"/>
                <a:gd name="T88" fmla="*/ 98 w 795"/>
                <a:gd name="T89" fmla="*/ 423 h 602"/>
                <a:gd name="T90" fmla="*/ 64 w 795"/>
                <a:gd name="T91" fmla="*/ 457 h 602"/>
                <a:gd name="T92" fmla="*/ 64 w 795"/>
                <a:gd name="T93" fmla="*/ 543 h 602"/>
                <a:gd name="T94" fmla="*/ 46 w 795"/>
                <a:gd name="T95" fmla="*/ 544 h 602"/>
                <a:gd name="T96" fmla="*/ 48 w 795"/>
                <a:gd name="T97" fmla="*/ 544 h 602"/>
                <a:gd name="T98" fmla="*/ 96 w 795"/>
                <a:gd name="T99" fmla="*/ 544 h 602"/>
                <a:gd name="T100" fmla="*/ 129 w 795"/>
                <a:gd name="T101" fmla="*/ 572 h 602"/>
                <a:gd name="T102" fmla="*/ 164 w 795"/>
                <a:gd name="T103" fmla="*/ 602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95" h="602">
                  <a:moveTo>
                    <a:pt x="164" y="602"/>
                  </a:moveTo>
                  <a:cubicBezTo>
                    <a:pt x="228" y="602"/>
                    <a:pt x="228" y="602"/>
                    <a:pt x="228" y="602"/>
                  </a:cubicBezTo>
                  <a:cubicBezTo>
                    <a:pt x="245" y="602"/>
                    <a:pt x="260" y="589"/>
                    <a:pt x="263" y="572"/>
                  </a:cubicBezTo>
                  <a:cubicBezTo>
                    <a:pt x="265" y="556"/>
                    <a:pt x="279" y="544"/>
                    <a:pt x="296" y="544"/>
                  </a:cubicBezTo>
                  <a:cubicBezTo>
                    <a:pt x="428" y="544"/>
                    <a:pt x="428" y="544"/>
                    <a:pt x="428" y="544"/>
                  </a:cubicBezTo>
                  <a:cubicBezTo>
                    <a:pt x="445" y="544"/>
                    <a:pt x="460" y="531"/>
                    <a:pt x="462" y="514"/>
                  </a:cubicBezTo>
                  <a:cubicBezTo>
                    <a:pt x="465" y="497"/>
                    <a:pt x="478" y="485"/>
                    <a:pt x="495" y="485"/>
                  </a:cubicBezTo>
                  <a:cubicBezTo>
                    <a:pt x="514" y="484"/>
                    <a:pt x="529" y="468"/>
                    <a:pt x="529" y="450"/>
                  </a:cubicBezTo>
                  <a:cubicBezTo>
                    <a:pt x="529" y="335"/>
                    <a:pt x="529" y="335"/>
                    <a:pt x="529" y="335"/>
                  </a:cubicBezTo>
                  <a:cubicBezTo>
                    <a:pt x="529" y="316"/>
                    <a:pt x="544" y="301"/>
                    <a:pt x="562" y="301"/>
                  </a:cubicBezTo>
                  <a:cubicBezTo>
                    <a:pt x="579" y="300"/>
                    <a:pt x="593" y="288"/>
                    <a:pt x="596" y="271"/>
                  </a:cubicBezTo>
                  <a:cubicBezTo>
                    <a:pt x="599" y="255"/>
                    <a:pt x="612" y="243"/>
                    <a:pt x="628" y="243"/>
                  </a:cubicBezTo>
                  <a:cubicBezTo>
                    <a:pt x="647" y="242"/>
                    <a:pt x="662" y="227"/>
                    <a:pt x="662" y="208"/>
                  </a:cubicBezTo>
                  <a:cubicBezTo>
                    <a:pt x="663" y="190"/>
                    <a:pt x="678" y="175"/>
                    <a:pt x="696" y="175"/>
                  </a:cubicBezTo>
                  <a:cubicBezTo>
                    <a:pt x="771" y="175"/>
                    <a:pt x="771" y="175"/>
                    <a:pt x="771" y="175"/>
                  </a:cubicBezTo>
                  <a:cubicBezTo>
                    <a:pt x="784" y="175"/>
                    <a:pt x="795" y="166"/>
                    <a:pt x="795" y="153"/>
                  </a:cubicBezTo>
                  <a:cubicBezTo>
                    <a:pt x="795" y="115"/>
                    <a:pt x="795" y="115"/>
                    <a:pt x="795" y="115"/>
                  </a:cubicBezTo>
                  <a:cubicBezTo>
                    <a:pt x="758" y="115"/>
                    <a:pt x="722" y="115"/>
                    <a:pt x="685" y="115"/>
                  </a:cubicBezTo>
                  <a:cubicBezTo>
                    <a:pt x="672" y="115"/>
                    <a:pt x="661" y="104"/>
                    <a:pt x="661" y="91"/>
                  </a:cubicBezTo>
                  <a:cubicBezTo>
                    <a:pt x="661" y="91"/>
                    <a:pt x="661" y="91"/>
                    <a:pt x="661" y="91"/>
                  </a:cubicBezTo>
                  <a:cubicBezTo>
                    <a:pt x="661" y="91"/>
                    <a:pt x="661" y="91"/>
                    <a:pt x="661" y="91"/>
                  </a:cubicBezTo>
                  <a:cubicBezTo>
                    <a:pt x="661" y="82"/>
                    <a:pt x="661" y="82"/>
                    <a:pt x="661" y="82"/>
                  </a:cubicBezTo>
                  <a:cubicBezTo>
                    <a:pt x="661" y="69"/>
                    <a:pt x="650" y="58"/>
                    <a:pt x="637" y="58"/>
                  </a:cubicBezTo>
                  <a:cubicBezTo>
                    <a:pt x="433" y="58"/>
                    <a:pt x="433" y="58"/>
                    <a:pt x="433" y="58"/>
                  </a:cubicBezTo>
                  <a:cubicBezTo>
                    <a:pt x="433" y="58"/>
                    <a:pt x="433" y="58"/>
                    <a:pt x="433" y="58"/>
                  </a:cubicBezTo>
                  <a:cubicBezTo>
                    <a:pt x="359" y="58"/>
                    <a:pt x="359" y="58"/>
                    <a:pt x="359" y="58"/>
                  </a:cubicBezTo>
                  <a:cubicBezTo>
                    <a:pt x="340" y="58"/>
                    <a:pt x="325" y="43"/>
                    <a:pt x="325" y="24"/>
                  </a:cubicBezTo>
                  <a:cubicBezTo>
                    <a:pt x="324" y="11"/>
                    <a:pt x="314" y="0"/>
                    <a:pt x="300" y="0"/>
                  </a:cubicBezTo>
                  <a:cubicBezTo>
                    <a:pt x="25" y="0"/>
                    <a:pt x="25" y="0"/>
                    <a:pt x="25" y="0"/>
                  </a:cubicBezTo>
                  <a:cubicBezTo>
                    <a:pt x="11" y="0"/>
                    <a:pt x="0" y="11"/>
                    <a:pt x="0" y="24"/>
                  </a:cubicBezTo>
                  <a:cubicBezTo>
                    <a:pt x="0" y="122"/>
                    <a:pt x="0" y="122"/>
                    <a:pt x="0" y="122"/>
                  </a:cubicBezTo>
                  <a:cubicBezTo>
                    <a:pt x="0" y="122"/>
                    <a:pt x="0" y="122"/>
                    <a:pt x="0" y="123"/>
                  </a:cubicBezTo>
                  <a:cubicBezTo>
                    <a:pt x="1" y="124"/>
                    <a:pt x="1" y="125"/>
                    <a:pt x="0" y="126"/>
                  </a:cubicBezTo>
                  <a:cubicBezTo>
                    <a:pt x="0" y="127"/>
                    <a:pt x="0" y="127"/>
                    <a:pt x="0" y="128"/>
                  </a:cubicBezTo>
                  <a:cubicBezTo>
                    <a:pt x="0" y="180"/>
                    <a:pt x="0" y="180"/>
                    <a:pt x="0" y="180"/>
                  </a:cubicBezTo>
                  <a:cubicBezTo>
                    <a:pt x="25" y="179"/>
                    <a:pt x="25" y="179"/>
                    <a:pt x="25" y="179"/>
                  </a:cubicBezTo>
                  <a:cubicBezTo>
                    <a:pt x="173" y="179"/>
                    <a:pt x="173" y="179"/>
                    <a:pt x="173" y="179"/>
                  </a:cubicBezTo>
                  <a:cubicBezTo>
                    <a:pt x="186" y="179"/>
                    <a:pt x="197" y="190"/>
                    <a:pt x="197" y="204"/>
                  </a:cubicBezTo>
                  <a:cubicBezTo>
                    <a:pt x="197" y="281"/>
                    <a:pt x="197" y="281"/>
                    <a:pt x="197" y="281"/>
                  </a:cubicBezTo>
                  <a:cubicBezTo>
                    <a:pt x="197" y="295"/>
                    <a:pt x="186" y="306"/>
                    <a:pt x="173" y="306"/>
                  </a:cubicBezTo>
                  <a:cubicBezTo>
                    <a:pt x="165" y="306"/>
                    <a:pt x="165" y="306"/>
                    <a:pt x="165" y="306"/>
                  </a:cubicBezTo>
                  <a:cubicBezTo>
                    <a:pt x="146" y="306"/>
                    <a:pt x="131" y="321"/>
                    <a:pt x="131" y="340"/>
                  </a:cubicBezTo>
                  <a:cubicBezTo>
                    <a:pt x="131" y="398"/>
                    <a:pt x="131" y="398"/>
                    <a:pt x="131" y="398"/>
                  </a:cubicBezTo>
                  <a:cubicBezTo>
                    <a:pt x="131" y="412"/>
                    <a:pt x="120" y="423"/>
                    <a:pt x="106" y="423"/>
                  </a:cubicBezTo>
                  <a:cubicBezTo>
                    <a:pt x="98" y="423"/>
                    <a:pt x="98" y="423"/>
                    <a:pt x="98" y="423"/>
                  </a:cubicBezTo>
                  <a:cubicBezTo>
                    <a:pt x="79" y="423"/>
                    <a:pt x="64" y="438"/>
                    <a:pt x="64" y="457"/>
                  </a:cubicBezTo>
                  <a:cubicBezTo>
                    <a:pt x="64" y="543"/>
                    <a:pt x="64" y="543"/>
                    <a:pt x="64" y="543"/>
                  </a:cubicBezTo>
                  <a:cubicBezTo>
                    <a:pt x="46" y="544"/>
                    <a:pt x="46" y="544"/>
                    <a:pt x="46" y="544"/>
                  </a:cubicBezTo>
                  <a:cubicBezTo>
                    <a:pt x="46" y="544"/>
                    <a:pt x="47" y="544"/>
                    <a:pt x="48" y="544"/>
                  </a:cubicBezTo>
                  <a:cubicBezTo>
                    <a:pt x="96" y="544"/>
                    <a:pt x="96" y="544"/>
                    <a:pt x="96" y="544"/>
                  </a:cubicBezTo>
                  <a:cubicBezTo>
                    <a:pt x="112" y="544"/>
                    <a:pt x="126" y="556"/>
                    <a:pt x="129" y="572"/>
                  </a:cubicBezTo>
                  <a:cubicBezTo>
                    <a:pt x="132" y="589"/>
                    <a:pt x="146" y="602"/>
                    <a:pt x="164" y="602"/>
                  </a:cubicBezTo>
                  <a:close/>
                </a:path>
              </a:pathLst>
            </a:custGeom>
            <a:solidFill>
              <a:schemeClr val="accent3"/>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25" name="Freeform 31"/>
            <p:cNvSpPr>
              <a:spLocks noEditPoints="1"/>
            </p:cNvSpPr>
            <p:nvPr userDrawn="1"/>
          </p:nvSpPr>
          <p:spPr bwMode="auto">
            <a:xfrm>
              <a:off x="3353" y="3454"/>
              <a:ext cx="311" cy="223"/>
            </a:xfrm>
            <a:custGeom>
              <a:avLst/>
              <a:gdLst>
                <a:gd name="T0" fmla="*/ 24 w 176"/>
                <a:gd name="T1" fmla="*/ 57 h 126"/>
                <a:gd name="T2" fmla="*/ 119 w 176"/>
                <a:gd name="T3" fmla="*/ 102 h 126"/>
                <a:gd name="T4" fmla="*/ 176 w 176"/>
                <a:gd name="T5" fmla="*/ 102 h 126"/>
                <a:gd name="T6" fmla="*/ 176 w 176"/>
                <a:gd name="T7" fmla="*/ 24 h 126"/>
                <a:gd name="T8" fmla="*/ 175 w 176"/>
                <a:gd name="T9" fmla="*/ 23 h 126"/>
                <a:gd name="T10" fmla="*/ 175 w 176"/>
                <a:gd name="T11" fmla="*/ 22 h 126"/>
                <a:gd name="T12" fmla="*/ 175 w 176"/>
                <a:gd name="T13" fmla="*/ 21 h 126"/>
                <a:gd name="T14" fmla="*/ 175 w 176"/>
                <a:gd name="T15" fmla="*/ 20 h 126"/>
                <a:gd name="T16" fmla="*/ 175 w 176"/>
                <a:gd name="T17" fmla="*/ 19 h 126"/>
                <a:gd name="T18" fmla="*/ 175 w 176"/>
                <a:gd name="T19" fmla="*/ 18 h 126"/>
                <a:gd name="T20" fmla="*/ 175 w 176"/>
                <a:gd name="T21" fmla="*/ 18 h 126"/>
                <a:gd name="T22" fmla="*/ 174 w 176"/>
                <a:gd name="T23" fmla="*/ 16 h 126"/>
                <a:gd name="T24" fmla="*/ 174 w 176"/>
                <a:gd name="T25" fmla="*/ 16 h 126"/>
                <a:gd name="T26" fmla="*/ 174 w 176"/>
                <a:gd name="T27" fmla="*/ 15 h 126"/>
                <a:gd name="T28" fmla="*/ 173 w 176"/>
                <a:gd name="T29" fmla="*/ 14 h 126"/>
                <a:gd name="T30" fmla="*/ 173 w 176"/>
                <a:gd name="T31" fmla="*/ 13 h 126"/>
                <a:gd name="T32" fmla="*/ 173 w 176"/>
                <a:gd name="T33" fmla="*/ 13 h 126"/>
                <a:gd name="T34" fmla="*/ 172 w 176"/>
                <a:gd name="T35" fmla="*/ 12 h 126"/>
                <a:gd name="T36" fmla="*/ 172 w 176"/>
                <a:gd name="T37" fmla="*/ 11 h 126"/>
                <a:gd name="T38" fmla="*/ 171 w 176"/>
                <a:gd name="T39" fmla="*/ 10 h 126"/>
                <a:gd name="T40" fmla="*/ 171 w 176"/>
                <a:gd name="T41" fmla="*/ 10 h 126"/>
                <a:gd name="T42" fmla="*/ 170 w 176"/>
                <a:gd name="T43" fmla="*/ 9 h 126"/>
                <a:gd name="T44" fmla="*/ 170 w 176"/>
                <a:gd name="T45" fmla="*/ 8 h 126"/>
                <a:gd name="T46" fmla="*/ 169 w 176"/>
                <a:gd name="T47" fmla="*/ 8 h 126"/>
                <a:gd name="T48" fmla="*/ 168 w 176"/>
                <a:gd name="T49" fmla="*/ 7 h 126"/>
                <a:gd name="T50" fmla="*/ 168 w 176"/>
                <a:gd name="T51" fmla="*/ 6 h 126"/>
                <a:gd name="T52" fmla="*/ 167 w 176"/>
                <a:gd name="T53" fmla="*/ 6 h 126"/>
                <a:gd name="T54" fmla="*/ 166 w 176"/>
                <a:gd name="T55" fmla="*/ 5 h 126"/>
                <a:gd name="T56" fmla="*/ 166 w 176"/>
                <a:gd name="T57" fmla="*/ 5 h 126"/>
                <a:gd name="T58" fmla="*/ 165 w 176"/>
                <a:gd name="T59" fmla="*/ 4 h 126"/>
                <a:gd name="T60" fmla="*/ 164 w 176"/>
                <a:gd name="T61" fmla="*/ 4 h 126"/>
                <a:gd name="T62" fmla="*/ 163 w 176"/>
                <a:gd name="T63" fmla="*/ 3 h 126"/>
                <a:gd name="T64" fmla="*/ 163 w 176"/>
                <a:gd name="T65" fmla="*/ 3 h 126"/>
                <a:gd name="T66" fmla="*/ 162 w 176"/>
                <a:gd name="T67" fmla="*/ 2 h 126"/>
                <a:gd name="T68" fmla="*/ 161 w 176"/>
                <a:gd name="T69" fmla="*/ 2 h 126"/>
                <a:gd name="T70" fmla="*/ 160 w 176"/>
                <a:gd name="T71" fmla="*/ 2 h 126"/>
                <a:gd name="T72" fmla="*/ 160 w 176"/>
                <a:gd name="T73" fmla="*/ 2 h 126"/>
                <a:gd name="T74" fmla="*/ 159 w 176"/>
                <a:gd name="T75" fmla="*/ 1 h 126"/>
                <a:gd name="T76" fmla="*/ 158 w 176"/>
                <a:gd name="T77" fmla="*/ 1 h 126"/>
                <a:gd name="T78" fmla="*/ 157 w 176"/>
                <a:gd name="T79" fmla="*/ 1 h 126"/>
                <a:gd name="T80" fmla="*/ 156 w 176"/>
                <a:gd name="T81" fmla="*/ 1 h 126"/>
                <a:gd name="T82" fmla="*/ 155 w 176"/>
                <a:gd name="T83" fmla="*/ 0 h 126"/>
                <a:gd name="T84" fmla="*/ 154 w 176"/>
                <a:gd name="T85" fmla="*/ 0 h 126"/>
                <a:gd name="T86" fmla="*/ 153 w 176"/>
                <a:gd name="T87" fmla="*/ 0 h 126"/>
                <a:gd name="T88" fmla="*/ 153 w 176"/>
                <a:gd name="T89" fmla="*/ 0 h 126"/>
                <a:gd name="T90" fmla="*/ 151 w 176"/>
                <a:gd name="T91" fmla="*/ 0 h 126"/>
                <a:gd name="T92" fmla="*/ 24 w 176"/>
                <a:gd name="T93" fmla="*/ 0 h 126"/>
                <a:gd name="T94" fmla="*/ 176 w 176"/>
                <a:gd name="T95" fmla="*/ 2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 h="126">
                  <a:moveTo>
                    <a:pt x="0" y="24"/>
                  </a:moveTo>
                  <a:cubicBezTo>
                    <a:pt x="0" y="33"/>
                    <a:pt x="0" y="33"/>
                    <a:pt x="0" y="33"/>
                  </a:cubicBezTo>
                  <a:cubicBezTo>
                    <a:pt x="0" y="46"/>
                    <a:pt x="11" y="57"/>
                    <a:pt x="24" y="57"/>
                  </a:cubicBezTo>
                  <a:cubicBezTo>
                    <a:pt x="85" y="57"/>
                    <a:pt x="85" y="57"/>
                    <a:pt x="85" y="57"/>
                  </a:cubicBezTo>
                  <a:cubicBezTo>
                    <a:pt x="103" y="57"/>
                    <a:pt x="119" y="72"/>
                    <a:pt x="119" y="91"/>
                  </a:cubicBezTo>
                  <a:cubicBezTo>
                    <a:pt x="119" y="102"/>
                    <a:pt x="119" y="102"/>
                    <a:pt x="119" y="102"/>
                  </a:cubicBezTo>
                  <a:cubicBezTo>
                    <a:pt x="119" y="115"/>
                    <a:pt x="130" y="126"/>
                    <a:pt x="143" y="126"/>
                  </a:cubicBezTo>
                  <a:cubicBezTo>
                    <a:pt x="151" y="126"/>
                    <a:pt x="151" y="126"/>
                    <a:pt x="151" y="126"/>
                  </a:cubicBezTo>
                  <a:cubicBezTo>
                    <a:pt x="165" y="126"/>
                    <a:pt x="176" y="115"/>
                    <a:pt x="176" y="102"/>
                  </a:cubicBezTo>
                  <a:cubicBezTo>
                    <a:pt x="176" y="33"/>
                    <a:pt x="176" y="33"/>
                    <a:pt x="176" y="33"/>
                  </a:cubicBezTo>
                  <a:cubicBezTo>
                    <a:pt x="176" y="24"/>
                    <a:pt x="176" y="24"/>
                    <a:pt x="176" y="24"/>
                  </a:cubicBezTo>
                  <a:cubicBezTo>
                    <a:pt x="176" y="24"/>
                    <a:pt x="176" y="24"/>
                    <a:pt x="176" y="24"/>
                  </a:cubicBezTo>
                  <a:cubicBezTo>
                    <a:pt x="176" y="24"/>
                    <a:pt x="176" y="24"/>
                    <a:pt x="176" y="24"/>
                  </a:cubicBezTo>
                  <a:cubicBezTo>
                    <a:pt x="175" y="23"/>
                    <a:pt x="175" y="23"/>
                    <a:pt x="175" y="23"/>
                  </a:cubicBezTo>
                  <a:cubicBezTo>
                    <a:pt x="175" y="23"/>
                    <a:pt x="175" y="23"/>
                    <a:pt x="175" y="23"/>
                  </a:cubicBezTo>
                  <a:cubicBezTo>
                    <a:pt x="175" y="22"/>
                    <a:pt x="175" y="22"/>
                    <a:pt x="175" y="22"/>
                  </a:cubicBezTo>
                  <a:cubicBezTo>
                    <a:pt x="175" y="22"/>
                    <a:pt x="175" y="22"/>
                    <a:pt x="175" y="22"/>
                  </a:cubicBezTo>
                  <a:cubicBezTo>
                    <a:pt x="175" y="22"/>
                    <a:pt x="175" y="22"/>
                    <a:pt x="175" y="22"/>
                  </a:cubicBezTo>
                  <a:cubicBezTo>
                    <a:pt x="175" y="22"/>
                    <a:pt x="175" y="22"/>
                    <a:pt x="175" y="22"/>
                  </a:cubicBezTo>
                  <a:cubicBezTo>
                    <a:pt x="175" y="21"/>
                    <a:pt x="175" y="21"/>
                    <a:pt x="175" y="21"/>
                  </a:cubicBezTo>
                  <a:cubicBezTo>
                    <a:pt x="175" y="21"/>
                    <a:pt x="175" y="21"/>
                    <a:pt x="175" y="21"/>
                  </a:cubicBezTo>
                  <a:cubicBezTo>
                    <a:pt x="175" y="21"/>
                    <a:pt x="175" y="21"/>
                    <a:pt x="175" y="21"/>
                  </a:cubicBezTo>
                  <a:cubicBezTo>
                    <a:pt x="175" y="21"/>
                    <a:pt x="175" y="21"/>
                    <a:pt x="175" y="21"/>
                  </a:cubicBezTo>
                  <a:cubicBezTo>
                    <a:pt x="175" y="20"/>
                    <a:pt x="175" y="20"/>
                    <a:pt x="175" y="20"/>
                  </a:cubicBezTo>
                  <a:cubicBezTo>
                    <a:pt x="175" y="20"/>
                    <a:pt x="175" y="20"/>
                    <a:pt x="175" y="20"/>
                  </a:cubicBezTo>
                  <a:cubicBezTo>
                    <a:pt x="175" y="20"/>
                    <a:pt x="175" y="20"/>
                    <a:pt x="175" y="19"/>
                  </a:cubicBezTo>
                  <a:cubicBezTo>
                    <a:pt x="175" y="19"/>
                    <a:pt x="175" y="19"/>
                    <a:pt x="175" y="19"/>
                  </a:cubicBezTo>
                  <a:cubicBezTo>
                    <a:pt x="175" y="19"/>
                    <a:pt x="175" y="19"/>
                    <a:pt x="175" y="19"/>
                  </a:cubicBezTo>
                  <a:cubicBezTo>
                    <a:pt x="175" y="19"/>
                    <a:pt x="175" y="19"/>
                    <a:pt x="175" y="19"/>
                  </a:cubicBezTo>
                  <a:cubicBezTo>
                    <a:pt x="175" y="18"/>
                    <a:pt x="175" y="18"/>
                    <a:pt x="175" y="18"/>
                  </a:cubicBezTo>
                  <a:cubicBezTo>
                    <a:pt x="175" y="18"/>
                    <a:pt x="175" y="18"/>
                    <a:pt x="175" y="18"/>
                  </a:cubicBezTo>
                  <a:cubicBezTo>
                    <a:pt x="175" y="18"/>
                    <a:pt x="175" y="18"/>
                    <a:pt x="175" y="18"/>
                  </a:cubicBezTo>
                  <a:cubicBezTo>
                    <a:pt x="175" y="18"/>
                    <a:pt x="175" y="18"/>
                    <a:pt x="175" y="18"/>
                  </a:cubicBezTo>
                  <a:cubicBezTo>
                    <a:pt x="174" y="17"/>
                    <a:pt x="174" y="17"/>
                    <a:pt x="174" y="17"/>
                  </a:cubicBezTo>
                  <a:cubicBezTo>
                    <a:pt x="174" y="17"/>
                    <a:pt x="174" y="17"/>
                    <a:pt x="174" y="17"/>
                  </a:cubicBezTo>
                  <a:cubicBezTo>
                    <a:pt x="174" y="16"/>
                    <a:pt x="174" y="16"/>
                    <a:pt x="174" y="16"/>
                  </a:cubicBezTo>
                  <a:cubicBezTo>
                    <a:pt x="174" y="16"/>
                    <a:pt x="174" y="16"/>
                    <a:pt x="174" y="16"/>
                  </a:cubicBezTo>
                  <a:cubicBezTo>
                    <a:pt x="174" y="16"/>
                    <a:pt x="174" y="16"/>
                    <a:pt x="174" y="16"/>
                  </a:cubicBezTo>
                  <a:cubicBezTo>
                    <a:pt x="174" y="16"/>
                    <a:pt x="174" y="16"/>
                    <a:pt x="174" y="16"/>
                  </a:cubicBezTo>
                  <a:cubicBezTo>
                    <a:pt x="174" y="15"/>
                    <a:pt x="174" y="15"/>
                    <a:pt x="174" y="15"/>
                  </a:cubicBezTo>
                  <a:cubicBezTo>
                    <a:pt x="174" y="15"/>
                    <a:pt x="174" y="15"/>
                    <a:pt x="174" y="15"/>
                  </a:cubicBezTo>
                  <a:cubicBezTo>
                    <a:pt x="174" y="15"/>
                    <a:pt x="174" y="15"/>
                    <a:pt x="174" y="15"/>
                  </a:cubicBezTo>
                  <a:cubicBezTo>
                    <a:pt x="174" y="15"/>
                    <a:pt x="174" y="15"/>
                    <a:pt x="174" y="15"/>
                  </a:cubicBezTo>
                  <a:cubicBezTo>
                    <a:pt x="173" y="14"/>
                    <a:pt x="173" y="14"/>
                    <a:pt x="173" y="14"/>
                  </a:cubicBezTo>
                  <a:cubicBezTo>
                    <a:pt x="173" y="14"/>
                    <a:pt x="173" y="14"/>
                    <a:pt x="173" y="14"/>
                  </a:cubicBezTo>
                  <a:cubicBezTo>
                    <a:pt x="173" y="14"/>
                    <a:pt x="173" y="14"/>
                    <a:pt x="173" y="14"/>
                  </a:cubicBezTo>
                  <a:cubicBezTo>
                    <a:pt x="173" y="14"/>
                    <a:pt x="173" y="14"/>
                    <a:pt x="173" y="14"/>
                  </a:cubicBezTo>
                  <a:cubicBezTo>
                    <a:pt x="173" y="13"/>
                    <a:pt x="173" y="13"/>
                    <a:pt x="173" y="13"/>
                  </a:cubicBezTo>
                  <a:cubicBezTo>
                    <a:pt x="173" y="13"/>
                    <a:pt x="173" y="13"/>
                    <a:pt x="173" y="13"/>
                  </a:cubicBezTo>
                  <a:cubicBezTo>
                    <a:pt x="173" y="13"/>
                    <a:pt x="173" y="13"/>
                    <a:pt x="173" y="13"/>
                  </a:cubicBezTo>
                  <a:cubicBezTo>
                    <a:pt x="173" y="13"/>
                    <a:pt x="173" y="13"/>
                    <a:pt x="173" y="13"/>
                  </a:cubicBezTo>
                  <a:cubicBezTo>
                    <a:pt x="172" y="12"/>
                    <a:pt x="172" y="12"/>
                    <a:pt x="172" y="12"/>
                  </a:cubicBezTo>
                  <a:cubicBezTo>
                    <a:pt x="172" y="12"/>
                    <a:pt x="172" y="12"/>
                    <a:pt x="172" y="12"/>
                  </a:cubicBezTo>
                  <a:cubicBezTo>
                    <a:pt x="172" y="12"/>
                    <a:pt x="172" y="12"/>
                    <a:pt x="172" y="12"/>
                  </a:cubicBezTo>
                  <a:cubicBezTo>
                    <a:pt x="172" y="12"/>
                    <a:pt x="172" y="12"/>
                    <a:pt x="172" y="12"/>
                  </a:cubicBezTo>
                  <a:cubicBezTo>
                    <a:pt x="172" y="11"/>
                    <a:pt x="172" y="11"/>
                    <a:pt x="172" y="11"/>
                  </a:cubicBezTo>
                  <a:cubicBezTo>
                    <a:pt x="172" y="11"/>
                    <a:pt x="172" y="11"/>
                    <a:pt x="172" y="11"/>
                  </a:cubicBezTo>
                  <a:cubicBezTo>
                    <a:pt x="171" y="11"/>
                    <a:pt x="171" y="11"/>
                    <a:pt x="171" y="11"/>
                  </a:cubicBezTo>
                  <a:cubicBezTo>
                    <a:pt x="171" y="11"/>
                    <a:pt x="171" y="11"/>
                    <a:pt x="171" y="11"/>
                  </a:cubicBezTo>
                  <a:cubicBezTo>
                    <a:pt x="171" y="10"/>
                    <a:pt x="171" y="10"/>
                    <a:pt x="171" y="10"/>
                  </a:cubicBezTo>
                  <a:cubicBezTo>
                    <a:pt x="171" y="10"/>
                    <a:pt x="171" y="10"/>
                    <a:pt x="171" y="10"/>
                  </a:cubicBezTo>
                  <a:cubicBezTo>
                    <a:pt x="171" y="10"/>
                    <a:pt x="171" y="10"/>
                    <a:pt x="171" y="10"/>
                  </a:cubicBezTo>
                  <a:cubicBezTo>
                    <a:pt x="171" y="10"/>
                    <a:pt x="171" y="10"/>
                    <a:pt x="171" y="10"/>
                  </a:cubicBezTo>
                  <a:cubicBezTo>
                    <a:pt x="170" y="9"/>
                    <a:pt x="170" y="9"/>
                    <a:pt x="170" y="9"/>
                  </a:cubicBezTo>
                  <a:cubicBezTo>
                    <a:pt x="170" y="9"/>
                    <a:pt x="170" y="9"/>
                    <a:pt x="170" y="9"/>
                  </a:cubicBezTo>
                  <a:cubicBezTo>
                    <a:pt x="170" y="9"/>
                    <a:pt x="170" y="9"/>
                    <a:pt x="170" y="9"/>
                  </a:cubicBezTo>
                  <a:cubicBezTo>
                    <a:pt x="170" y="9"/>
                    <a:pt x="170" y="9"/>
                    <a:pt x="170" y="9"/>
                  </a:cubicBezTo>
                  <a:cubicBezTo>
                    <a:pt x="170" y="8"/>
                    <a:pt x="170" y="8"/>
                    <a:pt x="170" y="8"/>
                  </a:cubicBezTo>
                  <a:cubicBezTo>
                    <a:pt x="170" y="8"/>
                    <a:pt x="170" y="8"/>
                    <a:pt x="170" y="8"/>
                  </a:cubicBezTo>
                  <a:cubicBezTo>
                    <a:pt x="169" y="8"/>
                    <a:pt x="169" y="8"/>
                    <a:pt x="169" y="8"/>
                  </a:cubicBezTo>
                  <a:cubicBezTo>
                    <a:pt x="169" y="8"/>
                    <a:pt x="169" y="8"/>
                    <a:pt x="169" y="8"/>
                  </a:cubicBezTo>
                  <a:cubicBezTo>
                    <a:pt x="169" y="8"/>
                    <a:pt x="169" y="8"/>
                    <a:pt x="169" y="8"/>
                  </a:cubicBezTo>
                  <a:cubicBezTo>
                    <a:pt x="169" y="8"/>
                    <a:pt x="169" y="8"/>
                    <a:pt x="169" y="8"/>
                  </a:cubicBezTo>
                  <a:cubicBezTo>
                    <a:pt x="168" y="7"/>
                    <a:pt x="168" y="7"/>
                    <a:pt x="168" y="7"/>
                  </a:cubicBezTo>
                  <a:cubicBezTo>
                    <a:pt x="168" y="7"/>
                    <a:pt x="168" y="7"/>
                    <a:pt x="168" y="7"/>
                  </a:cubicBezTo>
                  <a:cubicBezTo>
                    <a:pt x="168" y="7"/>
                    <a:pt x="168" y="7"/>
                    <a:pt x="168" y="7"/>
                  </a:cubicBezTo>
                  <a:cubicBezTo>
                    <a:pt x="168" y="7"/>
                    <a:pt x="168" y="7"/>
                    <a:pt x="168" y="7"/>
                  </a:cubicBezTo>
                  <a:cubicBezTo>
                    <a:pt x="168" y="6"/>
                    <a:pt x="168" y="6"/>
                    <a:pt x="168" y="6"/>
                  </a:cubicBezTo>
                  <a:cubicBezTo>
                    <a:pt x="168" y="6"/>
                    <a:pt x="168" y="6"/>
                    <a:pt x="168" y="6"/>
                  </a:cubicBezTo>
                  <a:cubicBezTo>
                    <a:pt x="167" y="6"/>
                    <a:pt x="167" y="6"/>
                    <a:pt x="167" y="6"/>
                  </a:cubicBezTo>
                  <a:cubicBezTo>
                    <a:pt x="167" y="6"/>
                    <a:pt x="167" y="6"/>
                    <a:pt x="167" y="6"/>
                  </a:cubicBezTo>
                  <a:cubicBezTo>
                    <a:pt x="167" y="6"/>
                    <a:pt x="167" y="6"/>
                    <a:pt x="167" y="6"/>
                  </a:cubicBezTo>
                  <a:cubicBezTo>
                    <a:pt x="167" y="6"/>
                    <a:pt x="167" y="6"/>
                    <a:pt x="167" y="6"/>
                  </a:cubicBezTo>
                  <a:cubicBezTo>
                    <a:pt x="167" y="5"/>
                    <a:pt x="166" y="5"/>
                    <a:pt x="166" y="5"/>
                  </a:cubicBezTo>
                  <a:cubicBezTo>
                    <a:pt x="166" y="5"/>
                    <a:pt x="166" y="5"/>
                    <a:pt x="166" y="5"/>
                  </a:cubicBezTo>
                  <a:cubicBezTo>
                    <a:pt x="166" y="5"/>
                    <a:pt x="166" y="5"/>
                    <a:pt x="166" y="5"/>
                  </a:cubicBezTo>
                  <a:cubicBezTo>
                    <a:pt x="166" y="5"/>
                    <a:pt x="166" y="5"/>
                    <a:pt x="166" y="5"/>
                  </a:cubicBezTo>
                  <a:cubicBezTo>
                    <a:pt x="165" y="5"/>
                    <a:pt x="165" y="5"/>
                    <a:pt x="165" y="5"/>
                  </a:cubicBezTo>
                  <a:cubicBezTo>
                    <a:pt x="165" y="5"/>
                    <a:pt x="165" y="5"/>
                    <a:pt x="165" y="5"/>
                  </a:cubicBezTo>
                  <a:cubicBezTo>
                    <a:pt x="165" y="4"/>
                    <a:pt x="165" y="4"/>
                    <a:pt x="165" y="4"/>
                  </a:cubicBezTo>
                  <a:cubicBezTo>
                    <a:pt x="165" y="4"/>
                    <a:pt x="165" y="4"/>
                    <a:pt x="165" y="4"/>
                  </a:cubicBezTo>
                  <a:cubicBezTo>
                    <a:pt x="164" y="4"/>
                    <a:pt x="164" y="4"/>
                    <a:pt x="164" y="4"/>
                  </a:cubicBezTo>
                  <a:cubicBezTo>
                    <a:pt x="164" y="4"/>
                    <a:pt x="164" y="4"/>
                    <a:pt x="164" y="4"/>
                  </a:cubicBezTo>
                  <a:cubicBezTo>
                    <a:pt x="164" y="4"/>
                    <a:pt x="164" y="4"/>
                    <a:pt x="164" y="4"/>
                  </a:cubicBezTo>
                  <a:cubicBezTo>
                    <a:pt x="164" y="4"/>
                    <a:pt x="164" y="4"/>
                    <a:pt x="164" y="4"/>
                  </a:cubicBezTo>
                  <a:cubicBezTo>
                    <a:pt x="163" y="3"/>
                    <a:pt x="163" y="3"/>
                    <a:pt x="163" y="3"/>
                  </a:cubicBezTo>
                  <a:cubicBezTo>
                    <a:pt x="163" y="3"/>
                    <a:pt x="163" y="3"/>
                    <a:pt x="163" y="3"/>
                  </a:cubicBezTo>
                  <a:cubicBezTo>
                    <a:pt x="163" y="3"/>
                    <a:pt x="163" y="3"/>
                    <a:pt x="163" y="3"/>
                  </a:cubicBezTo>
                  <a:cubicBezTo>
                    <a:pt x="163" y="3"/>
                    <a:pt x="163" y="3"/>
                    <a:pt x="163" y="3"/>
                  </a:cubicBezTo>
                  <a:cubicBezTo>
                    <a:pt x="162" y="3"/>
                    <a:pt x="162" y="3"/>
                    <a:pt x="162" y="3"/>
                  </a:cubicBezTo>
                  <a:cubicBezTo>
                    <a:pt x="162" y="3"/>
                    <a:pt x="162" y="3"/>
                    <a:pt x="162" y="3"/>
                  </a:cubicBezTo>
                  <a:cubicBezTo>
                    <a:pt x="162" y="2"/>
                    <a:pt x="162" y="2"/>
                    <a:pt x="162" y="2"/>
                  </a:cubicBezTo>
                  <a:cubicBezTo>
                    <a:pt x="162" y="2"/>
                    <a:pt x="162" y="2"/>
                    <a:pt x="162" y="2"/>
                  </a:cubicBezTo>
                  <a:cubicBezTo>
                    <a:pt x="161" y="2"/>
                    <a:pt x="161" y="2"/>
                    <a:pt x="161" y="2"/>
                  </a:cubicBezTo>
                  <a:cubicBezTo>
                    <a:pt x="161" y="2"/>
                    <a:pt x="161" y="2"/>
                    <a:pt x="161" y="2"/>
                  </a:cubicBezTo>
                  <a:cubicBezTo>
                    <a:pt x="161" y="2"/>
                    <a:pt x="161" y="2"/>
                    <a:pt x="161" y="2"/>
                  </a:cubicBezTo>
                  <a:cubicBezTo>
                    <a:pt x="161" y="2"/>
                    <a:pt x="161" y="2"/>
                    <a:pt x="161" y="2"/>
                  </a:cubicBezTo>
                  <a:cubicBezTo>
                    <a:pt x="160" y="2"/>
                    <a:pt x="160" y="2"/>
                    <a:pt x="160" y="2"/>
                  </a:cubicBezTo>
                  <a:cubicBezTo>
                    <a:pt x="160" y="2"/>
                    <a:pt x="160" y="2"/>
                    <a:pt x="160" y="2"/>
                  </a:cubicBezTo>
                  <a:cubicBezTo>
                    <a:pt x="160" y="2"/>
                    <a:pt x="160" y="2"/>
                    <a:pt x="160" y="2"/>
                  </a:cubicBezTo>
                  <a:cubicBezTo>
                    <a:pt x="160" y="2"/>
                    <a:pt x="160" y="2"/>
                    <a:pt x="160" y="2"/>
                  </a:cubicBezTo>
                  <a:cubicBezTo>
                    <a:pt x="159" y="1"/>
                    <a:pt x="159" y="1"/>
                    <a:pt x="159" y="1"/>
                  </a:cubicBezTo>
                  <a:cubicBezTo>
                    <a:pt x="159" y="1"/>
                    <a:pt x="159" y="1"/>
                    <a:pt x="159" y="1"/>
                  </a:cubicBezTo>
                  <a:cubicBezTo>
                    <a:pt x="159" y="1"/>
                    <a:pt x="159" y="1"/>
                    <a:pt x="159" y="1"/>
                  </a:cubicBezTo>
                  <a:cubicBezTo>
                    <a:pt x="159" y="1"/>
                    <a:pt x="159" y="1"/>
                    <a:pt x="159" y="1"/>
                  </a:cubicBezTo>
                  <a:cubicBezTo>
                    <a:pt x="158" y="1"/>
                    <a:pt x="158" y="1"/>
                    <a:pt x="158" y="1"/>
                  </a:cubicBezTo>
                  <a:cubicBezTo>
                    <a:pt x="158" y="1"/>
                    <a:pt x="158" y="1"/>
                    <a:pt x="158" y="1"/>
                  </a:cubicBezTo>
                  <a:cubicBezTo>
                    <a:pt x="157" y="1"/>
                    <a:pt x="157" y="1"/>
                    <a:pt x="157" y="1"/>
                  </a:cubicBezTo>
                  <a:cubicBezTo>
                    <a:pt x="157" y="1"/>
                    <a:pt x="157" y="1"/>
                    <a:pt x="157" y="1"/>
                  </a:cubicBezTo>
                  <a:cubicBezTo>
                    <a:pt x="157" y="1"/>
                    <a:pt x="157" y="1"/>
                    <a:pt x="157" y="1"/>
                  </a:cubicBezTo>
                  <a:cubicBezTo>
                    <a:pt x="157" y="1"/>
                    <a:pt x="157" y="1"/>
                    <a:pt x="157" y="1"/>
                  </a:cubicBezTo>
                  <a:cubicBezTo>
                    <a:pt x="156" y="1"/>
                    <a:pt x="156" y="1"/>
                    <a:pt x="156" y="1"/>
                  </a:cubicBezTo>
                  <a:cubicBezTo>
                    <a:pt x="156" y="1"/>
                    <a:pt x="156" y="1"/>
                    <a:pt x="156" y="1"/>
                  </a:cubicBezTo>
                  <a:cubicBezTo>
                    <a:pt x="156" y="0"/>
                    <a:pt x="156" y="0"/>
                    <a:pt x="156" y="0"/>
                  </a:cubicBezTo>
                  <a:cubicBezTo>
                    <a:pt x="156" y="0"/>
                    <a:pt x="156" y="0"/>
                    <a:pt x="156" y="0"/>
                  </a:cubicBezTo>
                  <a:cubicBezTo>
                    <a:pt x="155" y="0"/>
                    <a:pt x="155" y="0"/>
                    <a:pt x="155" y="0"/>
                  </a:cubicBezTo>
                  <a:cubicBezTo>
                    <a:pt x="155" y="0"/>
                    <a:pt x="155" y="0"/>
                    <a:pt x="155" y="0"/>
                  </a:cubicBezTo>
                  <a:cubicBezTo>
                    <a:pt x="154" y="0"/>
                    <a:pt x="154" y="0"/>
                    <a:pt x="154" y="0"/>
                  </a:cubicBezTo>
                  <a:cubicBezTo>
                    <a:pt x="154" y="0"/>
                    <a:pt x="154" y="0"/>
                    <a:pt x="154" y="0"/>
                  </a:cubicBezTo>
                  <a:cubicBezTo>
                    <a:pt x="154" y="0"/>
                    <a:pt x="154" y="0"/>
                    <a:pt x="154" y="0"/>
                  </a:cubicBezTo>
                  <a:cubicBezTo>
                    <a:pt x="154" y="0"/>
                    <a:pt x="154" y="0"/>
                    <a:pt x="154" y="0"/>
                  </a:cubicBezTo>
                  <a:cubicBezTo>
                    <a:pt x="153" y="0"/>
                    <a:pt x="153" y="0"/>
                    <a:pt x="153" y="0"/>
                  </a:cubicBezTo>
                  <a:cubicBezTo>
                    <a:pt x="153" y="0"/>
                    <a:pt x="153" y="0"/>
                    <a:pt x="153" y="0"/>
                  </a:cubicBezTo>
                  <a:cubicBezTo>
                    <a:pt x="153" y="0"/>
                    <a:pt x="153" y="0"/>
                    <a:pt x="153" y="0"/>
                  </a:cubicBezTo>
                  <a:cubicBezTo>
                    <a:pt x="153" y="0"/>
                    <a:pt x="153" y="0"/>
                    <a:pt x="153" y="0"/>
                  </a:cubicBezTo>
                  <a:cubicBezTo>
                    <a:pt x="152" y="0"/>
                    <a:pt x="152" y="0"/>
                    <a:pt x="152" y="0"/>
                  </a:cubicBezTo>
                  <a:cubicBezTo>
                    <a:pt x="152" y="0"/>
                    <a:pt x="152" y="0"/>
                    <a:pt x="152" y="0"/>
                  </a:cubicBezTo>
                  <a:cubicBezTo>
                    <a:pt x="151" y="0"/>
                    <a:pt x="151" y="0"/>
                    <a:pt x="151" y="0"/>
                  </a:cubicBezTo>
                  <a:cubicBezTo>
                    <a:pt x="151" y="0"/>
                    <a:pt x="151" y="0"/>
                    <a:pt x="151" y="0"/>
                  </a:cubicBezTo>
                  <a:cubicBezTo>
                    <a:pt x="143" y="0"/>
                    <a:pt x="143" y="0"/>
                    <a:pt x="143" y="0"/>
                  </a:cubicBezTo>
                  <a:cubicBezTo>
                    <a:pt x="24" y="0"/>
                    <a:pt x="24" y="0"/>
                    <a:pt x="24" y="0"/>
                  </a:cubicBezTo>
                  <a:cubicBezTo>
                    <a:pt x="11" y="0"/>
                    <a:pt x="0" y="11"/>
                    <a:pt x="0" y="24"/>
                  </a:cubicBezTo>
                  <a:close/>
                  <a:moveTo>
                    <a:pt x="176" y="24"/>
                  </a:moveTo>
                  <a:cubicBezTo>
                    <a:pt x="176" y="24"/>
                    <a:pt x="176" y="24"/>
                    <a:pt x="176" y="24"/>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26" name="Freeform 32"/>
            <p:cNvSpPr>
              <a:spLocks noEditPoints="1"/>
            </p:cNvSpPr>
            <p:nvPr userDrawn="1"/>
          </p:nvSpPr>
          <p:spPr bwMode="auto">
            <a:xfrm>
              <a:off x="2744" y="2260"/>
              <a:ext cx="1290" cy="1187"/>
            </a:xfrm>
            <a:custGeom>
              <a:avLst/>
              <a:gdLst>
                <a:gd name="T0" fmla="*/ 158 w 731"/>
                <a:gd name="T1" fmla="*/ 246 h 672"/>
                <a:gd name="T2" fmla="*/ 204 w 731"/>
                <a:gd name="T3" fmla="*/ 284 h 672"/>
                <a:gd name="T4" fmla="*/ 204 w 731"/>
                <a:gd name="T5" fmla="*/ 286 h 672"/>
                <a:gd name="T6" fmla="*/ 214 w 731"/>
                <a:gd name="T7" fmla="*/ 302 h 672"/>
                <a:gd name="T8" fmla="*/ 215 w 731"/>
                <a:gd name="T9" fmla="*/ 303 h 672"/>
                <a:gd name="T10" fmla="*/ 217 w 731"/>
                <a:gd name="T11" fmla="*/ 304 h 672"/>
                <a:gd name="T12" fmla="*/ 218 w 731"/>
                <a:gd name="T13" fmla="*/ 305 h 672"/>
                <a:gd name="T14" fmla="*/ 220 w 731"/>
                <a:gd name="T15" fmla="*/ 305 h 672"/>
                <a:gd name="T16" fmla="*/ 222 w 731"/>
                <a:gd name="T17" fmla="*/ 306 h 672"/>
                <a:gd name="T18" fmla="*/ 223 w 731"/>
                <a:gd name="T19" fmla="*/ 306 h 672"/>
                <a:gd name="T20" fmla="*/ 225 w 731"/>
                <a:gd name="T21" fmla="*/ 307 h 672"/>
                <a:gd name="T22" fmla="*/ 227 w 731"/>
                <a:gd name="T23" fmla="*/ 307 h 672"/>
                <a:gd name="T24" fmla="*/ 272 w 731"/>
                <a:gd name="T25" fmla="*/ 341 h 672"/>
                <a:gd name="T26" fmla="*/ 272 w 731"/>
                <a:gd name="T27" fmla="*/ 344 h 672"/>
                <a:gd name="T28" fmla="*/ 272 w 731"/>
                <a:gd name="T29" fmla="*/ 346 h 672"/>
                <a:gd name="T30" fmla="*/ 272 w 731"/>
                <a:gd name="T31" fmla="*/ 348 h 672"/>
                <a:gd name="T32" fmla="*/ 295 w 731"/>
                <a:gd name="T33" fmla="*/ 367 h 672"/>
                <a:gd name="T34" fmla="*/ 333 w 731"/>
                <a:gd name="T35" fmla="*/ 402 h 672"/>
                <a:gd name="T36" fmla="*/ 333 w 731"/>
                <a:gd name="T37" fmla="*/ 404 h 672"/>
                <a:gd name="T38" fmla="*/ 334 w 731"/>
                <a:gd name="T39" fmla="*/ 406 h 672"/>
                <a:gd name="T40" fmla="*/ 347 w 731"/>
                <a:gd name="T41" fmla="*/ 424 h 672"/>
                <a:gd name="T42" fmla="*/ 349 w 731"/>
                <a:gd name="T43" fmla="*/ 425 h 672"/>
                <a:gd name="T44" fmla="*/ 350 w 731"/>
                <a:gd name="T45" fmla="*/ 425 h 672"/>
                <a:gd name="T46" fmla="*/ 352 w 731"/>
                <a:gd name="T47" fmla="*/ 426 h 672"/>
                <a:gd name="T48" fmla="*/ 353 w 731"/>
                <a:gd name="T49" fmla="*/ 426 h 672"/>
                <a:gd name="T50" fmla="*/ 356 w 731"/>
                <a:gd name="T51" fmla="*/ 426 h 672"/>
                <a:gd name="T52" fmla="*/ 366 w 731"/>
                <a:gd name="T53" fmla="*/ 426 h 672"/>
                <a:gd name="T54" fmla="*/ 403 w 731"/>
                <a:gd name="T55" fmla="*/ 466 h 672"/>
                <a:gd name="T56" fmla="*/ 403 w 731"/>
                <a:gd name="T57" fmla="*/ 467 h 672"/>
                <a:gd name="T58" fmla="*/ 403 w 731"/>
                <a:gd name="T59" fmla="*/ 469 h 672"/>
                <a:gd name="T60" fmla="*/ 404 w 731"/>
                <a:gd name="T61" fmla="*/ 471 h 672"/>
                <a:gd name="T62" fmla="*/ 404 w 731"/>
                <a:gd name="T63" fmla="*/ 473 h 672"/>
                <a:gd name="T64" fmla="*/ 405 w 731"/>
                <a:gd name="T65" fmla="*/ 474 h 672"/>
                <a:gd name="T66" fmla="*/ 406 w 731"/>
                <a:gd name="T67" fmla="*/ 476 h 672"/>
                <a:gd name="T68" fmla="*/ 407 w 731"/>
                <a:gd name="T69" fmla="*/ 477 h 672"/>
                <a:gd name="T70" fmla="*/ 408 w 731"/>
                <a:gd name="T71" fmla="*/ 479 h 672"/>
                <a:gd name="T72" fmla="*/ 409 w 731"/>
                <a:gd name="T73" fmla="*/ 480 h 672"/>
                <a:gd name="T74" fmla="*/ 410 w 731"/>
                <a:gd name="T75" fmla="*/ 481 h 672"/>
                <a:gd name="T76" fmla="*/ 411 w 731"/>
                <a:gd name="T77" fmla="*/ 483 h 672"/>
                <a:gd name="T78" fmla="*/ 413 w 731"/>
                <a:gd name="T79" fmla="*/ 484 h 672"/>
                <a:gd name="T80" fmla="*/ 414 w 731"/>
                <a:gd name="T81" fmla="*/ 485 h 672"/>
                <a:gd name="T82" fmla="*/ 416 w 731"/>
                <a:gd name="T83" fmla="*/ 486 h 672"/>
                <a:gd name="T84" fmla="*/ 417 w 731"/>
                <a:gd name="T85" fmla="*/ 486 h 672"/>
                <a:gd name="T86" fmla="*/ 419 w 731"/>
                <a:gd name="T87" fmla="*/ 487 h 672"/>
                <a:gd name="T88" fmla="*/ 420 w 731"/>
                <a:gd name="T89" fmla="*/ 488 h 672"/>
                <a:gd name="T90" fmla="*/ 422 w 731"/>
                <a:gd name="T91" fmla="*/ 488 h 672"/>
                <a:gd name="T92" fmla="*/ 424 w 731"/>
                <a:gd name="T93" fmla="*/ 488 h 672"/>
                <a:gd name="T94" fmla="*/ 426 w 731"/>
                <a:gd name="T95" fmla="*/ 489 h 672"/>
                <a:gd name="T96" fmla="*/ 538 w 731"/>
                <a:gd name="T97" fmla="*/ 523 h 672"/>
                <a:gd name="T98" fmla="*/ 595 w 731"/>
                <a:gd name="T99" fmla="*/ 648 h 672"/>
                <a:gd name="T100" fmla="*/ 650 w 731"/>
                <a:gd name="T101" fmla="*/ 555 h 672"/>
                <a:gd name="T102" fmla="*/ 731 w 731"/>
                <a:gd name="T103" fmla="*/ 457 h 672"/>
                <a:gd name="T104" fmla="*/ 498 w 731"/>
                <a:gd name="T105" fmla="*/ 372 h 672"/>
                <a:gd name="T106" fmla="*/ 430 w 731"/>
                <a:gd name="T107" fmla="*/ 246 h 672"/>
                <a:gd name="T108" fmla="*/ 334 w 731"/>
                <a:gd name="T109" fmla="*/ 155 h 672"/>
                <a:gd name="T110" fmla="*/ 66 w 731"/>
                <a:gd name="T111" fmla="*/ 22 h 672"/>
                <a:gd name="T112" fmla="*/ 403 w 731"/>
                <a:gd name="T113" fmla="*/ 464 h 672"/>
                <a:gd name="T114" fmla="*/ 272 w 731"/>
                <a:gd name="T115" fmla="*/ 342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1" h="672">
                  <a:moveTo>
                    <a:pt x="0" y="216"/>
                  </a:moveTo>
                  <a:cubicBezTo>
                    <a:pt x="0" y="223"/>
                    <a:pt x="4" y="186"/>
                    <a:pt x="20" y="186"/>
                  </a:cubicBezTo>
                  <a:cubicBezTo>
                    <a:pt x="99" y="186"/>
                    <a:pt x="99" y="186"/>
                    <a:pt x="99" y="186"/>
                  </a:cubicBezTo>
                  <a:cubicBezTo>
                    <a:pt x="114" y="186"/>
                    <a:pt x="134" y="181"/>
                    <a:pt x="134" y="214"/>
                  </a:cubicBezTo>
                  <a:cubicBezTo>
                    <a:pt x="134" y="221"/>
                    <a:pt x="134" y="221"/>
                    <a:pt x="134" y="221"/>
                  </a:cubicBezTo>
                  <a:cubicBezTo>
                    <a:pt x="134" y="235"/>
                    <a:pt x="145" y="246"/>
                    <a:pt x="158" y="246"/>
                  </a:cubicBezTo>
                  <a:cubicBezTo>
                    <a:pt x="170" y="246"/>
                    <a:pt x="170" y="246"/>
                    <a:pt x="170" y="246"/>
                  </a:cubicBezTo>
                  <a:cubicBezTo>
                    <a:pt x="189" y="246"/>
                    <a:pt x="204" y="261"/>
                    <a:pt x="204" y="280"/>
                  </a:cubicBezTo>
                  <a:cubicBezTo>
                    <a:pt x="204" y="283"/>
                    <a:pt x="204" y="283"/>
                    <a:pt x="204" y="283"/>
                  </a:cubicBezTo>
                  <a:cubicBezTo>
                    <a:pt x="204" y="283"/>
                    <a:pt x="204" y="283"/>
                    <a:pt x="204" y="283"/>
                  </a:cubicBezTo>
                  <a:cubicBezTo>
                    <a:pt x="204" y="283"/>
                    <a:pt x="204" y="283"/>
                    <a:pt x="204" y="283"/>
                  </a:cubicBezTo>
                  <a:cubicBezTo>
                    <a:pt x="204" y="284"/>
                    <a:pt x="204" y="284"/>
                    <a:pt x="204" y="284"/>
                  </a:cubicBezTo>
                  <a:cubicBezTo>
                    <a:pt x="204" y="284"/>
                    <a:pt x="204" y="284"/>
                    <a:pt x="204" y="284"/>
                  </a:cubicBezTo>
                  <a:cubicBezTo>
                    <a:pt x="204" y="285"/>
                    <a:pt x="204" y="285"/>
                    <a:pt x="204" y="285"/>
                  </a:cubicBezTo>
                  <a:cubicBezTo>
                    <a:pt x="204" y="285"/>
                    <a:pt x="204" y="285"/>
                    <a:pt x="204" y="285"/>
                  </a:cubicBezTo>
                  <a:cubicBezTo>
                    <a:pt x="204" y="285"/>
                    <a:pt x="204" y="285"/>
                    <a:pt x="204" y="285"/>
                  </a:cubicBezTo>
                  <a:cubicBezTo>
                    <a:pt x="204" y="285"/>
                    <a:pt x="204" y="285"/>
                    <a:pt x="204" y="285"/>
                  </a:cubicBezTo>
                  <a:cubicBezTo>
                    <a:pt x="204" y="286"/>
                    <a:pt x="204" y="286"/>
                    <a:pt x="204" y="286"/>
                  </a:cubicBezTo>
                  <a:cubicBezTo>
                    <a:pt x="204" y="286"/>
                    <a:pt x="204" y="286"/>
                    <a:pt x="204" y="286"/>
                  </a:cubicBezTo>
                  <a:cubicBezTo>
                    <a:pt x="204" y="286"/>
                    <a:pt x="204" y="286"/>
                    <a:pt x="204" y="286"/>
                  </a:cubicBezTo>
                  <a:cubicBezTo>
                    <a:pt x="204" y="286"/>
                    <a:pt x="204" y="286"/>
                    <a:pt x="204" y="286"/>
                  </a:cubicBezTo>
                  <a:cubicBezTo>
                    <a:pt x="205" y="287"/>
                    <a:pt x="205" y="287"/>
                    <a:pt x="205" y="287"/>
                  </a:cubicBezTo>
                  <a:cubicBezTo>
                    <a:pt x="205" y="287"/>
                    <a:pt x="205" y="287"/>
                    <a:pt x="205" y="287"/>
                  </a:cubicBezTo>
                  <a:cubicBezTo>
                    <a:pt x="206" y="293"/>
                    <a:pt x="209" y="298"/>
                    <a:pt x="214" y="302"/>
                  </a:cubicBezTo>
                  <a:cubicBezTo>
                    <a:pt x="214" y="302"/>
                    <a:pt x="214" y="302"/>
                    <a:pt x="214" y="302"/>
                  </a:cubicBezTo>
                  <a:cubicBezTo>
                    <a:pt x="214" y="302"/>
                    <a:pt x="214" y="302"/>
                    <a:pt x="214" y="302"/>
                  </a:cubicBezTo>
                  <a:cubicBezTo>
                    <a:pt x="214" y="302"/>
                    <a:pt x="214" y="302"/>
                    <a:pt x="214" y="302"/>
                  </a:cubicBezTo>
                  <a:cubicBezTo>
                    <a:pt x="215" y="303"/>
                    <a:pt x="215" y="303"/>
                    <a:pt x="215" y="303"/>
                  </a:cubicBezTo>
                  <a:cubicBezTo>
                    <a:pt x="215" y="303"/>
                    <a:pt x="215" y="303"/>
                    <a:pt x="215" y="303"/>
                  </a:cubicBezTo>
                  <a:cubicBezTo>
                    <a:pt x="215" y="303"/>
                    <a:pt x="215" y="303"/>
                    <a:pt x="215" y="303"/>
                  </a:cubicBezTo>
                  <a:cubicBezTo>
                    <a:pt x="215" y="303"/>
                    <a:pt x="215" y="303"/>
                    <a:pt x="215" y="303"/>
                  </a:cubicBezTo>
                  <a:cubicBezTo>
                    <a:pt x="216" y="303"/>
                    <a:pt x="216" y="303"/>
                    <a:pt x="216" y="303"/>
                  </a:cubicBezTo>
                  <a:cubicBezTo>
                    <a:pt x="216" y="303"/>
                    <a:pt x="216" y="303"/>
                    <a:pt x="216" y="303"/>
                  </a:cubicBezTo>
                  <a:cubicBezTo>
                    <a:pt x="216" y="303"/>
                    <a:pt x="216" y="303"/>
                    <a:pt x="216" y="303"/>
                  </a:cubicBezTo>
                  <a:cubicBezTo>
                    <a:pt x="216" y="304"/>
                    <a:pt x="216" y="304"/>
                    <a:pt x="217" y="304"/>
                  </a:cubicBezTo>
                  <a:cubicBezTo>
                    <a:pt x="217" y="304"/>
                    <a:pt x="217" y="304"/>
                    <a:pt x="217" y="304"/>
                  </a:cubicBezTo>
                  <a:cubicBezTo>
                    <a:pt x="217" y="304"/>
                    <a:pt x="217" y="304"/>
                    <a:pt x="217" y="304"/>
                  </a:cubicBezTo>
                  <a:cubicBezTo>
                    <a:pt x="217" y="304"/>
                    <a:pt x="217" y="304"/>
                    <a:pt x="217" y="304"/>
                  </a:cubicBezTo>
                  <a:cubicBezTo>
                    <a:pt x="217" y="304"/>
                    <a:pt x="217" y="304"/>
                    <a:pt x="217" y="304"/>
                  </a:cubicBezTo>
                  <a:cubicBezTo>
                    <a:pt x="218" y="304"/>
                    <a:pt x="218" y="304"/>
                    <a:pt x="218" y="304"/>
                  </a:cubicBezTo>
                  <a:cubicBezTo>
                    <a:pt x="218" y="304"/>
                    <a:pt x="218" y="304"/>
                    <a:pt x="218" y="304"/>
                  </a:cubicBezTo>
                  <a:cubicBezTo>
                    <a:pt x="218" y="305"/>
                    <a:pt x="218" y="305"/>
                    <a:pt x="218" y="305"/>
                  </a:cubicBezTo>
                  <a:cubicBezTo>
                    <a:pt x="218" y="305"/>
                    <a:pt x="218" y="305"/>
                    <a:pt x="218" y="305"/>
                  </a:cubicBezTo>
                  <a:cubicBezTo>
                    <a:pt x="219" y="305"/>
                    <a:pt x="219" y="305"/>
                    <a:pt x="219" y="305"/>
                  </a:cubicBezTo>
                  <a:cubicBezTo>
                    <a:pt x="219" y="305"/>
                    <a:pt x="219" y="305"/>
                    <a:pt x="219" y="305"/>
                  </a:cubicBezTo>
                  <a:cubicBezTo>
                    <a:pt x="219" y="305"/>
                    <a:pt x="219" y="305"/>
                    <a:pt x="219" y="305"/>
                  </a:cubicBezTo>
                  <a:cubicBezTo>
                    <a:pt x="219" y="305"/>
                    <a:pt x="219" y="305"/>
                    <a:pt x="219" y="305"/>
                  </a:cubicBezTo>
                  <a:cubicBezTo>
                    <a:pt x="220" y="305"/>
                    <a:pt x="220" y="305"/>
                    <a:pt x="220" y="305"/>
                  </a:cubicBezTo>
                  <a:cubicBezTo>
                    <a:pt x="220" y="305"/>
                    <a:pt x="220" y="305"/>
                    <a:pt x="220" y="305"/>
                  </a:cubicBezTo>
                  <a:cubicBezTo>
                    <a:pt x="221" y="306"/>
                    <a:pt x="221" y="306"/>
                    <a:pt x="221" y="306"/>
                  </a:cubicBezTo>
                  <a:cubicBezTo>
                    <a:pt x="221" y="306"/>
                    <a:pt x="221" y="306"/>
                    <a:pt x="221" y="306"/>
                  </a:cubicBezTo>
                  <a:cubicBezTo>
                    <a:pt x="221" y="306"/>
                    <a:pt x="221" y="306"/>
                    <a:pt x="221" y="306"/>
                  </a:cubicBezTo>
                  <a:cubicBezTo>
                    <a:pt x="221" y="306"/>
                    <a:pt x="221" y="306"/>
                    <a:pt x="222" y="306"/>
                  </a:cubicBezTo>
                  <a:cubicBezTo>
                    <a:pt x="222" y="306"/>
                    <a:pt x="222" y="306"/>
                    <a:pt x="222" y="306"/>
                  </a:cubicBezTo>
                  <a:cubicBezTo>
                    <a:pt x="222" y="306"/>
                    <a:pt x="222" y="306"/>
                    <a:pt x="222" y="306"/>
                  </a:cubicBezTo>
                  <a:cubicBezTo>
                    <a:pt x="222" y="306"/>
                    <a:pt x="222" y="306"/>
                    <a:pt x="222" y="306"/>
                  </a:cubicBezTo>
                  <a:cubicBezTo>
                    <a:pt x="222" y="306"/>
                    <a:pt x="222" y="306"/>
                    <a:pt x="222" y="306"/>
                  </a:cubicBezTo>
                  <a:cubicBezTo>
                    <a:pt x="223" y="306"/>
                    <a:pt x="223" y="306"/>
                    <a:pt x="223" y="306"/>
                  </a:cubicBezTo>
                  <a:cubicBezTo>
                    <a:pt x="223" y="306"/>
                    <a:pt x="223" y="306"/>
                    <a:pt x="223" y="306"/>
                  </a:cubicBezTo>
                  <a:cubicBezTo>
                    <a:pt x="223" y="306"/>
                    <a:pt x="223" y="306"/>
                    <a:pt x="223" y="306"/>
                  </a:cubicBezTo>
                  <a:cubicBezTo>
                    <a:pt x="223" y="306"/>
                    <a:pt x="223" y="306"/>
                    <a:pt x="223" y="306"/>
                  </a:cubicBezTo>
                  <a:cubicBezTo>
                    <a:pt x="224" y="306"/>
                    <a:pt x="224" y="306"/>
                    <a:pt x="224" y="306"/>
                  </a:cubicBezTo>
                  <a:cubicBezTo>
                    <a:pt x="224" y="306"/>
                    <a:pt x="224" y="306"/>
                    <a:pt x="224" y="306"/>
                  </a:cubicBezTo>
                  <a:cubicBezTo>
                    <a:pt x="224" y="307"/>
                    <a:pt x="224" y="307"/>
                    <a:pt x="224" y="307"/>
                  </a:cubicBezTo>
                  <a:cubicBezTo>
                    <a:pt x="225" y="307"/>
                    <a:pt x="225" y="307"/>
                    <a:pt x="225" y="307"/>
                  </a:cubicBezTo>
                  <a:cubicBezTo>
                    <a:pt x="225" y="307"/>
                    <a:pt x="225" y="307"/>
                    <a:pt x="225" y="307"/>
                  </a:cubicBezTo>
                  <a:cubicBezTo>
                    <a:pt x="225" y="307"/>
                    <a:pt x="225" y="307"/>
                    <a:pt x="225" y="307"/>
                  </a:cubicBezTo>
                  <a:cubicBezTo>
                    <a:pt x="226" y="307"/>
                    <a:pt x="226" y="307"/>
                    <a:pt x="226" y="307"/>
                  </a:cubicBezTo>
                  <a:cubicBezTo>
                    <a:pt x="226" y="307"/>
                    <a:pt x="226" y="307"/>
                    <a:pt x="226" y="307"/>
                  </a:cubicBezTo>
                  <a:cubicBezTo>
                    <a:pt x="226" y="307"/>
                    <a:pt x="226" y="307"/>
                    <a:pt x="226" y="307"/>
                  </a:cubicBezTo>
                  <a:cubicBezTo>
                    <a:pt x="226" y="307"/>
                    <a:pt x="226" y="307"/>
                    <a:pt x="226" y="307"/>
                  </a:cubicBezTo>
                  <a:cubicBezTo>
                    <a:pt x="227" y="307"/>
                    <a:pt x="227" y="307"/>
                    <a:pt x="227" y="307"/>
                  </a:cubicBezTo>
                  <a:cubicBezTo>
                    <a:pt x="227" y="307"/>
                    <a:pt x="227" y="307"/>
                    <a:pt x="227" y="307"/>
                  </a:cubicBezTo>
                  <a:cubicBezTo>
                    <a:pt x="227" y="307"/>
                    <a:pt x="227" y="307"/>
                    <a:pt x="227" y="307"/>
                  </a:cubicBezTo>
                  <a:cubicBezTo>
                    <a:pt x="228" y="307"/>
                    <a:pt x="228" y="307"/>
                    <a:pt x="229" y="307"/>
                  </a:cubicBezTo>
                  <a:cubicBezTo>
                    <a:pt x="237" y="307"/>
                    <a:pt x="237" y="307"/>
                    <a:pt x="237" y="307"/>
                  </a:cubicBezTo>
                  <a:cubicBezTo>
                    <a:pt x="238" y="307"/>
                    <a:pt x="238" y="307"/>
                    <a:pt x="238" y="307"/>
                  </a:cubicBezTo>
                  <a:cubicBezTo>
                    <a:pt x="256" y="307"/>
                    <a:pt x="272" y="322"/>
                    <a:pt x="272" y="341"/>
                  </a:cubicBezTo>
                  <a:cubicBezTo>
                    <a:pt x="272" y="342"/>
                    <a:pt x="272" y="342"/>
                    <a:pt x="272" y="342"/>
                  </a:cubicBezTo>
                  <a:cubicBezTo>
                    <a:pt x="272" y="343"/>
                    <a:pt x="272" y="343"/>
                    <a:pt x="272" y="343"/>
                  </a:cubicBezTo>
                  <a:cubicBezTo>
                    <a:pt x="272" y="343"/>
                    <a:pt x="272" y="343"/>
                    <a:pt x="272" y="343"/>
                  </a:cubicBezTo>
                  <a:cubicBezTo>
                    <a:pt x="272" y="344"/>
                    <a:pt x="272" y="344"/>
                    <a:pt x="272" y="344"/>
                  </a:cubicBezTo>
                  <a:cubicBezTo>
                    <a:pt x="272" y="344"/>
                    <a:pt x="272" y="344"/>
                    <a:pt x="272" y="344"/>
                  </a:cubicBezTo>
                  <a:cubicBezTo>
                    <a:pt x="272" y="344"/>
                    <a:pt x="272" y="344"/>
                    <a:pt x="272" y="344"/>
                  </a:cubicBezTo>
                  <a:cubicBezTo>
                    <a:pt x="272" y="344"/>
                    <a:pt x="272" y="344"/>
                    <a:pt x="272" y="344"/>
                  </a:cubicBezTo>
                  <a:cubicBezTo>
                    <a:pt x="272" y="345"/>
                    <a:pt x="272" y="345"/>
                    <a:pt x="272" y="345"/>
                  </a:cubicBezTo>
                  <a:cubicBezTo>
                    <a:pt x="272" y="345"/>
                    <a:pt x="272" y="345"/>
                    <a:pt x="272" y="345"/>
                  </a:cubicBezTo>
                  <a:cubicBezTo>
                    <a:pt x="272" y="345"/>
                    <a:pt x="272" y="345"/>
                    <a:pt x="272" y="345"/>
                  </a:cubicBezTo>
                  <a:cubicBezTo>
                    <a:pt x="272" y="345"/>
                    <a:pt x="272" y="345"/>
                    <a:pt x="272" y="345"/>
                  </a:cubicBezTo>
                  <a:cubicBezTo>
                    <a:pt x="272" y="346"/>
                    <a:pt x="272" y="346"/>
                    <a:pt x="272" y="346"/>
                  </a:cubicBezTo>
                  <a:cubicBezTo>
                    <a:pt x="272" y="346"/>
                    <a:pt x="272" y="346"/>
                    <a:pt x="272" y="346"/>
                  </a:cubicBezTo>
                  <a:cubicBezTo>
                    <a:pt x="272" y="347"/>
                    <a:pt x="272" y="347"/>
                    <a:pt x="272" y="347"/>
                  </a:cubicBezTo>
                  <a:cubicBezTo>
                    <a:pt x="272" y="347"/>
                    <a:pt x="272" y="347"/>
                    <a:pt x="272" y="347"/>
                  </a:cubicBezTo>
                  <a:cubicBezTo>
                    <a:pt x="272" y="347"/>
                    <a:pt x="272" y="347"/>
                    <a:pt x="272" y="347"/>
                  </a:cubicBezTo>
                  <a:cubicBezTo>
                    <a:pt x="272" y="347"/>
                    <a:pt x="272" y="347"/>
                    <a:pt x="272" y="347"/>
                  </a:cubicBezTo>
                  <a:cubicBezTo>
                    <a:pt x="272" y="348"/>
                    <a:pt x="272" y="348"/>
                    <a:pt x="272" y="348"/>
                  </a:cubicBezTo>
                  <a:cubicBezTo>
                    <a:pt x="272" y="348"/>
                    <a:pt x="272" y="348"/>
                    <a:pt x="272" y="348"/>
                  </a:cubicBezTo>
                  <a:cubicBezTo>
                    <a:pt x="272" y="348"/>
                    <a:pt x="272" y="348"/>
                    <a:pt x="272" y="348"/>
                  </a:cubicBezTo>
                  <a:cubicBezTo>
                    <a:pt x="272" y="348"/>
                    <a:pt x="272" y="348"/>
                    <a:pt x="272" y="348"/>
                  </a:cubicBezTo>
                  <a:cubicBezTo>
                    <a:pt x="275" y="358"/>
                    <a:pt x="284" y="366"/>
                    <a:pt x="294" y="366"/>
                  </a:cubicBezTo>
                  <a:cubicBezTo>
                    <a:pt x="294" y="366"/>
                    <a:pt x="294" y="366"/>
                    <a:pt x="294" y="366"/>
                  </a:cubicBezTo>
                  <a:cubicBezTo>
                    <a:pt x="295" y="367"/>
                    <a:pt x="295" y="367"/>
                    <a:pt x="295" y="367"/>
                  </a:cubicBezTo>
                  <a:cubicBezTo>
                    <a:pt x="295" y="367"/>
                    <a:pt x="295" y="367"/>
                    <a:pt x="295" y="367"/>
                  </a:cubicBezTo>
                  <a:cubicBezTo>
                    <a:pt x="295" y="367"/>
                    <a:pt x="295" y="367"/>
                    <a:pt x="295" y="367"/>
                  </a:cubicBezTo>
                  <a:cubicBezTo>
                    <a:pt x="295" y="367"/>
                    <a:pt x="296" y="367"/>
                    <a:pt x="296" y="367"/>
                  </a:cubicBezTo>
                  <a:cubicBezTo>
                    <a:pt x="299" y="367"/>
                    <a:pt x="299" y="367"/>
                    <a:pt x="299" y="367"/>
                  </a:cubicBezTo>
                  <a:cubicBezTo>
                    <a:pt x="318" y="367"/>
                    <a:pt x="333" y="382"/>
                    <a:pt x="333" y="401"/>
                  </a:cubicBezTo>
                  <a:cubicBezTo>
                    <a:pt x="333" y="402"/>
                    <a:pt x="333" y="402"/>
                    <a:pt x="333" y="402"/>
                  </a:cubicBezTo>
                  <a:cubicBezTo>
                    <a:pt x="333" y="403"/>
                    <a:pt x="333" y="403"/>
                    <a:pt x="333" y="403"/>
                  </a:cubicBezTo>
                  <a:cubicBezTo>
                    <a:pt x="333" y="403"/>
                    <a:pt x="333" y="403"/>
                    <a:pt x="333" y="403"/>
                  </a:cubicBezTo>
                  <a:cubicBezTo>
                    <a:pt x="333" y="403"/>
                    <a:pt x="333" y="403"/>
                    <a:pt x="333" y="403"/>
                  </a:cubicBezTo>
                  <a:cubicBezTo>
                    <a:pt x="333" y="403"/>
                    <a:pt x="333" y="403"/>
                    <a:pt x="333" y="403"/>
                  </a:cubicBezTo>
                  <a:cubicBezTo>
                    <a:pt x="333" y="404"/>
                    <a:pt x="333" y="404"/>
                    <a:pt x="333" y="404"/>
                  </a:cubicBezTo>
                  <a:cubicBezTo>
                    <a:pt x="333" y="404"/>
                    <a:pt x="333" y="404"/>
                    <a:pt x="333" y="404"/>
                  </a:cubicBezTo>
                  <a:cubicBezTo>
                    <a:pt x="333" y="405"/>
                    <a:pt x="333" y="405"/>
                    <a:pt x="333" y="405"/>
                  </a:cubicBezTo>
                  <a:cubicBezTo>
                    <a:pt x="333" y="405"/>
                    <a:pt x="333" y="405"/>
                    <a:pt x="333" y="405"/>
                  </a:cubicBezTo>
                  <a:cubicBezTo>
                    <a:pt x="334" y="405"/>
                    <a:pt x="334" y="405"/>
                    <a:pt x="334" y="405"/>
                  </a:cubicBezTo>
                  <a:cubicBezTo>
                    <a:pt x="334" y="405"/>
                    <a:pt x="334" y="405"/>
                    <a:pt x="334" y="405"/>
                  </a:cubicBezTo>
                  <a:cubicBezTo>
                    <a:pt x="334" y="406"/>
                    <a:pt x="334" y="406"/>
                    <a:pt x="334" y="406"/>
                  </a:cubicBezTo>
                  <a:cubicBezTo>
                    <a:pt x="334" y="406"/>
                    <a:pt x="334" y="406"/>
                    <a:pt x="334" y="406"/>
                  </a:cubicBezTo>
                  <a:cubicBezTo>
                    <a:pt x="335" y="413"/>
                    <a:pt x="339" y="419"/>
                    <a:pt x="346" y="423"/>
                  </a:cubicBezTo>
                  <a:cubicBezTo>
                    <a:pt x="346" y="423"/>
                    <a:pt x="346" y="423"/>
                    <a:pt x="346" y="423"/>
                  </a:cubicBezTo>
                  <a:cubicBezTo>
                    <a:pt x="346" y="423"/>
                    <a:pt x="346" y="423"/>
                    <a:pt x="346" y="423"/>
                  </a:cubicBezTo>
                  <a:cubicBezTo>
                    <a:pt x="347" y="424"/>
                    <a:pt x="347" y="424"/>
                    <a:pt x="347" y="424"/>
                  </a:cubicBezTo>
                  <a:cubicBezTo>
                    <a:pt x="347" y="424"/>
                    <a:pt x="347" y="424"/>
                    <a:pt x="347" y="424"/>
                  </a:cubicBezTo>
                  <a:cubicBezTo>
                    <a:pt x="347" y="424"/>
                    <a:pt x="347" y="424"/>
                    <a:pt x="347" y="424"/>
                  </a:cubicBezTo>
                  <a:cubicBezTo>
                    <a:pt x="347" y="424"/>
                    <a:pt x="347" y="424"/>
                    <a:pt x="347" y="424"/>
                  </a:cubicBezTo>
                  <a:cubicBezTo>
                    <a:pt x="348" y="424"/>
                    <a:pt x="348" y="424"/>
                    <a:pt x="348" y="424"/>
                  </a:cubicBezTo>
                  <a:cubicBezTo>
                    <a:pt x="348" y="424"/>
                    <a:pt x="348" y="424"/>
                    <a:pt x="348" y="424"/>
                  </a:cubicBezTo>
                  <a:cubicBezTo>
                    <a:pt x="348" y="424"/>
                    <a:pt x="348" y="424"/>
                    <a:pt x="348" y="424"/>
                  </a:cubicBezTo>
                  <a:cubicBezTo>
                    <a:pt x="348" y="424"/>
                    <a:pt x="348" y="424"/>
                    <a:pt x="348" y="424"/>
                  </a:cubicBezTo>
                  <a:cubicBezTo>
                    <a:pt x="349" y="425"/>
                    <a:pt x="349" y="425"/>
                    <a:pt x="349" y="425"/>
                  </a:cubicBezTo>
                  <a:cubicBezTo>
                    <a:pt x="349" y="425"/>
                    <a:pt x="349" y="425"/>
                    <a:pt x="349" y="425"/>
                  </a:cubicBezTo>
                  <a:cubicBezTo>
                    <a:pt x="349" y="425"/>
                    <a:pt x="349" y="425"/>
                    <a:pt x="349" y="425"/>
                  </a:cubicBezTo>
                  <a:cubicBezTo>
                    <a:pt x="349" y="425"/>
                    <a:pt x="349" y="425"/>
                    <a:pt x="349" y="425"/>
                  </a:cubicBezTo>
                  <a:cubicBezTo>
                    <a:pt x="350" y="425"/>
                    <a:pt x="350" y="425"/>
                    <a:pt x="350" y="425"/>
                  </a:cubicBezTo>
                  <a:cubicBezTo>
                    <a:pt x="350" y="425"/>
                    <a:pt x="350" y="425"/>
                    <a:pt x="350" y="425"/>
                  </a:cubicBezTo>
                  <a:cubicBezTo>
                    <a:pt x="350" y="425"/>
                    <a:pt x="350" y="425"/>
                    <a:pt x="350" y="425"/>
                  </a:cubicBezTo>
                  <a:cubicBezTo>
                    <a:pt x="350" y="425"/>
                    <a:pt x="350" y="425"/>
                    <a:pt x="351" y="425"/>
                  </a:cubicBezTo>
                  <a:cubicBezTo>
                    <a:pt x="351" y="425"/>
                    <a:pt x="351" y="425"/>
                    <a:pt x="351" y="425"/>
                  </a:cubicBezTo>
                  <a:cubicBezTo>
                    <a:pt x="351" y="425"/>
                    <a:pt x="351" y="425"/>
                    <a:pt x="351" y="425"/>
                  </a:cubicBezTo>
                  <a:cubicBezTo>
                    <a:pt x="351" y="425"/>
                    <a:pt x="351" y="425"/>
                    <a:pt x="351" y="425"/>
                  </a:cubicBezTo>
                  <a:cubicBezTo>
                    <a:pt x="351" y="425"/>
                    <a:pt x="351" y="425"/>
                    <a:pt x="351" y="425"/>
                  </a:cubicBezTo>
                  <a:cubicBezTo>
                    <a:pt x="352" y="426"/>
                    <a:pt x="352" y="426"/>
                    <a:pt x="352" y="426"/>
                  </a:cubicBezTo>
                  <a:cubicBezTo>
                    <a:pt x="352" y="426"/>
                    <a:pt x="352" y="426"/>
                    <a:pt x="352" y="426"/>
                  </a:cubicBezTo>
                  <a:cubicBezTo>
                    <a:pt x="353" y="426"/>
                    <a:pt x="353" y="426"/>
                    <a:pt x="353" y="426"/>
                  </a:cubicBezTo>
                  <a:cubicBezTo>
                    <a:pt x="353" y="426"/>
                    <a:pt x="353" y="426"/>
                    <a:pt x="353" y="426"/>
                  </a:cubicBezTo>
                  <a:cubicBezTo>
                    <a:pt x="353" y="426"/>
                    <a:pt x="353" y="426"/>
                    <a:pt x="353" y="426"/>
                  </a:cubicBezTo>
                  <a:cubicBezTo>
                    <a:pt x="353" y="426"/>
                    <a:pt x="353" y="426"/>
                    <a:pt x="353" y="426"/>
                  </a:cubicBezTo>
                  <a:cubicBezTo>
                    <a:pt x="353" y="426"/>
                    <a:pt x="353" y="426"/>
                    <a:pt x="353" y="426"/>
                  </a:cubicBezTo>
                  <a:cubicBezTo>
                    <a:pt x="354" y="426"/>
                    <a:pt x="354" y="426"/>
                    <a:pt x="354" y="426"/>
                  </a:cubicBezTo>
                  <a:cubicBezTo>
                    <a:pt x="354" y="426"/>
                    <a:pt x="354" y="426"/>
                    <a:pt x="354" y="426"/>
                  </a:cubicBezTo>
                  <a:cubicBezTo>
                    <a:pt x="354" y="426"/>
                    <a:pt x="354" y="426"/>
                    <a:pt x="354" y="426"/>
                  </a:cubicBezTo>
                  <a:cubicBezTo>
                    <a:pt x="355" y="426"/>
                    <a:pt x="355" y="426"/>
                    <a:pt x="355" y="426"/>
                  </a:cubicBezTo>
                  <a:cubicBezTo>
                    <a:pt x="355" y="426"/>
                    <a:pt x="355" y="426"/>
                    <a:pt x="355" y="426"/>
                  </a:cubicBezTo>
                  <a:cubicBezTo>
                    <a:pt x="356" y="426"/>
                    <a:pt x="356" y="426"/>
                    <a:pt x="356" y="426"/>
                  </a:cubicBezTo>
                  <a:cubicBezTo>
                    <a:pt x="356" y="426"/>
                    <a:pt x="356" y="426"/>
                    <a:pt x="356" y="426"/>
                  </a:cubicBezTo>
                  <a:cubicBezTo>
                    <a:pt x="356" y="426"/>
                    <a:pt x="356" y="426"/>
                    <a:pt x="356" y="426"/>
                  </a:cubicBezTo>
                  <a:cubicBezTo>
                    <a:pt x="356" y="426"/>
                    <a:pt x="356" y="426"/>
                    <a:pt x="356" y="426"/>
                  </a:cubicBezTo>
                  <a:cubicBezTo>
                    <a:pt x="356" y="426"/>
                    <a:pt x="356" y="426"/>
                    <a:pt x="356" y="426"/>
                  </a:cubicBezTo>
                  <a:cubicBezTo>
                    <a:pt x="357" y="426"/>
                    <a:pt x="357" y="426"/>
                    <a:pt x="358" y="426"/>
                  </a:cubicBezTo>
                  <a:cubicBezTo>
                    <a:pt x="366" y="426"/>
                    <a:pt x="366" y="426"/>
                    <a:pt x="366" y="426"/>
                  </a:cubicBezTo>
                  <a:cubicBezTo>
                    <a:pt x="369" y="426"/>
                    <a:pt x="369" y="426"/>
                    <a:pt x="369" y="426"/>
                  </a:cubicBezTo>
                  <a:cubicBezTo>
                    <a:pt x="388" y="426"/>
                    <a:pt x="403" y="442"/>
                    <a:pt x="403" y="460"/>
                  </a:cubicBezTo>
                  <a:cubicBezTo>
                    <a:pt x="403" y="464"/>
                    <a:pt x="403" y="464"/>
                    <a:pt x="403" y="464"/>
                  </a:cubicBezTo>
                  <a:cubicBezTo>
                    <a:pt x="403" y="465"/>
                    <a:pt x="403" y="465"/>
                    <a:pt x="403" y="465"/>
                  </a:cubicBezTo>
                  <a:cubicBezTo>
                    <a:pt x="403" y="465"/>
                    <a:pt x="403" y="465"/>
                    <a:pt x="403" y="465"/>
                  </a:cubicBezTo>
                  <a:cubicBezTo>
                    <a:pt x="403" y="466"/>
                    <a:pt x="403" y="466"/>
                    <a:pt x="403" y="466"/>
                  </a:cubicBezTo>
                  <a:cubicBezTo>
                    <a:pt x="403" y="466"/>
                    <a:pt x="403" y="466"/>
                    <a:pt x="403" y="466"/>
                  </a:cubicBezTo>
                  <a:cubicBezTo>
                    <a:pt x="403" y="466"/>
                    <a:pt x="403" y="466"/>
                    <a:pt x="403" y="466"/>
                  </a:cubicBezTo>
                  <a:cubicBezTo>
                    <a:pt x="403" y="466"/>
                    <a:pt x="403" y="466"/>
                    <a:pt x="403" y="466"/>
                  </a:cubicBezTo>
                  <a:cubicBezTo>
                    <a:pt x="403" y="467"/>
                    <a:pt x="403" y="467"/>
                    <a:pt x="403" y="467"/>
                  </a:cubicBezTo>
                  <a:cubicBezTo>
                    <a:pt x="403" y="467"/>
                    <a:pt x="403" y="467"/>
                    <a:pt x="403" y="467"/>
                  </a:cubicBezTo>
                  <a:cubicBezTo>
                    <a:pt x="403" y="467"/>
                    <a:pt x="403" y="467"/>
                    <a:pt x="403" y="467"/>
                  </a:cubicBezTo>
                  <a:cubicBezTo>
                    <a:pt x="403" y="467"/>
                    <a:pt x="403" y="467"/>
                    <a:pt x="403" y="467"/>
                  </a:cubicBezTo>
                  <a:cubicBezTo>
                    <a:pt x="403" y="468"/>
                    <a:pt x="403" y="468"/>
                    <a:pt x="403" y="468"/>
                  </a:cubicBezTo>
                  <a:cubicBezTo>
                    <a:pt x="403" y="468"/>
                    <a:pt x="403" y="468"/>
                    <a:pt x="403" y="468"/>
                  </a:cubicBezTo>
                  <a:cubicBezTo>
                    <a:pt x="403" y="469"/>
                    <a:pt x="403" y="469"/>
                    <a:pt x="403" y="469"/>
                  </a:cubicBezTo>
                  <a:cubicBezTo>
                    <a:pt x="403" y="469"/>
                    <a:pt x="403" y="469"/>
                    <a:pt x="403" y="469"/>
                  </a:cubicBezTo>
                  <a:cubicBezTo>
                    <a:pt x="403" y="469"/>
                    <a:pt x="403" y="469"/>
                    <a:pt x="403" y="469"/>
                  </a:cubicBezTo>
                  <a:cubicBezTo>
                    <a:pt x="403" y="469"/>
                    <a:pt x="403" y="469"/>
                    <a:pt x="403" y="469"/>
                  </a:cubicBezTo>
                  <a:cubicBezTo>
                    <a:pt x="403" y="470"/>
                    <a:pt x="403" y="470"/>
                    <a:pt x="403" y="470"/>
                  </a:cubicBezTo>
                  <a:cubicBezTo>
                    <a:pt x="403" y="470"/>
                    <a:pt x="403" y="470"/>
                    <a:pt x="403" y="470"/>
                  </a:cubicBezTo>
                  <a:cubicBezTo>
                    <a:pt x="404" y="470"/>
                    <a:pt x="404" y="470"/>
                    <a:pt x="404" y="470"/>
                  </a:cubicBezTo>
                  <a:cubicBezTo>
                    <a:pt x="404" y="470"/>
                    <a:pt x="404" y="470"/>
                    <a:pt x="404" y="470"/>
                  </a:cubicBezTo>
                  <a:cubicBezTo>
                    <a:pt x="404" y="471"/>
                    <a:pt x="404" y="471"/>
                    <a:pt x="404" y="471"/>
                  </a:cubicBezTo>
                  <a:cubicBezTo>
                    <a:pt x="404" y="471"/>
                    <a:pt x="404" y="471"/>
                    <a:pt x="404" y="471"/>
                  </a:cubicBezTo>
                  <a:cubicBezTo>
                    <a:pt x="404" y="472"/>
                    <a:pt x="404" y="472"/>
                    <a:pt x="404" y="472"/>
                  </a:cubicBezTo>
                  <a:cubicBezTo>
                    <a:pt x="404" y="472"/>
                    <a:pt x="404" y="472"/>
                    <a:pt x="404" y="472"/>
                  </a:cubicBezTo>
                  <a:cubicBezTo>
                    <a:pt x="404" y="472"/>
                    <a:pt x="404" y="472"/>
                    <a:pt x="404" y="472"/>
                  </a:cubicBezTo>
                  <a:cubicBezTo>
                    <a:pt x="404" y="472"/>
                    <a:pt x="404" y="472"/>
                    <a:pt x="404" y="472"/>
                  </a:cubicBezTo>
                  <a:cubicBezTo>
                    <a:pt x="404" y="473"/>
                    <a:pt x="404" y="473"/>
                    <a:pt x="404" y="473"/>
                  </a:cubicBezTo>
                  <a:cubicBezTo>
                    <a:pt x="404" y="473"/>
                    <a:pt x="404" y="473"/>
                    <a:pt x="404" y="473"/>
                  </a:cubicBezTo>
                  <a:cubicBezTo>
                    <a:pt x="405" y="473"/>
                    <a:pt x="405" y="473"/>
                    <a:pt x="405" y="473"/>
                  </a:cubicBezTo>
                  <a:cubicBezTo>
                    <a:pt x="405" y="473"/>
                    <a:pt x="405" y="473"/>
                    <a:pt x="405" y="473"/>
                  </a:cubicBezTo>
                  <a:cubicBezTo>
                    <a:pt x="405" y="474"/>
                    <a:pt x="405" y="474"/>
                    <a:pt x="405" y="474"/>
                  </a:cubicBezTo>
                  <a:cubicBezTo>
                    <a:pt x="405" y="474"/>
                    <a:pt x="405" y="474"/>
                    <a:pt x="405" y="474"/>
                  </a:cubicBezTo>
                  <a:cubicBezTo>
                    <a:pt x="405" y="474"/>
                    <a:pt x="405" y="474"/>
                    <a:pt x="405" y="474"/>
                  </a:cubicBezTo>
                  <a:cubicBezTo>
                    <a:pt x="405" y="474"/>
                    <a:pt x="405" y="474"/>
                    <a:pt x="405" y="474"/>
                  </a:cubicBezTo>
                  <a:cubicBezTo>
                    <a:pt x="405" y="475"/>
                    <a:pt x="405" y="475"/>
                    <a:pt x="405" y="475"/>
                  </a:cubicBezTo>
                  <a:cubicBezTo>
                    <a:pt x="405" y="475"/>
                    <a:pt x="405" y="475"/>
                    <a:pt x="405" y="475"/>
                  </a:cubicBezTo>
                  <a:cubicBezTo>
                    <a:pt x="406" y="475"/>
                    <a:pt x="406" y="475"/>
                    <a:pt x="406" y="475"/>
                  </a:cubicBezTo>
                  <a:cubicBezTo>
                    <a:pt x="406" y="475"/>
                    <a:pt x="406" y="475"/>
                    <a:pt x="406" y="475"/>
                  </a:cubicBezTo>
                  <a:cubicBezTo>
                    <a:pt x="406" y="476"/>
                    <a:pt x="406" y="476"/>
                    <a:pt x="406" y="476"/>
                  </a:cubicBezTo>
                  <a:cubicBezTo>
                    <a:pt x="406" y="476"/>
                    <a:pt x="406" y="476"/>
                    <a:pt x="406" y="476"/>
                  </a:cubicBezTo>
                  <a:cubicBezTo>
                    <a:pt x="406" y="476"/>
                    <a:pt x="406" y="476"/>
                    <a:pt x="406" y="476"/>
                  </a:cubicBezTo>
                  <a:cubicBezTo>
                    <a:pt x="406" y="476"/>
                    <a:pt x="406" y="476"/>
                    <a:pt x="406" y="476"/>
                  </a:cubicBezTo>
                  <a:cubicBezTo>
                    <a:pt x="406" y="477"/>
                    <a:pt x="406" y="477"/>
                    <a:pt x="406" y="477"/>
                  </a:cubicBezTo>
                  <a:cubicBezTo>
                    <a:pt x="406" y="477"/>
                    <a:pt x="406" y="477"/>
                    <a:pt x="406" y="477"/>
                  </a:cubicBezTo>
                  <a:cubicBezTo>
                    <a:pt x="407" y="477"/>
                    <a:pt x="407" y="477"/>
                    <a:pt x="407" y="477"/>
                  </a:cubicBezTo>
                  <a:cubicBezTo>
                    <a:pt x="407" y="477"/>
                    <a:pt x="407" y="477"/>
                    <a:pt x="407" y="477"/>
                  </a:cubicBezTo>
                  <a:cubicBezTo>
                    <a:pt x="407" y="478"/>
                    <a:pt x="407" y="478"/>
                    <a:pt x="407" y="478"/>
                  </a:cubicBezTo>
                  <a:cubicBezTo>
                    <a:pt x="407" y="478"/>
                    <a:pt x="407" y="478"/>
                    <a:pt x="407" y="478"/>
                  </a:cubicBezTo>
                  <a:cubicBezTo>
                    <a:pt x="407" y="478"/>
                    <a:pt x="407" y="478"/>
                    <a:pt x="407" y="478"/>
                  </a:cubicBezTo>
                  <a:cubicBezTo>
                    <a:pt x="407" y="478"/>
                    <a:pt x="407" y="478"/>
                    <a:pt x="407" y="478"/>
                  </a:cubicBezTo>
                  <a:cubicBezTo>
                    <a:pt x="408" y="479"/>
                    <a:pt x="408" y="479"/>
                    <a:pt x="408" y="479"/>
                  </a:cubicBezTo>
                  <a:cubicBezTo>
                    <a:pt x="408" y="479"/>
                    <a:pt x="408" y="479"/>
                    <a:pt x="408" y="479"/>
                  </a:cubicBezTo>
                  <a:cubicBezTo>
                    <a:pt x="408" y="479"/>
                    <a:pt x="408" y="479"/>
                    <a:pt x="408" y="479"/>
                  </a:cubicBezTo>
                  <a:cubicBezTo>
                    <a:pt x="408" y="479"/>
                    <a:pt x="408" y="479"/>
                    <a:pt x="408" y="479"/>
                  </a:cubicBezTo>
                  <a:cubicBezTo>
                    <a:pt x="408" y="479"/>
                    <a:pt x="408" y="480"/>
                    <a:pt x="408" y="480"/>
                  </a:cubicBezTo>
                  <a:cubicBezTo>
                    <a:pt x="408" y="480"/>
                    <a:pt x="408" y="480"/>
                    <a:pt x="408" y="480"/>
                  </a:cubicBezTo>
                  <a:cubicBezTo>
                    <a:pt x="409" y="480"/>
                    <a:pt x="409" y="480"/>
                    <a:pt x="409" y="480"/>
                  </a:cubicBezTo>
                  <a:cubicBezTo>
                    <a:pt x="409" y="480"/>
                    <a:pt x="409" y="480"/>
                    <a:pt x="409" y="480"/>
                  </a:cubicBezTo>
                  <a:cubicBezTo>
                    <a:pt x="409" y="481"/>
                    <a:pt x="409" y="481"/>
                    <a:pt x="409" y="481"/>
                  </a:cubicBezTo>
                  <a:cubicBezTo>
                    <a:pt x="409" y="481"/>
                    <a:pt x="409" y="481"/>
                    <a:pt x="409" y="481"/>
                  </a:cubicBezTo>
                  <a:cubicBezTo>
                    <a:pt x="410" y="481"/>
                    <a:pt x="410" y="481"/>
                    <a:pt x="410" y="481"/>
                  </a:cubicBezTo>
                  <a:cubicBezTo>
                    <a:pt x="410" y="481"/>
                    <a:pt x="410" y="481"/>
                    <a:pt x="410" y="481"/>
                  </a:cubicBezTo>
                  <a:cubicBezTo>
                    <a:pt x="410" y="481"/>
                    <a:pt x="410" y="481"/>
                    <a:pt x="410" y="481"/>
                  </a:cubicBezTo>
                  <a:cubicBezTo>
                    <a:pt x="410" y="481"/>
                    <a:pt x="410" y="481"/>
                    <a:pt x="410" y="481"/>
                  </a:cubicBezTo>
                  <a:cubicBezTo>
                    <a:pt x="410" y="482"/>
                    <a:pt x="410" y="482"/>
                    <a:pt x="410" y="482"/>
                  </a:cubicBezTo>
                  <a:cubicBezTo>
                    <a:pt x="410" y="482"/>
                    <a:pt x="410" y="482"/>
                    <a:pt x="410" y="482"/>
                  </a:cubicBezTo>
                  <a:cubicBezTo>
                    <a:pt x="411" y="482"/>
                    <a:pt x="411" y="482"/>
                    <a:pt x="411" y="482"/>
                  </a:cubicBezTo>
                  <a:cubicBezTo>
                    <a:pt x="411" y="482"/>
                    <a:pt x="411" y="482"/>
                    <a:pt x="411" y="482"/>
                  </a:cubicBezTo>
                  <a:cubicBezTo>
                    <a:pt x="411" y="483"/>
                    <a:pt x="411" y="483"/>
                    <a:pt x="411" y="483"/>
                  </a:cubicBezTo>
                  <a:cubicBezTo>
                    <a:pt x="411" y="483"/>
                    <a:pt x="411" y="483"/>
                    <a:pt x="411" y="483"/>
                  </a:cubicBezTo>
                  <a:cubicBezTo>
                    <a:pt x="412" y="483"/>
                    <a:pt x="412" y="483"/>
                    <a:pt x="412" y="483"/>
                  </a:cubicBezTo>
                  <a:cubicBezTo>
                    <a:pt x="412" y="483"/>
                    <a:pt x="412" y="483"/>
                    <a:pt x="412" y="483"/>
                  </a:cubicBezTo>
                  <a:cubicBezTo>
                    <a:pt x="412" y="483"/>
                    <a:pt x="412" y="483"/>
                    <a:pt x="412" y="483"/>
                  </a:cubicBezTo>
                  <a:cubicBezTo>
                    <a:pt x="412" y="483"/>
                    <a:pt x="412" y="483"/>
                    <a:pt x="412" y="483"/>
                  </a:cubicBezTo>
                  <a:cubicBezTo>
                    <a:pt x="412" y="484"/>
                    <a:pt x="412" y="484"/>
                    <a:pt x="413" y="484"/>
                  </a:cubicBezTo>
                  <a:cubicBezTo>
                    <a:pt x="413" y="484"/>
                    <a:pt x="413" y="484"/>
                    <a:pt x="413" y="484"/>
                  </a:cubicBezTo>
                  <a:cubicBezTo>
                    <a:pt x="413" y="484"/>
                    <a:pt x="413" y="484"/>
                    <a:pt x="413" y="484"/>
                  </a:cubicBezTo>
                  <a:cubicBezTo>
                    <a:pt x="413" y="484"/>
                    <a:pt x="413" y="484"/>
                    <a:pt x="413" y="484"/>
                  </a:cubicBezTo>
                  <a:cubicBezTo>
                    <a:pt x="414" y="484"/>
                    <a:pt x="414" y="484"/>
                    <a:pt x="414" y="484"/>
                  </a:cubicBezTo>
                  <a:cubicBezTo>
                    <a:pt x="414" y="484"/>
                    <a:pt x="414" y="484"/>
                    <a:pt x="414" y="484"/>
                  </a:cubicBezTo>
                  <a:cubicBezTo>
                    <a:pt x="414" y="485"/>
                    <a:pt x="414" y="485"/>
                    <a:pt x="414" y="485"/>
                  </a:cubicBezTo>
                  <a:cubicBezTo>
                    <a:pt x="414" y="485"/>
                    <a:pt x="414" y="485"/>
                    <a:pt x="414" y="485"/>
                  </a:cubicBezTo>
                  <a:cubicBezTo>
                    <a:pt x="415" y="485"/>
                    <a:pt x="415" y="485"/>
                    <a:pt x="415" y="485"/>
                  </a:cubicBezTo>
                  <a:cubicBezTo>
                    <a:pt x="415" y="485"/>
                    <a:pt x="415" y="485"/>
                    <a:pt x="415" y="485"/>
                  </a:cubicBezTo>
                  <a:cubicBezTo>
                    <a:pt x="415" y="485"/>
                    <a:pt x="415" y="485"/>
                    <a:pt x="415" y="485"/>
                  </a:cubicBezTo>
                  <a:cubicBezTo>
                    <a:pt x="415" y="485"/>
                    <a:pt x="415" y="485"/>
                    <a:pt x="415" y="485"/>
                  </a:cubicBezTo>
                  <a:cubicBezTo>
                    <a:pt x="416" y="486"/>
                    <a:pt x="416" y="486"/>
                    <a:pt x="416" y="486"/>
                  </a:cubicBezTo>
                  <a:cubicBezTo>
                    <a:pt x="416" y="486"/>
                    <a:pt x="416" y="486"/>
                    <a:pt x="416" y="486"/>
                  </a:cubicBezTo>
                  <a:cubicBezTo>
                    <a:pt x="416" y="486"/>
                    <a:pt x="416" y="486"/>
                    <a:pt x="416" y="486"/>
                  </a:cubicBezTo>
                  <a:cubicBezTo>
                    <a:pt x="416" y="486"/>
                    <a:pt x="416" y="486"/>
                    <a:pt x="416" y="486"/>
                  </a:cubicBezTo>
                  <a:cubicBezTo>
                    <a:pt x="417" y="486"/>
                    <a:pt x="417" y="486"/>
                    <a:pt x="417" y="486"/>
                  </a:cubicBezTo>
                  <a:cubicBezTo>
                    <a:pt x="417" y="486"/>
                    <a:pt x="417" y="486"/>
                    <a:pt x="417" y="486"/>
                  </a:cubicBezTo>
                  <a:cubicBezTo>
                    <a:pt x="417" y="486"/>
                    <a:pt x="417" y="486"/>
                    <a:pt x="417" y="486"/>
                  </a:cubicBezTo>
                  <a:cubicBezTo>
                    <a:pt x="417" y="486"/>
                    <a:pt x="417" y="486"/>
                    <a:pt x="417" y="486"/>
                  </a:cubicBezTo>
                  <a:cubicBezTo>
                    <a:pt x="417" y="487"/>
                    <a:pt x="417" y="487"/>
                    <a:pt x="418" y="487"/>
                  </a:cubicBezTo>
                  <a:cubicBezTo>
                    <a:pt x="418" y="487"/>
                    <a:pt x="418" y="487"/>
                    <a:pt x="418" y="487"/>
                  </a:cubicBezTo>
                  <a:cubicBezTo>
                    <a:pt x="418" y="487"/>
                    <a:pt x="418" y="487"/>
                    <a:pt x="418" y="487"/>
                  </a:cubicBezTo>
                  <a:cubicBezTo>
                    <a:pt x="418" y="487"/>
                    <a:pt x="418" y="487"/>
                    <a:pt x="418" y="487"/>
                  </a:cubicBezTo>
                  <a:cubicBezTo>
                    <a:pt x="419" y="487"/>
                    <a:pt x="419" y="487"/>
                    <a:pt x="419" y="487"/>
                  </a:cubicBezTo>
                  <a:cubicBezTo>
                    <a:pt x="419" y="487"/>
                    <a:pt x="419" y="487"/>
                    <a:pt x="419" y="487"/>
                  </a:cubicBezTo>
                  <a:cubicBezTo>
                    <a:pt x="419" y="487"/>
                    <a:pt x="419" y="487"/>
                    <a:pt x="419" y="487"/>
                  </a:cubicBezTo>
                  <a:cubicBezTo>
                    <a:pt x="419" y="487"/>
                    <a:pt x="419" y="487"/>
                    <a:pt x="419" y="487"/>
                  </a:cubicBezTo>
                  <a:cubicBezTo>
                    <a:pt x="420" y="487"/>
                    <a:pt x="420" y="487"/>
                    <a:pt x="420" y="487"/>
                  </a:cubicBezTo>
                  <a:cubicBezTo>
                    <a:pt x="420" y="487"/>
                    <a:pt x="420" y="487"/>
                    <a:pt x="420" y="487"/>
                  </a:cubicBezTo>
                  <a:cubicBezTo>
                    <a:pt x="420" y="488"/>
                    <a:pt x="420" y="488"/>
                    <a:pt x="420" y="488"/>
                  </a:cubicBezTo>
                  <a:cubicBezTo>
                    <a:pt x="420" y="488"/>
                    <a:pt x="420" y="488"/>
                    <a:pt x="420" y="488"/>
                  </a:cubicBezTo>
                  <a:cubicBezTo>
                    <a:pt x="421" y="488"/>
                    <a:pt x="421" y="488"/>
                    <a:pt x="421" y="488"/>
                  </a:cubicBezTo>
                  <a:cubicBezTo>
                    <a:pt x="421" y="488"/>
                    <a:pt x="421" y="488"/>
                    <a:pt x="421" y="488"/>
                  </a:cubicBezTo>
                  <a:cubicBezTo>
                    <a:pt x="422" y="488"/>
                    <a:pt x="422" y="488"/>
                    <a:pt x="422" y="488"/>
                  </a:cubicBezTo>
                  <a:cubicBezTo>
                    <a:pt x="422" y="488"/>
                    <a:pt x="422" y="488"/>
                    <a:pt x="422" y="488"/>
                  </a:cubicBezTo>
                  <a:cubicBezTo>
                    <a:pt x="422" y="488"/>
                    <a:pt x="422" y="488"/>
                    <a:pt x="422" y="488"/>
                  </a:cubicBezTo>
                  <a:cubicBezTo>
                    <a:pt x="422" y="488"/>
                    <a:pt x="422" y="488"/>
                    <a:pt x="422" y="488"/>
                  </a:cubicBezTo>
                  <a:cubicBezTo>
                    <a:pt x="422" y="488"/>
                    <a:pt x="423" y="488"/>
                    <a:pt x="423" y="488"/>
                  </a:cubicBezTo>
                  <a:cubicBezTo>
                    <a:pt x="423" y="488"/>
                    <a:pt x="423" y="488"/>
                    <a:pt x="423" y="488"/>
                  </a:cubicBezTo>
                  <a:cubicBezTo>
                    <a:pt x="423" y="488"/>
                    <a:pt x="423" y="488"/>
                    <a:pt x="423" y="488"/>
                  </a:cubicBezTo>
                  <a:cubicBezTo>
                    <a:pt x="423" y="488"/>
                    <a:pt x="423" y="488"/>
                    <a:pt x="423" y="488"/>
                  </a:cubicBezTo>
                  <a:cubicBezTo>
                    <a:pt x="424" y="488"/>
                    <a:pt x="424" y="488"/>
                    <a:pt x="424" y="488"/>
                  </a:cubicBezTo>
                  <a:cubicBezTo>
                    <a:pt x="424" y="488"/>
                    <a:pt x="424" y="488"/>
                    <a:pt x="424" y="488"/>
                  </a:cubicBezTo>
                  <a:cubicBezTo>
                    <a:pt x="425" y="488"/>
                    <a:pt x="425" y="488"/>
                    <a:pt x="425" y="488"/>
                  </a:cubicBezTo>
                  <a:cubicBezTo>
                    <a:pt x="425" y="488"/>
                    <a:pt x="425" y="488"/>
                    <a:pt x="425" y="488"/>
                  </a:cubicBezTo>
                  <a:cubicBezTo>
                    <a:pt x="425" y="488"/>
                    <a:pt x="425" y="488"/>
                    <a:pt x="425" y="488"/>
                  </a:cubicBezTo>
                  <a:cubicBezTo>
                    <a:pt x="425" y="488"/>
                    <a:pt x="425" y="488"/>
                    <a:pt x="425" y="488"/>
                  </a:cubicBezTo>
                  <a:cubicBezTo>
                    <a:pt x="426" y="489"/>
                    <a:pt x="426" y="489"/>
                    <a:pt x="426" y="489"/>
                  </a:cubicBezTo>
                  <a:cubicBezTo>
                    <a:pt x="426" y="489"/>
                    <a:pt x="426" y="489"/>
                    <a:pt x="426" y="489"/>
                  </a:cubicBezTo>
                  <a:cubicBezTo>
                    <a:pt x="426" y="489"/>
                    <a:pt x="426" y="489"/>
                    <a:pt x="426" y="489"/>
                  </a:cubicBezTo>
                  <a:cubicBezTo>
                    <a:pt x="426" y="489"/>
                    <a:pt x="427" y="489"/>
                    <a:pt x="427" y="489"/>
                  </a:cubicBezTo>
                  <a:cubicBezTo>
                    <a:pt x="440" y="489"/>
                    <a:pt x="440" y="489"/>
                    <a:pt x="440" y="489"/>
                  </a:cubicBezTo>
                  <a:cubicBezTo>
                    <a:pt x="504" y="489"/>
                    <a:pt x="504" y="489"/>
                    <a:pt x="504" y="489"/>
                  </a:cubicBezTo>
                  <a:cubicBezTo>
                    <a:pt x="523" y="489"/>
                    <a:pt x="538" y="504"/>
                    <a:pt x="538" y="523"/>
                  </a:cubicBezTo>
                  <a:cubicBezTo>
                    <a:pt x="538" y="578"/>
                    <a:pt x="538" y="578"/>
                    <a:pt x="538" y="578"/>
                  </a:cubicBezTo>
                  <a:cubicBezTo>
                    <a:pt x="538" y="647"/>
                    <a:pt x="538" y="647"/>
                    <a:pt x="538" y="647"/>
                  </a:cubicBezTo>
                  <a:cubicBezTo>
                    <a:pt x="538" y="648"/>
                    <a:pt x="538" y="648"/>
                    <a:pt x="538" y="648"/>
                  </a:cubicBezTo>
                  <a:cubicBezTo>
                    <a:pt x="538" y="661"/>
                    <a:pt x="549" y="672"/>
                    <a:pt x="562" y="672"/>
                  </a:cubicBezTo>
                  <a:cubicBezTo>
                    <a:pt x="571" y="672"/>
                    <a:pt x="571" y="672"/>
                    <a:pt x="571" y="672"/>
                  </a:cubicBezTo>
                  <a:cubicBezTo>
                    <a:pt x="584" y="672"/>
                    <a:pt x="595" y="661"/>
                    <a:pt x="595" y="648"/>
                  </a:cubicBezTo>
                  <a:cubicBezTo>
                    <a:pt x="595" y="645"/>
                    <a:pt x="595" y="645"/>
                    <a:pt x="595" y="645"/>
                  </a:cubicBezTo>
                  <a:cubicBezTo>
                    <a:pt x="595" y="626"/>
                    <a:pt x="610" y="611"/>
                    <a:pt x="629" y="611"/>
                  </a:cubicBezTo>
                  <a:cubicBezTo>
                    <a:pt x="642" y="611"/>
                    <a:pt x="642" y="611"/>
                    <a:pt x="642" y="611"/>
                  </a:cubicBezTo>
                  <a:cubicBezTo>
                    <a:pt x="655" y="611"/>
                    <a:pt x="666" y="600"/>
                    <a:pt x="666" y="586"/>
                  </a:cubicBezTo>
                  <a:cubicBezTo>
                    <a:pt x="666" y="578"/>
                    <a:pt x="666" y="578"/>
                    <a:pt x="666" y="578"/>
                  </a:cubicBezTo>
                  <a:cubicBezTo>
                    <a:pt x="666" y="568"/>
                    <a:pt x="659" y="559"/>
                    <a:pt x="650" y="555"/>
                  </a:cubicBezTo>
                  <a:cubicBezTo>
                    <a:pt x="645" y="554"/>
                    <a:pt x="627" y="557"/>
                    <a:pt x="621" y="554"/>
                  </a:cubicBezTo>
                  <a:cubicBezTo>
                    <a:pt x="605" y="546"/>
                    <a:pt x="599" y="529"/>
                    <a:pt x="601" y="517"/>
                  </a:cubicBezTo>
                  <a:cubicBezTo>
                    <a:pt x="604" y="501"/>
                    <a:pt x="613" y="489"/>
                    <a:pt x="630" y="489"/>
                  </a:cubicBezTo>
                  <a:cubicBezTo>
                    <a:pt x="706" y="489"/>
                    <a:pt x="706" y="489"/>
                    <a:pt x="706" y="489"/>
                  </a:cubicBezTo>
                  <a:cubicBezTo>
                    <a:pt x="720" y="489"/>
                    <a:pt x="731" y="478"/>
                    <a:pt x="731" y="465"/>
                  </a:cubicBezTo>
                  <a:cubicBezTo>
                    <a:pt x="731" y="457"/>
                    <a:pt x="731" y="457"/>
                    <a:pt x="731" y="457"/>
                  </a:cubicBezTo>
                  <a:cubicBezTo>
                    <a:pt x="731" y="443"/>
                    <a:pt x="720" y="432"/>
                    <a:pt x="706" y="432"/>
                  </a:cubicBezTo>
                  <a:cubicBezTo>
                    <a:pt x="630" y="432"/>
                    <a:pt x="630" y="432"/>
                    <a:pt x="630" y="432"/>
                  </a:cubicBezTo>
                  <a:cubicBezTo>
                    <a:pt x="611" y="432"/>
                    <a:pt x="596" y="417"/>
                    <a:pt x="596" y="398"/>
                  </a:cubicBezTo>
                  <a:cubicBezTo>
                    <a:pt x="596" y="396"/>
                    <a:pt x="596" y="396"/>
                    <a:pt x="596" y="396"/>
                  </a:cubicBezTo>
                  <a:cubicBezTo>
                    <a:pt x="596" y="383"/>
                    <a:pt x="585" y="372"/>
                    <a:pt x="571" y="372"/>
                  </a:cubicBezTo>
                  <a:cubicBezTo>
                    <a:pt x="498" y="372"/>
                    <a:pt x="498" y="372"/>
                    <a:pt x="498" y="372"/>
                  </a:cubicBezTo>
                  <a:cubicBezTo>
                    <a:pt x="480" y="372"/>
                    <a:pt x="464" y="357"/>
                    <a:pt x="464" y="338"/>
                  </a:cubicBezTo>
                  <a:cubicBezTo>
                    <a:pt x="464" y="272"/>
                    <a:pt x="464" y="272"/>
                    <a:pt x="464" y="272"/>
                  </a:cubicBezTo>
                  <a:cubicBezTo>
                    <a:pt x="464" y="267"/>
                    <a:pt x="463" y="263"/>
                    <a:pt x="461" y="259"/>
                  </a:cubicBezTo>
                  <a:cubicBezTo>
                    <a:pt x="461" y="259"/>
                    <a:pt x="461" y="259"/>
                    <a:pt x="461" y="259"/>
                  </a:cubicBezTo>
                  <a:cubicBezTo>
                    <a:pt x="456" y="251"/>
                    <a:pt x="449" y="246"/>
                    <a:pt x="440" y="246"/>
                  </a:cubicBezTo>
                  <a:cubicBezTo>
                    <a:pt x="430" y="246"/>
                    <a:pt x="430" y="246"/>
                    <a:pt x="430" y="246"/>
                  </a:cubicBezTo>
                  <a:cubicBezTo>
                    <a:pt x="412" y="246"/>
                    <a:pt x="396" y="231"/>
                    <a:pt x="396" y="212"/>
                  </a:cubicBezTo>
                  <a:cubicBezTo>
                    <a:pt x="396" y="212"/>
                    <a:pt x="396" y="212"/>
                    <a:pt x="396" y="212"/>
                  </a:cubicBezTo>
                  <a:cubicBezTo>
                    <a:pt x="396" y="199"/>
                    <a:pt x="385" y="188"/>
                    <a:pt x="372" y="188"/>
                  </a:cubicBezTo>
                  <a:cubicBezTo>
                    <a:pt x="355" y="187"/>
                    <a:pt x="355" y="187"/>
                    <a:pt x="355" y="187"/>
                  </a:cubicBezTo>
                  <a:cubicBezTo>
                    <a:pt x="343" y="186"/>
                    <a:pt x="334" y="175"/>
                    <a:pt x="334" y="163"/>
                  </a:cubicBezTo>
                  <a:cubicBezTo>
                    <a:pt x="334" y="155"/>
                    <a:pt x="334" y="155"/>
                    <a:pt x="334" y="155"/>
                  </a:cubicBezTo>
                  <a:cubicBezTo>
                    <a:pt x="334" y="142"/>
                    <a:pt x="345" y="131"/>
                    <a:pt x="358" y="131"/>
                  </a:cubicBezTo>
                  <a:cubicBezTo>
                    <a:pt x="400" y="131"/>
                    <a:pt x="400" y="131"/>
                    <a:pt x="400" y="131"/>
                  </a:cubicBezTo>
                  <a:cubicBezTo>
                    <a:pt x="400" y="24"/>
                    <a:pt x="400" y="24"/>
                    <a:pt x="400" y="24"/>
                  </a:cubicBezTo>
                  <a:cubicBezTo>
                    <a:pt x="399" y="11"/>
                    <a:pt x="389" y="0"/>
                    <a:pt x="375" y="0"/>
                  </a:cubicBezTo>
                  <a:cubicBezTo>
                    <a:pt x="90" y="0"/>
                    <a:pt x="90" y="0"/>
                    <a:pt x="90" y="0"/>
                  </a:cubicBezTo>
                  <a:cubicBezTo>
                    <a:pt x="78" y="0"/>
                    <a:pt x="68" y="10"/>
                    <a:pt x="66" y="22"/>
                  </a:cubicBezTo>
                  <a:cubicBezTo>
                    <a:pt x="66" y="39"/>
                    <a:pt x="66" y="39"/>
                    <a:pt x="66" y="39"/>
                  </a:cubicBezTo>
                  <a:cubicBezTo>
                    <a:pt x="66" y="53"/>
                    <a:pt x="55" y="63"/>
                    <a:pt x="42" y="63"/>
                  </a:cubicBezTo>
                  <a:cubicBezTo>
                    <a:pt x="0" y="63"/>
                    <a:pt x="0" y="63"/>
                    <a:pt x="0" y="63"/>
                  </a:cubicBezTo>
                  <a:cubicBezTo>
                    <a:pt x="0" y="216"/>
                    <a:pt x="0" y="216"/>
                    <a:pt x="0" y="216"/>
                  </a:cubicBezTo>
                  <a:close/>
                  <a:moveTo>
                    <a:pt x="403" y="464"/>
                  </a:moveTo>
                  <a:cubicBezTo>
                    <a:pt x="403" y="464"/>
                    <a:pt x="403" y="464"/>
                    <a:pt x="403" y="464"/>
                  </a:cubicBezTo>
                  <a:cubicBezTo>
                    <a:pt x="403" y="464"/>
                    <a:pt x="403" y="464"/>
                    <a:pt x="403" y="464"/>
                  </a:cubicBezTo>
                  <a:close/>
                  <a:moveTo>
                    <a:pt x="204" y="283"/>
                  </a:moveTo>
                  <a:cubicBezTo>
                    <a:pt x="204" y="283"/>
                    <a:pt x="204" y="283"/>
                    <a:pt x="204" y="283"/>
                  </a:cubicBezTo>
                  <a:cubicBezTo>
                    <a:pt x="204" y="283"/>
                    <a:pt x="204" y="283"/>
                    <a:pt x="204" y="283"/>
                  </a:cubicBezTo>
                  <a:close/>
                  <a:moveTo>
                    <a:pt x="272" y="342"/>
                  </a:moveTo>
                  <a:cubicBezTo>
                    <a:pt x="272" y="342"/>
                    <a:pt x="272" y="342"/>
                    <a:pt x="272" y="342"/>
                  </a:cubicBezTo>
                  <a:cubicBezTo>
                    <a:pt x="272" y="342"/>
                    <a:pt x="272" y="342"/>
                    <a:pt x="272" y="342"/>
                  </a:cubicBezTo>
                  <a:close/>
                  <a:moveTo>
                    <a:pt x="333" y="402"/>
                  </a:moveTo>
                  <a:cubicBezTo>
                    <a:pt x="333" y="402"/>
                    <a:pt x="333" y="402"/>
                    <a:pt x="333" y="402"/>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27" name="Freeform 33"/>
            <p:cNvSpPr>
              <a:spLocks noEditPoints="1"/>
            </p:cNvSpPr>
            <p:nvPr userDrawn="1"/>
          </p:nvSpPr>
          <p:spPr bwMode="auto">
            <a:xfrm>
              <a:off x="2631" y="2048"/>
              <a:ext cx="470" cy="323"/>
            </a:xfrm>
            <a:custGeom>
              <a:avLst/>
              <a:gdLst>
                <a:gd name="T0" fmla="*/ 266 w 266"/>
                <a:gd name="T1" fmla="*/ 120 h 183"/>
                <a:gd name="T2" fmla="*/ 266 w 266"/>
                <a:gd name="T3" fmla="*/ 60 h 183"/>
                <a:gd name="T4" fmla="*/ 24 w 266"/>
                <a:gd name="T5" fmla="*/ 60 h 183"/>
                <a:gd name="T6" fmla="*/ 0 w 266"/>
                <a:gd name="T7" fmla="*/ 85 h 183"/>
                <a:gd name="T8" fmla="*/ 0 w 266"/>
                <a:gd name="T9" fmla="*/ 159 h 183"/>
                <a:gd name="T10" fmla="*/ 24 w 266"/>
                <a:gd name="T11" fmla="*/ 183 h 183"/>
                <a:gd name="T12" fmla="*/ 106 w 266"/>
                <a:gd name="T13" fmla="*/ 183 h 183"/>
                <a:gd name="T14" fmla="*/ 130 w 266"/>
                <a:gd name="T15" fmla="*/ 159 h 183"/>
                <a:gd name="T16" fmla="*/ 130 w 266"/>
                <a:gd name="T17" fmla="*/ 142 h 183"/>
                <a:gd name="T18" fmla="*/ 154 w 266"/>
                <a:gd name="T19" fmla="*/ 120 h 183"/>
                <a:gd name="T20" fmla="*/ 266 w 266"/>
                <a:gd name="T21" fmla="*/ 120 h 183"/>
                <a:gd name="T22" fmla="*/ 38 w 266"/>
                <a:gd name="T23" fmla="*/ 0 h 183"/>
                <a:gd name="T24" fmla="*/ 38 w 266"/>
                <a:gd name="T25" fmla="*/ 0 h 183"/>
                <a:gd name="T26" fmla="*/ 38 w 266"/>
                <a:gd name="T27"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6" h="183">
                  <a:moveTo>
                    <a:pt x="266" y="120"/>
                  </a:moveTo>
                  <a:cubicBezTo>
                    <a:pt x="266" y="60"/>
                    <a:pt x="266" y="60"/>
                    <a:pt x="266" y="60"/>
                  </a:cubicBezTo>
                  <a:cubicBezTo>
                    <a:pt x="179" y="60"/>
                    <a:pt x="105" y="60"/>
                    <a:pt x="24" y="60"/>
                  </a:cubicBezTo>
                  <a:cubicBezTo>
                    <a:pt x="11" y="60"/>
                    <a:pt x="0" y="71"/>
                    <a:pt x="0" y="85"/>
                  </a:cubicBezTo>
                  <a:cubicBezTo>
                    <a:pt x="0" y="159"/>
                    <a:pt x="0" y="159"/>
                    <a:pt x="0" y="159"/>
                  </a:cubicBezTo>
                  <a:cubicBezTo>
                    <a:pt x="0" y="173"/>
                    <a:pt x="11" y="183"/>
                    <a:pt x="24" y="183"/>
                  </a:cubicBezTo>
                  <a:cubicBezTo>
                    <a:pt x="106" y="183"/>
                    <a:pt x="106" y="183"/>
                    <a:pt x="106" y="183"/>
                  </a:cubicBezTo>
                  <a:cubicBezTo>
                    <a:pt x="119" y="183"/>
                    <a:pt x="130" y="173"/>
                    <a:pt x="130" y="159"/>
                  </a:cubicBezTo>
                  <a:cubicBezTo>
                    <a:pt x="130" y="142"/>
                    <a:pt x="130" y="142"/>
                    <a:pt x="130" y="142"/>
                  </a:cubicBezTo>
                  <a:cubicBezTo>
                    <a:pt x="132" y="130"/>
                    <a:pt x="142" y="120"/>
                    <a:pt x="154" y="120"/>
                  </a:cubicBezTo>
                  <a:cubicBezTo>
                    <a:pt x="266" y="120"/>
                    <a:pt x="266" y="120"/>
                    <a:pt x="266" y="120"/>
                  </a:cubicBezTo>
                  <a:close/>
                  <a:moveTo>
                    <a:pt x="38" y="0"/>
                  </a:moveTo>
                  <a:cubicBezTo>
                    <a:pt x="38" y="0"/>
                    <a:pt x="38" y="0"/>
                    <a:pt x="38" y="0"/>
                  </a:cubicBezTo>
                  <a:cubicBezTo>
                    <a:pt x="38" y="0"/>
                    <a:pt x="38" y="0"/>
                    <a:pt x="38" y="0"/>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28" name="Freeform 34"/>
            <p:cNvSpPr>
              <a:spLocks/>
            </p:cNvSpPr>
            <p:nvPr userDrawn="1"/>
          </p:nvSpPr>
          <p:spPr bwMode="auto">
            <a:xfrm>
              <a:off x="3101" y="2064"/>
              <a:ext cx="706" cy="424"/>
            </a:xfrm>
            <a:custGeom>
              <a:avLst/>
              <a:gdLst>
                <a:gd name="T0" fmla="*/ 198 w 400"/>
                <a:gd name="T1" fmla="*/ 0 h 240"/>
                <a:gd name="T2" fmla="*/ 400 w 400"/>
                <a:gd name="T3" fmla="*/ 0 h 240"/>
                <a:gd name="T4" fmla="*/ 400 w 400"/>
                <a:gd name="T5" fmla="*/ 89 h 240"/>
                <a:gd name="T6" fmla="*/ 375 w 400"/>
                <a:gd name="T7" fmla="*/ 113 h 240"/>
                <a:gd name="T8" fmla="*/ 361 w 400"/>
                <a:gd name="T9" fmla="*/ 113 h 240"/>
                <a:gd name="T10" fmla="*/ 330 w 400"/>
                <a:gd name="T11" fmla="*/ 146 h 240"/>
                <a:gd name="T12" fmla="*/ 330 w 400"/>
                <a:gd name="T13" fmla="*/ 216 h 240"/>
                <a:gd name="T14" fmla="*/ 306 w 400"/>
                <a:gd name="T15" fmla="*/ 240 h 240"/>
                <a:gd name="T16" fmla="*/ 198 w 400"/>
                <a:gd name="T17" fmla="*/ 240 h 240"/>
                <a:gd name="T18" fmla="*/ 200 w 400"/>
                <a:gd name="T19" fmla="*/ 216 h 240"/>
                <a:gd name="T20" fmla="*/ 200 w 400"/>
                <a:gd name="T21" fmla="*/ 133 h 240"/>
                <a:gd name="T22" fmla="*/ 176 w 400"/>
                <a:gd name="T23" fmla="*/ 111 h 240"/>
                <a:gd name="T24" fmla="*/ 0 w 400"/>
                <a:gd name="T25" fmla="*/ 111 h 240"/>
                <a:gd name="T26" fmla="*/ 0 w 400"/>
                <a:gd name="T27" fmla="*/ 51 h 240"/>
                <a:gd name="T28" fmla="*/ 33 w 400"/>
                <a:gd name="T29" fmla="*/ 51 h 240"/>
                <a:gd name="T30" fmla="*/ 39 w 400"/>
                <a:gd name="T31" fmla="*/ 51 h 240"/>
                <a:gd name="T32" fmla="*/ 42 w 400"/>
                <a:gd name="T33" fmla="*/ 51 h 240"/>
                <a:gd name="T34" fmla="*/ 168 w 400"/>
                <a:gd name="T35" fmla="*/ 51 h 240"/>
                <a:gd name="T36" fmla="*/ 197 w 400"/>
                <a:gd name="T37" fmla="*/ 21 h 240"/>
                <a:gd name="T38" fmla="*/ 198 w 400"/>
                <a:gd name="T39"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0" h="240">
                  <a:moveTo>
                    <a:pt x="198" y="0"/>
                  </a:moveTo>
                  <a:cubicBezTo>
                    <a:pt x="400" y="0"/>
                    <a:pt x="400" y="0"/>
                    <a:pt x="400" y="0"/>
                  </a:cubicBezTo>
                  <a:cubicBezTo>
                    <a:pt x="400" y="89"/>
                    <a:pt x="400" y="89"/>
                    <a:pt x="400" y="89"/>
                  </a:cubicBezTo>
                  <a:cubicBezTo>
                    <a:pt x="400" y="102"/>
                    <a:pt x="389" y="113"/>
                    <a:pt x="375" y="113"/>
                  </a:cubicBezTo>
                  <a:cubicBezTo>
                    <a:pt x="361" y="113"/>
                    <a:pt x="361" y="113"/>
                    <a:pt x="361" y="113"/>
                  </a:cubicBezTo>
                  <a:cubicBezTo>
                    <a:pt x="337" y="113"/>
                    <a:pt x="330" y="136"/>
                    <a:pt x="330" y="146"/>
                  </a:cubicBezTo>
                  <a:cubicBezTo>
                    <a:pt x="330" y="216"/>
                    <a:pt x="330" y="216"/>
                    <a:pt x="330" y="216"/>
                  </a:cubicBezTo>
                  <a:cubicBezTo>
                    <a:pt x="330" y="230"/>
                    <a:pt x="319" y="240"/>
                    <a:pt x="306" y="240"/>
                  </a:cubicBezTo>
                  <a:cubicBezTo>
                    <a:pt x="198" y="240"/>
                    <a:pt x="198" y="240"/>
                    <a:pt x="198" y="240"/>
                  </a:cubicBezTo>
                  <a:cubicBezTo>
                    <a:pt x="200" y="216"/>
                    <a:pt x="200" y="216"/>
                    <a:pt x="200" y="216"/>
                  </a:cubicBezTo>
                  <a:cubicBezTo>
                    <a:pt x="200" y="133"/>
                    <a:pt x="200" y="133"/>
                    <a:pt x="200" y="133"/>
                  </a:cubicBezTo>
                  <a:cubicBezTo>
                    <a:pt x="198" y="121"/>
                    <a:pt x="188" y="111"/>
                    <a:pt x="176" y="111"/>
                  </a:cubicBezTo>
                  <a:cubicBezTo>
                    <a:pt x="0" y="111"/>
                    <a:pt x="0" y="111"/>
                    <a:pt x="0" y="111"/>
                  </a:cubicBezTo>
                  <a:cubicBezTo>
                    <a:pt x="0" y="51"/>
                    <a:pt x="0" y="51"/>
                    <a:pt x="0" y="51"/>
                  </a:cubicBezTo>
                  <a:cubicBezTo>
                    <a:pt x="33" y="51"/>
                    <a:pt x="33" y="51"/>
                    <a:pt x="33" y="51"/>
                  </a:cubicBezTo>
                  <a:cubicBezTo>
                    <a:pt x="35" y="51"/>
                    <a:pt x="37" y="51"/>
                    <a:pt x="39" y="51"/>
                  </a:cubicBezTo>
                  <a:cubicBezTo>
                    <a:pt x="40" y="51"/>
                    <a:pt x="41" y="51"/>
                    <a:pt x="42" y="51"/>
                  </a:cubicBezTo>
                  <a:cubicBezTo>
                    <a:pt x="168" y="51"/>
                    <a:pt x="168" y="51"/>
                    <a:pt x="168" y="51"/>
                  </a:cubicBezTo>
                  <a:cubicBezTo>
                    <a:pt x="184" y="51"/>
                    <a:pt x="197" y="37"/>
                    <a:pt x="197" y="21"/>
                  </a:cubicBezTo>
                  <a:lnTo>
                    <a:pt x="198" y="0"/>
                  </a:lnTo>
                  <a:close/>
                </a:path>
              </a:pathLst>
            </a:custGeom>
            <a:solidFill>
              <a:schemeClr val="accent3">
                <a:lumMod val="50000"/>
              </a:schemeClr>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29" name="Freeform 35"/>
            <p:cNvSpPr>
              <a:spLocks/>
            </p:cNvSpPr>
            <p:nvPr userDrawn="1"/>
          </p:nvSpPr>
          <p:spPr bwMode="auto">
            <a:xfrm>
              <a:off x="3450" y="2375"/>
              <a:ext cx="233" cy="113"/>
            </a:xfrm>
            <a:custGeom>
              <a:avLst/>
              <a:gdLst>
                <a:gd name="T0" fmla="*/ 132 w 132"/>
                <a:gd name="T1" fmla="*/ 0 h 64"/>
                <a:gd name="T2" fmla="*/ 132 w 132"/>
                <a:gd name="T3" fmla="*/ 40 h 64"/>
                <a:gd name="T4" fmla="*/ 108 w 132"/>
                <a:gd name="T5" fmla="*/ 64 h 64"/>
                <a:gd name="T6" fmla="*/ 0 w 132"/>
                <a:gd name="T7" fmla="*/ 64 h 64"/>
                <a:gd name="T8" fmla="*/ 2 w 132"/>
                <a:gd name="T9" fmla="*/ 40 h 64"/>
                <a:gd name="T10" fmla="*/ 2 w 132"/>
                <a:gd name="T11" fmla="*/ 0 h 64"/>
                <a:gd name="T12" fmla="*/ 132 w 132"/>
                <a:gd name="T13" fmla="*/ 0 h 64"/>
              </a:gdLst>
              <a:ahLst/>
              <a:cxnLst>
                <a:cxn ang="0">
                  <a:pos x="T0" y="T1"/>
                </a:cxn>
                <a:cxn ang="0">
                  <a:pos x="T2" y="T3"/>
                </a:cxn>
                <a:cxn ang="0">
                  <a:pos x="T4" y="T5"/>
                </a:cxn>
                <a:cxn ang="0">
                  <a:pos x="T6" y="T7"/>
                </a:cxn>
                <a:cxn ang="0">
                  <a:pos x="T8" y="T9"/>
                </a:cxn>
                <a:cxn ang="0">
                  <a:pos x="T10" y="T11"/>
                </a:cxn>
                <a:cxn ang="0">
                  <a:pos x="T12" y="T13"/>
                </a:cxn>
              </a:cxnLst>
              <a:rect l="0" t="0" r="r" b="b"/>
              <a:pathLst>
                <a:path w="132" h="64">
                  <a:moveTo>
                    <a:pt x="132" y="0"/>
                  </a:moveTo>
                  <a:cubicBezTo>
                    <a:pt x="132" y="40"/>
                    <a:pt x="132" y="40"/>
                    <a:pt x="132" y="40"/>
                  </a:cubicBezTo>
                  <a:cubicBezTo>
                    <a:pt x="132" y="54"/>
                    <a:pt x="121" y="64"/>
                    <a:pt x="108" y="64"/>
                  </a:cubicBezTo>
                  <a:cubicBezTo>
                    <a:pt x="0" y="64"/>
                    <a:pt x="0" y="64"/>
                    <a:pt x="0" y="64"/>
                  </a:cubicBezTo>
                  <a:cubicBezTo>
                    <a:pt x="2" y="40"/>
                    <a:pt x="2" y="40"/>
                    <a:pt x="2" y="40"/>
                  </a:cubicBezTo>
                  <a:cubicBezTo>
                    <a:pt x="2" y="0"/>
                    <a:pt x="2" y="0"/>
                    <a:pt x="2" y="0"/>
                  </a:cubicBezTo>
                  <a:lnTo>
                    <a:pt x="132" y="0"/>
                  </a:lnTo>
                  <a:close/>
                </a:path>
              </a:pathLst>
            </a:custGeom>
            <a:solidFill>
              <a:schemeClr val="accent3"/>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30" name="Freeform 36"/>
            <p:cNvSpPr>
              <a:spLocks noEditPoints="1"/>
            </p:cNvSpPr>
            <p:nvPr userDrawn="1"/>
          </p:nvSpPr>
          <p:spPr bwMode="auto">
            <a:xfrm>
              <a:off x="3544" y="2375"/>
              <a:ext cx="490" cy="365"/>
            </a:xfrm>
            <a:custGeom>
              <a:avLst/>
              <a:gdLst>
                <a:gd name="T0" fmla="*/ 17 w 278"/>
                <a:gd name="T1" fmla="*/ 92 h 207"/>
                <a:gd name="T2" fmla="*/ 41 w 278"/>
                <a:gd name="T3" fmla="*/ 124 h 207"/>
                <a:gd name="T4" fmla="*/ 87 w 278"/>
                <a:gd name="T5" fmla="*/ 158 h 207"/>
                <a:gd name="T6" fmla="*/ 87 w 278"/>
                <a:gd name="T7" fmla="*/ 162 h 207"/>
                <a:gd name="T8" fmla="*/ 87 w 278"/>
                <a:gd name="T9" fmla="*/ 163 h 207"/>
                <a:gd name="T10" fmla="*/ 87 w 278"/>
                <a:gd name="T11" fmla="*/ 163 h 207"/>
                <a:gd name="T12" fmla="*/ 87 w 278"/>
                <a:gd name="T13" fmla="*/ 164 h 207"/>
                <a:gd name="T14" fmla="*/ 87 w 278"/>
                <a:gd name="T15" fmla="*/ 164 h 207"/>
                <a:gd name="T16" fmla="*/ 87 w 278"/>
                <a:gd name="T17" fmla="*/ 165 h 207"/>
                <a:gd name="T18" fmla="*/ 87 w 278"/>
                <a:gd name="T19" fmla="*/ 166 h 207"/>
                <a:gd name="T20" fmla="*/ 97 w 278"/>
                <a:gd name="T21" fmla="*/ 181 h 207"/>
                <a:gd name="T22" fmla="*/ 97 w 278"/>
                <a:gd name="T23" fmla="*/ 181 h 207"/>
                <a:gd name="T24" fmla="*/ 98 w 278"/>
                <a:gd name="T25" fmla="*/ 181 h 207"/>
                <a:gd name="T26" fmla="*/ 98 w 278"/>
                <a:gd name="T27" fmla="*/ 182 h 207"/>
                <a:gd name="T28" fmla="*/ 99 w 278"/>
                <a:gd name="T29" fmla="*/ 182 h 207"/>
                <a:gd name="T30" fmla="*/ 99 w 278"/>
                <a:gd name="T31" fmla="*/ 182 h 207"/>
                <a:gd name="T32" fmla="*/ 100 w 278"/>
                <a:gd name="T33" fmla="*/ 183 h 207"/>
                <a:gd name="T34" fmla="*/ 100 w 278"/>
                <a:gd name="T35" fmla="*/ 183 h 207"/>
                <a:gd name="T36" fmla="*/ 101 w 278"/>
                <a:gd name="T37" fmla="*/ 183 h 207"/>
                <a:gd name="T38" fmla="*/ 101 w 278"/>
                <a:gd name="T39" fmla="*/ 183 h 207"/>
                <a:gd name="T40" fmla="*/ 102 w 278"/>
                <a:gd name="T41" fmla="*/ 184 h 207"/>
                <a:gd name="T42" fmla="*/ 102 w 278"/>
                <a:gd name="T43" fmla="*/ 184 h 207"/>
                <a:gd name="T44" fmla="*/ 103 w 278"/>
                <a:gd name="T45" fmla="*/ 184 h 207"/>
                <a:gd name="T46" fmla="*/ 103 w 278"/>
                <a:gd name="T47" fmla="*/ 184 h 207"/>
                <a:gd name="T48" fmla="*/ 103 w 278"/>
                <a:gd name="T49" fmla="*/ 184 h 207"/>
                <a:gd name="T50" fmla="*/ 104 w 278"/>
                <a:gd name="T51" fmla="*/ 185 h 207"/>
                <a:gd name="T52" fmla="*/ 105 w 278"/>
                <a:gd name="T53" fmla="*/ 185 h 207"/>
                <a:gd name="T54" fmla="*/ 106 w 278"/>
                <a:gd name="T55" fmla="*/ 185 h 207"/>
                <a:gd name="T56" fmla="*/ 106 w 278"/>
                <a:gd name="T57" fmla="*/ 185 h 207"/>
                <a:gd name="T58" fmla="*/ 107 w 278"/>
                <a:gd name="T59" fmla="*/ 185 h 207"/>
                <a:gd name="T60" fmla="*/ 107 w 278"/>
                <a:gd name="T61" fmla="*/ 185 h 207"/>
                <a:gd name="T62" fmla="*/ 108 w 278"/>
                <a:gd name="T63" fmla="*/ 185 h 207"/>
                <a:gd name="T64" fmla="*/ 109 w 278"/>
                <a:gd name="T65" fmla="*/ 185 h 207"/>
                <a:gd name="T66" fmla="*/ 109 w 278"/>
                <a:gd name="T67" fmla="*/ 185 h 207"/>
                <a:gd name="T68" fmla="*/ 110 w 278"/>
                <a:gd name="T69" fmla="*/ 186 h 207"/>
                <a:gd name="T70" fmla="*/ 110 w 278"/>
                <a:gd name="T71" fmla="*/ 186 h 207"/>
                <a:gd name="T72" fmla="*/ 181 w 278"/>
                <a:gd name="T73" fmla="*/ 186 h 207"/>
                <a:gd name="T74" fmla="*/ 213 w 278"/>
                <a:gd name="T75" fmla="*/ 207 h 207"/>
                <a:gd name="T76" fmla="*/ 178 w 278"/>
                <a:gd name="T77" fmla="*/ 116 h 207"/>
                <a:gd name="T78" fmla="*/ 147 w 278"/>
                <a:gd name="T79" fmla="*/ 91 h 207"/>
                <a:gd name="T80" fmla="*/ 171 w 278"/>
                <a:gd name="T81" fmla="*/ 59 h 207"/>
                <a:gd name="T82" fmla="*/ 278 w 278"/>
                <a:gd name="T83" fmla="*/ 0 h 207"/>
                <a:gd name="T84" fmla="*/ 79 w 278"/>
                <a:gd name="T85" fmla="*/ 40 h 207"/>
                <a:gd name="T86" fmla="*/ 0 w 278"/>
                <a:gd name="T87" fmla="*/ 64 h 207"/>
                <a:gd name="T88" fmla="*/ 87 w 278"/>
                <a:gd name="T89" fmla="*/ 161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8" h="207">
                  <a:moveTo>
                    <a:pt x="0" y="64"/>
                  </a:moveTo>
                  <a:cubicBezTo>
                    <a:pt x="10" y="65"/>
                    <a:pt x="17" y="71"/>
                    <a:pt x="17" y="92"/>
                  </a:cubicBezTo>
                  <a:cubicBezTo>
                    <a:pt x="17" y="100"/>
                    <a:pt x="17" y="100"/>
                    <a:pt x="17" y="100"/>
                  </a:cubicBezTo>
                  <a:cubicBezTo>
                    <a:pt x="17" y="113"/>
                    <a:pt x="28" y="124"/>
                    <a:pt x="41" y="124"/>
                  </a:cubicBezTo>
                  <a:cubicBezTo>
                    <a:pt x="53" y="124"/>
                    <a:pt x="53" y="124"/>
                    <a:pt x="53" y="124"/>
                  </a:cubicBezTo>
                  <a:cubicBezTo>
                    <a:pt x="72" y="124"/>
                    <a:pt x="87" y="140"/>
                    <a:pt x="87" y="158"/>
                  </a:cubicBezTo>
                  <a:cubicBezTo>
                    <a:pt x="87" y="161"/>
                    <a:pt x="87" y="161"/>
                    <a:pt x="87" y="161"/>
                  </a:cubicBezTo>
                  <a:cubicBezTo>
                    <a:pt x="87" y="162"/>
                    <a:pt x="87" y="162"/>
                    <a:pt x="87" y="162"/>
                  </a:cubicBezTo>
                  <a:cubicBezTo>
                    <a:pt x="87" y="162"/>
                    <a:pt x="87" y="162"/>
                    <a:pt x="87" y="162"/>
                  </a:cubicBezTo>
                  <a:cubicBezTo>
                    <a:pt x="87" y="163"/>
                    <a:pt x="87" y="163"/>
                    <a:pt x="87" y="163"/>
                  </a:cubicBezTo>
                  <a:cubicBezTo>
                    <a:pt x="87" y="163"/>
                    <a:pt x="87" y="163"/>
                    <a:pt x="87" y="163"/>
                  </a:cubicBezTo>
                  <a:cubicBezTo>
                    <a:pt x="87" y="163"/>
                    <a:pt x="87" y="163"/>
                    <a:pt x="87" y="163"/>
                  </a:cubicBezTo>
                  <a:cubicBezTo>
                    <a:pt x="87" y="163"/>
                    <a:pt x="87" y="163"/>
                    <a:pt x="87" y="163"/>
                  </a:cubicBezTo>
                  <a:cubicBezTo>
                    <a:pt x="87" y="164"/>
                    <a:pt x="87" y="164"/>
                    <a:pt x="87" y="164"/>
                  </a:cubicBezTo>
                  <a:cubicBezTo>
                    <a:pt x="87" y="164"/>
                    <a:pt x="87" y="164"/>
                    <a:pt x="87" y="164"/>
                  </a:cubicBezTo>
                  <a:cubicBezTo>
                    <a:pt x="87" y="164"/>
                    <a:pt x="87" y="164"/>
                    <a:pt x="87" y="164"/>
                  </a:cubicBezTo>
                  <a:cubicBezTo>
                    <a:pt x="87" y="164"/>
                    <a:pt x="87" y="164"/>
                    <a:pt x="87" y="164"/>
                  </a:cubicBezTo>
                  <a:cubicBezTo>
                    <a:pt x="87" y="165"/>
                    <a:pt x="87" y="165"/>
                    <a:pt x="87" y="165"/>
                  </a:cubicBezTo>
                  <a:cubicBezTo>
                    <a:pt x="87" y="165"/>
                    <a:pt x="87" y="165"/>
                    <a:pt x="87" y="165"/>
                  </a:cubicBezTo>
                  <a:cubicBezTo>
                    <a:pt x="87" y="166"/>
                    <a:pt x="87" y="166"/>
                    <a:pt x="87" y="166"/>
                  </a:cubicBezTo>
                  <a:cubicBezTo>
                    <a:pt x="87" y="166"/>
                    <a:pt x="87" y="166"/>
                    <a:pt x="87" y="166"/>
                  </a:cubicBezTo>
                  <a:cubicBezTo>
                    <a:pt x="88" y="172"/>
                    <a:pt x="92" y="177"/>
                    <a:pt x="97" y="181"/>
                  </a:cubicBezTo>
                  <a:cubicBezTo>
                    <a:pt x="97" y="181"/>
                    <a:pt x="97" y="181"/>
                    <a:pt x="97" y="181"/>
                  </a:cubicBezTo>
                  <a:cubicBezTo>
                    <a:pt x="97" y="181"/>
                    <a:pt x="97" y="181"/>
                    <a:pt x="97" y="181"/>
                  </a:cubicBezTo>
                  <a:cubicBezTo>
                    <a:pt x="97" y="181"/>
                    <a:pt x="97" y="181"/>
                    <a:pt x="97" y="181"/>
                  </a:cubicBezTo>
                  <a:cubicBezTo>
                    <a:pt x="98" y="181"/>
                    <a:pt x="98" y="181"/>
                    <a:pt x="98" y="181"/>
                  </a:cubicBezTo>
                  <a:cubicBezTo>
                    <a:pt x="98" y="181"/>
                    <a:pt x="98" y="181"/>
                    <a:pt x="98" y="181"/>
                  </a:cubicBezTo>
                  <a:cubicBezTo>
                    <a:pt x="98" y="182"/>
                    <a:pt x="98" y="182"/>
                    <a:pt x="98" y="182"/>
                  </a:cubicBezTo>
                  <a:cubicBezTo>
                    <a:pt x="98" y="182"/>
                    <a:pt x="98" y="182"/>
                    <a:pt x="98" y="182"/>
                  </a:cubicBezTo>
                  <a:cubicBezTo>
                    <a:pt x="99" y="182"/>
                    <a:pt x="99" y="182"/>
                    <a:pt x="99" y="182"/>
                  </a:cubicBezTo>
                  <a:cubicBezTo>
                    <a:pt x="99" y="182"/>
                    <a:pt x="99" y="182"/>
                    <a:pt x="99" y="182"/>
                  </a:cubicBezTo>
                  <a:cubicBezTo>
                    <a:pt x="99" y="182"/>
                    <a:pt x="99" y="182"/>
                    <a:pt x="99" y="182"/>
                  </a:cubicBezTo>
                  <a:cubicBezTo>
                    <a:pt x="99" y="182"/>
                    <a:pt x="99" y="182"/>
                    <a:pt x="99" y="182"/>
                  </a:cubicBezTo>
                  <a:cubicBezTo>
                    <a:pt x="100" y="183"/>
                    <a:pt x="100" y="183"/>
                    <a:pt x="100" y="183"/>
                  </a:cubicBezTo>
                  <a:cubicBezTo>
                    <a:pt x="100" y="183"/>
                    <a:pt x="100" y="183"/>
                    <a:pt x="100" y="183"/>
                  </a:cubicBezTo>
                  <a:cubicBezTo>
                    <a:pt x="100" y="183"/>
                    <a:pt x="100" y="183"/>
                    <a:pt x="100" y="183"/>
                  </a:cubicBezTo>
                  <a:cubicBezTo>
                    <a:pt x="100" y="183"/>
                    <a:pt x="100" y="183"/>
                    <a:pt x="100" y="183"/>
                  </a:cubicBezTo>
                  <a:cubicBezTo>
                    <a:pt x="101" y="183"/>
                    <a:pt x="101" y="183"/>
                    <a:pt x="101" y="183"/>
                  </a:cubicBezTo>
                  <a:cubicBezTo>
                    <a:pt x="101" y="183"/>
                    <a:pt x="101" y="183"/>
                    <a:pt x="101" y="183"/>
                  </a:cubicBezTo>
                  <a:cubicBezTo>
                    <a:pt x="101" y="183"/>
                    <a:pt x="101" y="183"/>
                    <a:pt x="101" y="183"/>
                  </a:cubicBezTo>
                  <a:cubicBezTo>
                    <a:pt x="101" y="183"/>
                    <a:pt x="101" y="183"/>
                    <a:pt x="101" y="183"/>
                  </a:cubicBezTo>
                  <a:cubicBezTo>
                    <a:pt x="101" y="183"/>
                    <a:pt x="102" y="184"/>
                    <a:pt x="102" y="184"/>
                  </a:cubicBezTo>
                  <a:cubicBezTo>
                    <a:pt x="102" y="184"/>
                    <a:pt x="102" y="184"/>
                    <a:pt x="102" y="184"/>
                  </a:cubicBezTo>
                  <a:cubicBezTo>
                    <a:pt x="102" y="184"/>
                    <a:pt x="102" y="184"/>
                    <a:pt x="102" y="184"/>
                  </a:cubicBezTo>
                  <a:cubicBezTo>
                    <a:pt x="102" y="184"/>
                    <a:pt x="102" y="184"/>
                    <a:pt x="102" y="184"/>
                  </a:cubicBezTo>
                  <a:cubicBezTo>
                    <a:pt x="103" y="184"/>
                    <a:pt x="103" y="184"/>
                    <a:pt x="103" y="184"/>
                  </a:cubicBezTo>
                  <a:cubicBezTo>
                    <a:pt x="103" y="184"/>
                    <a:pt x="103" y="184"/>
                    <a:pt x="103" y="184"/>
                  </a:cubicBezTo>
                  <a:cubicBezTo>
                    <a:pt x="103" y="184"/>
                    <a:pt x="103" y="184"/>
                    <a:pt x="103" y="184"/>
                  </a:cubicBezTo>
                  <a:cubicBezTo>
                    <a:pt x="103" y="184"/>
                    <a:pt x="103" y="184"/>
                    <a:pt x="103" y="184"/>
                  </a:cubicBezTo>
                  <a:cubicBezTo>
                    <a:pt x="103" y="184"/>
                    <a:pt x="103" y="184"/>
                    <a:pt x="103" y="184"/>
                  </a:cubicBezTo>
                  <a:cubicBezTo>
                    <a:pt x="104" y="184"/>
                    <a:pt x="104" y="185"/>
                    <a:pt x="104" y="185"/>
                  </a:cubicBezTo>
                  <a:cubicBezTo>
                    <a:pt x="104" y="185"/>
                    <a:pt x="104" y="185"/>
                    <a:pt x="104" y="185"/>
                  </a:cubicBezTo>
                  <a:cubicBezTo>
                    <a:pt x="104" y="185"/>
                    <a:pt x="104" y="185"/>
                    <a:pt x="104" y="185"/>
                  </a:cubicBezTo>
                  <a:cubicBezTo>
                    <a:pt x="105" y="185"/>
                    <a:pt x="105" y="185"/>
                    <a:pt x="105" y="185"/>
                  </a:cubicBezTo>
                  <a:cubicBezTo>
                    <a:pt x="105" y="185"/>
                    <a:pt x="105" y="185"/>
                    <a:pt x="105" y="185"/>
                  </a:cubicBezTo>
                  <a:cubicBezTo>
                    <a:pt x="106" y="185"/>
                    <a:pt x="106" y="185"/>
                    <a:pt x="106" y="185"/>
                  </a:cubicBezTo>
                  <a:cubicBezTo>
                    <a:pt x="106" y="185"/>
                    <a:pt x="106" y="185"/>
                    <a:pt x="106" y="185"/>
                  </a:cubicBezTo>
                  <a:cubicBezTo>
                    <a:pt x="106" y="185"/>
                    <a:pt x="106" y="185"/>
                    <a:pt x="106" y="185"/>
                  </a:cubicBezTo>
                  <a:cubicBezTo>
                    <a:pt x="106" y="185"/>
                    <a:pt x="106" y="185"/>
                    <a:pt x="106" y="185"/>
                  </a:cubicBezTo>
                  <a:cubicBezTo>
                    <a:pt x="106" y="185"/>
                    <a:pt x="107" y="185"/>
                    <a:pt x="107" y="185"/>
                  </a:cubicBezTo>
                  <a:cubicBezTo>
                    <a:pt x="107" y="185"/>
                    <a:pt x="107" y="185"/>
                    <a:pt x="107" y="185"/>
                  </a:cubicBezTo>
                  <a:cubicBezTo>
                    <a:pt x="107" y="185"/>
                    <a:pt x="107" y="185"/>
                    <a:pt x="107" y="185"/>
                  </a:cubicBezTo>
                  <a:cubicBezTo>
                    <a:pt x="107" y="185"/>
                    <a:pt x="108" y="185"/>
                    <a:pt x="108" y="185"/>
                  </a:cubicBezTo>
                  <a:cubicBezTo>
                    <a:pt x="108" y="185"/>
                    <a:pt x="108" y="185"/>
                    <a:pt x="108" y="185"/>
                  </a:cubicBezTo>
                  <a:cubicBezTo>
                    <a:pt x="108" y="185"/>
                    <a:pt x="108" y="185"/>
                    <a:pt x="108" y="185"/>
                  </a:cubicBezTo>
                  <a:cubicBezTo>
                    <a:pt x="109" y="185"/>
                    <a:pt x="109" y="185"/>
                    <a:pt x="109" y="185"/>
                  </a:cubicBezTo>
                  <a:cubicBezTo>
                    <a:pt x="109" y="185"/>
                    <a:pt x="109" y="185"/>
                    <a:pt x="109" y="185"/>
                  </a:cubicBezTo>
                  <a:cubicBezTo>
                    <a:pt x="109" y="185"/>
                    <a:pt x="109" y="185"/>
                    <a:pt x="109" y="185"/>
                  </a:cubicBezTo>
                  <a:cubicBezTo>
                    <a:pt x="109" y="185"/>
                    <a:pt x="109" y="185"/>
                    <a:pt x="109" y="185"/>
                  </a:cubicBezTo>
                  <a:cubicBezTo>
                    <a:pt x="110" y="186"/>
                    <a:pt x="110" y="186"/>
                    <a:pt x="110" y="186"/>
                  </a:cubicBezTo>
                  <a:cubicBezTo>
                    <a:pt x="110" y="186"/>
                    <a:pt x="110" y="186"/>
                    <a:pt x="110" y="186"/>
                  </a:cubicBezTo>
                  <a:cubicBezTo>
                    <a:pt x="110" y="186"/>
                    <a:pt x="110" y="186"/>
                    <a:pt x="110" y="186"/>
                  </a:cubicBezTo>
                  <a:cubicBezTo>
                    <a:pt x="111" y="186"/>
                    <a:pt x="111" y="186"/>
                    <a:pt x="111" y="186"/>
                  </a:cubicBezTo>
                  <a:cubicBezTo>
                    <a:pt x="181" y="186"/>
                    <a:pt x="181" y="186"/>
                    <a:pt x="181" y="186"/>
                  </a:cubicBezTo>
                  <a:cubicBezTo>
                    <a:pt x="182" y="186"/>
                    <a:pt x="182" y="186"/>
                    <a:pt x="182" y="186"/>
                  </a:cubicBezTo>
                  <a:cubicBezTo>
                    <a:pt x="196" y="186"/>
                    <a:pt x="208" y="194"/>
                    <a:pt x="213" y="207"/>
                  </a:cubicBezTo>
                  <a:cubicBezTo>
                    <a:pt x="212" y="145"/>
                    <a:pt x="212" y="145"/>
                    <a:pt x="212" y="145"/>
                  </a:cubicBezTo>
                  <a:cubicBezTo>
                    <a:pt x="212" y="114"/>
                    <a:pt x="184" y="116"/>
                    <a:pt x="178" y="116"/>
                  </a:cubicBezTo>
                  <a:cubicBezTo>
                    <a:pt x="171" y="116"/>
                    <a:pt x="171" y="116"/>
                    <a:pt x="171" y="116"/>
                  </a:cubicBezTo>
                  <a:cubicBezTo>
                    <a:pt x="158" y="116"/>
                    <a:pt x="147" y="105"/>
                    <a:pt x="147" y="91"/>
                  </a:cubicBezTo>
                  <a:cubicBezTo>
                    <a:pt x="147" y="83"/>
                    <a:pt x="147" y="83"/>
                    <a:pt x="147" y="83"/>
                  </a:cubicBezTo>
                  <a:cubicBezTo>
                    <a:pt x="147" y="70"/>
                    <a:pt x="158" y="59"/>
                    <a:pt x="171" y="59"/>
                  </a:cubicBezTo>
                  <a:cubicBezTo>
                    <a:pt x="278" y="59"/>
                    <a:pt x="278" y="59"/>
                    <a:pt x="278" y="59"/>
                  </a:cubicBezTo>
                  <a:cubicBezTo>
                    <a:pt x="278" y="0"/>
                    <a:pt x="278" y="0"/>
                    <a:pt x="278" y="0"/>
                  </a:cubicBezTo>
                  <a:cubicBezTo>
                    <a:pt x="79" y="0"/>
                    <a:pt x="79" y="0"/>
                    <a:pt x="79" y="0"/>
                  </a:cubicBezTo>
                  <a:cubicBezTo>
                    <a:pt x="79" y="40"/>
                    <a:pt x="79" y="40"/>
                    <a:pt x="79" y="40"/>
                  </a:cubicBezTo>
                  <a:cubicBezTo>
                    <a:pt x="79" y="54"/>
                    <a:pt x="68" y="64"/>
                    <a:pt x="55" y="64"/>
                  </a:cubicBezTo>
                  <a:cubicBezTo>
                    <a:pt x="0" y="64"/>
                    <a:pt x="0" y="64"/>
                    <a:pt x="0" y="64"/>
                  </a:cubicBezTo>
                  <a:close/>
                  <a:moveTo>
                    <a:pt x="87" y="161"/>
                  </a:moveTo>
                  <a:cubicBezTo>
                    <a:pt x="87" y="161"/>
                    <a:pt x="87" y="161"/>
                    <a:pt x="87" y="161"/>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31" name="Freeform 37"/>
            <p:cNvSpPr>
              <a:spLocks/>
            </p:cNvSpPr>
            <p:nvPr userDrawn="1"/>
          </p:nvSpPr>
          <p:spPr bwMode="auto">
            <a:xfrm>
              <a:off x="4747" y="3777"/>
              <a:ext cx="332" cy="101"/>
            </a:xfrm>
            <a:custGeom>
              <a:avLst/>
              <a:gdLst>
                <a:gd name="T0" fmla="*/ 0 w 188"/>
                <a:gd name="T1" fmla="*/ 24 h 57"/>
                <a:gd name="T2" fmla="*/ 0 w 188"/>
                <a:gd name="T3" fmla="*/ 32 h 57"/>
                <a:gd name="T4" fmla="*/ 24 w 188"/>
                <a:gd name="T5" fmla="*/ 57 h 57"/>
                <a:gd name="T6" fmla="*/ 164 w 188"/>
                <a:gd name="T7" fmla="*/ 57 h 57"/>
                <a:gd name="T8" fmla="*/ 188 w 188"/>
                <a:gd name="T9" fmla="*/ 32 h 57"/>
                <a:gd name="T10" fmla="*/ 188 w 188"/>
                <a:gd name="T11" fmla="*/ 24 h 57"/>
                <a:gd name="T12" fmla="*/ 164 w 188"/>
                <a:gd name="T13" fmla="*/ 0 h 57"/>
                <a:gd name="T14" fmla="*/ 24 w 188"/>
                <a:gd name="T15" fmla="*/ 0 h 57"/>
                <a:gd name="T16" fmla="*/ 0 w 188"/>
                <a:gd name="T17" fmla="*/ 2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57">
                  <a:moveTo>
                    <a:pt x="0" y="24"/>
                  </a:moveTo>
                  <a:cubicBezTo>
                    <a:pt x="0" y="32"/>
                    <a:pt x="0" y="32"/>
                    <a:pt x="0" y="32"/>
                  </a:cubicBezTo>
                  <a:cubicBezTo>
                    <a:pt x="0" y="46"/>
                    <a:pt x="11" y="57"/>
                    <a:pt x="24" y="57"/>
                  </a:cubicBezTo>
                  <a:cubicBezTo>
                    <a:pt x="164" y="57"/>
                    <a:pt x="164" y="57"/>
                    <a:pt x="164" y="57"/>
                  </a:cubicBezTo>
                  <a:cubicBezTo>
                    <a:pt x="177" y="57"/>
                    <a:pt x="188" y="46"/>
                    <a:pt x="188" y="32"/>
                  </a:cubicBezTo>
                  <a:cubicBezTo>
                    <a:pt x="188" y="24"/>
                    <a:pt x="188" y="24"/>
                    <a:pt x="188" y="24"/>
                  </a:cubicBezTo>
                  <a:cubicBezTo>
                    <a:pt x="188" y="11"/>
                    <a:pt x="177" y="0"/>
                    <a:pt x="164" y="0"/>
                  </a:cubicBezTo>
                  <a:cubicBezTo>
                    <a:pt x="24" y="0"/>
                    <a:pt x="24" y="0"/>
                    <a:pt x="24" y="0"/>
                  </a:cubicBezTo>
                  <a:cubicBezTo>
                    <a:pt x="11" y="0"/>
                    <a:pt x="0" y="11"/>
                    <a:pt x="0" y="24"/>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32" name="Freeform 38"/>
            <p:cNvSpPr>
              <a:spLocks noEditPoints="1"/>
            </p:cNvSpPr>
            <p:nvPr userDrawn="1"/>
          </p:nvSpPr>
          <p:spPr bwMode="auto">
            <a:xfrm>
              <a:off x="4267" y="2807"/>
              <a:ext cx="703" cy="870"/>
            </a:xfrm>
            <a:custGeom>
              <a:avLst/>
              <a:gdLst>
                <a:gd name="T0" fmla="*/ 71 w 398"/>
                <a:gd name="T1" fmla="*/ 219 h 492"/>
                <a:gd name="T2" fmla="*/ 0 w 398"/>
                <a:gd name="T3" fmla="*/ 280 h 492"/>
                <a:gd name="T4" fmla="*/ 0 w 398"/>
                <a:gd name="T5" fmla="*/ 281 h 492"/>
                <a:gd name="T6" fmla="*/ 0 w 398"/>
                <a:gd name="T7" fmla="*/ 282 h 492"/>
                <a:gd name="T8" fmla="*/ 13 w 398"/>
                <a:gd name="T9" fmla="*/ 300 h 492"/>
                <a:gd name="T10" fmla="*/ 13 w 398"/>
                <a:gd name="T11" fmla="*/ 301 h 492"/>
                <a:gd name="T12" fmla="*/ 14 w 398"/>
                <a:gd name="T13" fmla="*/ 301 h 492"/>
                <a:gd name="T14" fmla="*/ 16 w 398"/>
                <a:gd name="T15" fmla="*/ 301 h 492"/>
                <a:gd name="T16" fmla="*/ 17 w 398"/>
                <a:gd name="T17" fmla="*/ 302 h 492"/>
                <a:gd name="T18" fmla="*/ 18 w 398"/>
                <a:gd name="T19" fmla="*/ 302 h 492"/>
                <a:gd name="T20" fmla="*/ 19 w 398"/>
                <a:gd name="T21" fmla="*/ 303 h 492"/>
                <a:gd name="T22" fmla="*/ 20 w 398"/>
                <a:gd name="T23" fmla="*/ 303 h 492"/>
                <a:gd name="T24" fmla="*/ 21 w 398"/>
                <a:gd name="T25" fmla="*/ 303 h 492"/>
                <a:gd name="T26" fmla="*/ 23 w 398"/>
                <a:gd name="T27" fmla="*/ 303 h 492"/>
                <a:gd name="T28" fmla="*/ 25 w 398"/>
                <a:gd name="T29" fmla="*/ 303 h 492"/>
                <a:gd name="T30" fmla="*/ 70 w 398"/>
                <a:gd name="T31" fmla="*/ 341 h 492"/>
                <a:gd name="T32" fmla="*/ 70 w 398"/>
                <a:gd name="T33" fmla="*/ 343 h 492"/>
                <a:gd name="T34" fmla="*/ 70 w 398"/>
                <a:gd name="T35" fmla="*/ 344 h 492"/>
                <a:gd name="T36" fmla="*/ 70 w 398"/>
                <a:gd name="T37" fmla="*/ 345 h 492"/>
                <a:gd name="T38" fmla="*/ 70 w 398"/>
                <a:gd name="T39" fmla="*/ 346 h 492"/>
                <a:gd name="T40" fmla="*/ 71 w 398"/>
                <a:gd name="T41" fmla="*/ 347 h 492"/>
                <a:gd name="T42" fmla="*/ 71 w 398"/>
                <a:gd name="T43" fmla="*/ 348 h 492"/>
                <a:gd name="T44" fmla="*/ 71 w 398"/>
                <a:gd name="T45" fmla="*/ 350 h 492"/>
                <a:gd name="T46" fmla="*/ 72 w 398"/>
                <a:gd name="T47" fmla="*/ 351 h 492"/>
                <a:gd name="T48" fmla="*/ 72 w 398"/>
                <a:gd name="T49" fmla="*/ 352 h 492"/>
                <a:gd name="T50" fmla="*/ 73 w 398"/>
                <a:gd name="T51" fmla="*/ 353 h 492"/>
                <a:gd name="T52" fmla="*/ 73 w 398"/>
                <a:gd name="T53" fmla="*/ 354 h 492"/>
                <a:gd name="T54" fmla="*/ 74 w 398"/>
                <a:gd name="T55" fmla="*/ 355 h 492"/>
                <a:gd name="T56" fmla="*/ 75 w 398"/>
                <a:gd name="T57" fmla="*/ 356 h 492"/>
                <a:gd name="T58" fmla="*/ 75 w 398"/>
                <a:gd name="T59" fmla="*/ 357 h 492"/>
                <a:gd name="T60" fmla="*/ 76 w 398"/>
                <a:gd name="T61" fmla="*/ 358 h 492"/>
                <a:gd name="T62" fmla="*/ 77 w 398"/>
                <a:gd name="T63" fmla="*/ 358 h 492"/>
                <a:gd name="T64" fmla="*/ 78 w 398"/>
                <a:gd name="T65" fmla="*/ 359 h 492"/>
                <a:gd name="T66" fmla="*/ 79 w 398"/>
                <a:gd name="T67" fmla="*/ 360 h 492"/>
                <a:gd name="T68" fmla="*/ 79 w 398"/>
                <a:gd name="T69" fmla="*/ 361 h 492"/>
                <a:gd name="T70" fmla="*/ 80 w 398"/>
                <a:gd name="T71" fmla="*/ 361 h 492"/>
                <a:gd name="T72" fmla="*/ 81 w 398"/>
                <a:gd name="T73" fmla="*/ 362 h 492"/>
                <a:gd name="T74" fmla="*/ 82 w 398"/>
                <a:gd name="T75" fmla="*/ 363 h 492"/>
                <a:gd name="T76" fmla="*/ 83 w 398"/>
                <a:gd name="T77" fmla="*/ 363 h 492"/>
                <a:gd name="T78" fmla="*/ 85 w 398"/>
                <a:gd name="T79" fmla="*/ 364 h 492"/>
                <a:gd name="T80" fmla="*/ 86 w 398"/>
                <a:gd name="T81" fmla="*/ 364 h 492"/>
                <a:gd name="T82" fmla="*/ 87 w 398"/>
                <a:gd name="T83" fmla="*/ 364 h 492"/>
                <a:gd name="T84" fmla="*/ 88 w 398"/>
                <a:gd name="T85" fmla="*/ 365 h 492"/>
                <a:gd name="T86" fmla="*/ 89 w 398"/>
                <a:gd name="T87" fmla="*/ 365 h 492"/>
                <a:gd name="T88" fmla="*/ 90 w 398"/>
                <a:gd name="T89" fmla="*/ 365 h 492"/>
                <a:gd name="T90" fmla="*/ 91 w 398"/>
                <a:gd name="T91" fmla="*/ 365 h 492"/>
                <a:gd name="T92" fmla="*/ 93 w 398"/>
                <a:gd name="T93" fmla="*/ 365 h 492"/>
                <a:gd name="T94" fmla="*/ 106 w 398"/>
                <a:gd name="T95" fmla="*/ 366 h 492"/>
                <a:gd name="T96" fmla="*/ 140 w 398"/>
                <a:gd name="T97" fmla="*/ 467 h 492"/>
                <a:gd name="T98" fmla="*/ 262 w 398"/>
                <a:gd name="T99" fmla="*/ 464 h 492"/>
                <a:gd name="T100" fmla="*/ 198 w 398"/>
                <a:gd name="T101" fmla="*/ 211 h 492"/>
                <a:gd name="T102" fmla="*/ 397 w 398"/>
                <a:gd name="T103" fmla="*/ 154 h 492"/>
                <a:gd name="T104" fmla="*/ 360 w 398"/>
                <a:gd name="T105" fmla="*/ 0 h 492"/>
                <a:gd name="T106" fmla="*/ 267 w 398"/>
                <a:gd name="T107" fmla="*/ 59 h 492"/>
                <a:gd name="T108" fmla="*/ 70 w 398"/>
                <a:gd name="T109" fmla="*/ 341 h 492"/>
                <a:gd name="T110" fmla="*/ 0 w 398"/>
                <a:gd name="T111" fmla="*/ 279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8" h="492">
                  <a:moveTo>
                    <a:pt x="207" y="121"/>
                  </a:moveTo>
                  <a:cubicBezTo>
                    <a:pt x="207" y="121"/>
                    <a:pt x="207" y="121"/>
                    <a:pt x="207" y="121"/>
                  </a:cubicBezTo>
                  <a:cubicBezTo>
                    <a:pt x="71" y="121"/>
                    <a:pt x="71" y="121"/>
                    <a:pt x="71" y="121"/>
                  </a:cubicBezTo>
                  <a:cubicBezTo>
                    <a:pt x="71" y="219"/>
                    <a:pt x="71" y="219"/>
                    <a:pt x="71" y="219"/>
                  </a:cubicBezTo>
                  <a:cubicBezTo>
                    <a:pt x="71" y="232"/>
                    <a:pt x="60" y="243"/>
                    <a:pt x="47" y="243"/>
                  </a:cubicBezTo>
                  <a:cubicBezTo>
                    <a:pt x="0" y="243"/>
                    <a:pt x="0" y="243"/>
                    <a:pt x="0" y="243"/>
                  </a:cubicBezTo>
                  <a:cubicBezTo>
                    <a:pt x="0" y="279"/>
                    <a:pt x="0" y="279"/>
                    <a:pt x="0" y="279"/>
                  </a:cubicBezTo>
                  <a:cubicBezTo>
                    <a:pt x="0" y="280"/>
                    <a:pt x="0" y="280"/>
                    <a:pt x="0" y="280"/>
                  </a:cubicBezTo>
                  <a:cubicBezTo>
                    <a:pt x="0" y="280"/>
                    <a:pt x="0" y="280"/>
                    <a:pt x="0" y="280"/>
                  </a:cubicBezTo>
                  <a:cubicBezTo>
                    <a:pt x="0" y="280"/>
                    <a:pt x="0" y="280"/>
                    <a:pt x="0" y="280"/>
                  </a:cubicBezTo>
                  <a:cubicBezTo>
                    <a:pt x="0" y="280"/>
                    <a:pt x="0" y="280"/>
                    <a:pt x="0" y="280"/>
                  </a:cubicBezTo>
                  <a:cubicBezTo>
                    <a:pt x="0" y="281"/>
                    <a:pt x="0" y="281"/>
                    <a:pt x="0" y="281"/>
                  </a:cubicBezTo>
                  <a:cubicBezTo>
                    <a:pt x="0" y="281"/>
                    <a:pt x="0" y="281"/>
                    <a:pt x="0" y="281"/>
                  </a:cubicBezTo>
                  <a:cubicBezTo>
                    <a:pt x="0" y="281"/>
                    <a:pt x="0" y="281"/>
                    <a:pt x="0" y="281"/>
                  </a:cubicBezTo>
                  <a:cubicBezTo>
                    <a:pt x="0" y="281"/>
                    <a:pt x="0" y="281"/>
                    <a:pt x="0" y="281"/>
                  </a:cubicBezTo>
                  <a:cubicBezTo>
                    <a:pt x="0" y="282"/>
                    <a:pt x="0" y="282"/>
                    <a:pt x="0" y="282"/>
                  </a:cubicBezTo>
                  <a:cubicBezTo>
                    <a:pt x="0" y="282"/>
                    <a:pt x="0" y="282"/>
                    <a:pt x="0" y="282"/>
                  </a:cubicBezTo>
                  <a:cubicBezTo>
                    <a:pt x="0" y="283"/>
                    <a:pt x="0" y="283"/>
                    <a:pt x="0" y="283"/>
                  </a:cubicBezTo>
                  <a:cubicBezTo>
                    <a:pt x="0" y="283"/>
                    <a:pt x="0" y="283"/>
                    <a:pt x="0" y="283"/>
                  </a:cubicBezTo>
                  <a:cubicBezTo>
                    <a:pt x="2" y="290"/>
                    <a:pt x="6" y="296"/>
                    <a:pt x="13" y="300"/>
                  </a:cubicBezTo>
                  <a:cubicBezTo>
                    <a:pt x="13" y="300"/>
                    <a:pt x="13" y="300"/>
                    <a:pt x="13" y="300"/>
                  </a:cubicBezTo>
                  <a:cubicBezTo>
                    <a:pt x="13" y="300"/>
                    <a:pt x="13" y="300"/>
                    <a:pt x="13" y="300"/>
                  </a:cubicBezTo>
                  <a:cubicBezTo>
                    <a:pt x="13" y="301"/>
                    <a:pt x="13" y="301"/>
                    <a:pt x="13" y="301"/>
                  </a:cubicBezTo>
                  <a:cubicBezTo>
                    <a:pt x="13" y="301"/>
                    <a:pt x="13" y="301"/>
                    <a:pt x="13" y="301"/>
                  </a:cubicBezTo>
                  <a:cubicBezTo>
                    <a:pt x="14" y="301"/>
                    <a:pt x="14" y="301"/>
                    <a:pt x="14" y="301"/>
                  </a:cubicBezTo>
                  <a:cubicBezTo>
                    <a:pt x="14" y="301"/>
                    <a:pt x="14" y="301"/>
                    <a:pt x="14" y="301"/>
                  </a:cubicBezTo>
                  <a:cubicBezTo>
                    <a:pt x="14" y="301"/>
                    <a:pt x="14" y="301"/>
                    <a:pt x="14" y="301"/>
                  </a:cubicBezTo>
                  <a:cubicBezTo>
                    <a:pt x="14" y="301"/>
                    <a:pt x="14" y="301"/>
                    <a:pt x="14" y="301"/>
                  </a:cubicBezTo>
                  <a:cubicBezTo>
                    <a:pt x="15" y="301"/>
                    <a:pt x="15" y="301"/>
                    <a:pt x="15" y="301"/>
                  </a:cubicBezTo>
                  <a:cubicBezTo>
                    <a:pt x="15" y="301"/>
                    <a:pt x="15" y="301"/>
                    <a:pt x="15" y="301"/>
                  </a:cubicBezTo>
                  <a:cubicBezTo>
                    <a:pt x="16" y="301"/>
                    <a:pt x="16" y="301"/>
                    <a:pt x="16" y="301"/>
                  </a:cubicBezTo>
                  <a:cubicBezTo>
                    <a:pt x="16" y="301"/>
                    <a:pt x="16" y="301"/>
                    <a:pt x="16" y="301"/>
                  </a:cubicBezTo>
                  <a:cubicBezTo>
                    <a:pt x="16" y="302"/>
                    <a:pt x="16" y="302"/>
                    <a:pt x="16" y="302"/>
                  </a:cubicBezTo>
                  <a:cubicBezTo>
                    <a:pt x="16" y="302"/>
                    <a:pt x="16" y="302"/>
                    <a:pt x="16" y="302"/>
                  </a:cubicBezTo>
                  <a:cubicBezTo>
                    <a:pt x="17" y="302"/>
                    <a:pt x="17" y="302"/>
                    <a:pt x="17" y="302"/>
                  </a:cubicBezTo>
                  <a:cubicBezTo>
                    <a:pt x="17" y="302"/>
                    <a:pt x="17" y="302"/>
                    <a:pt x="17" y="302"/>
                  </a:cubicBezTo>
                  <a:cubicBezTo>
                    <a:pt x="17" y="302"/>
                    <a:pt x="17" y="302"/>
                    <a:pt x="17" y="302"/>
                  </a:cubicBezTo>
                  <a:cubicBezTo>
                    <a:pt x="17" y="302"/>
                    <a:pt x="17" y="302"/>
                    <a:pt x="18" y="302"/>
                  </a:cubicBezTo>
                  <a:cubicBezTo>
                    <a:pt x="18" y="302"/>
                    <a:pt x="18" y="302"/>
                    <a:pt x="18" y="302"/>
                  </a:cubicBezTo>
                  <a:cubicBezTo>
                    <a:pt x="18" y="302"/>
                    <a:pt x="18" y="302"/>
                    <a:pt x="18" y="302"/>
                  </a:cubicBezTo>
                  <a:cubicBezTo>
                    <a:pt x="18" y="302"/>
                    <a:pt x="18" y="302"/>
                    <a:pt x="18" y="302"/>
                  </a:cubicBezTo>
                  <a:cubicBezTo>
                    <a:pt x="18" y="302"/>
                    <a:pt x="18" y="302"/>
                    <a:pt x="18" y="302"/>
                  </a:cubicBezTo>
                  <a:cubicBezTo>
                    <a:pt x="19" y="303"/>
                    <a:pt x="19" y="303"/>
                    <a:pt x="19" y="303"/>
                  </a:cubicBezTo>
                  <a:cubicBezTo>
                    <a:pt x="19" y="303"/>
                    <a:pt x="19" y="303"/>
                    <a:pt x="19" y="303"/>
                  </a:cubicBezTo>
                  <a:cubicBezTo>
                    <a:pt x="20" y="303"/>
                    <a:pt x="20" y="303"/>
                    <a:pt x="20" y="303"/>
                  </a:cubicBezTo>
                  <a:cubicBezTo>
                    <a:pt x="20" y="303"/>
                    <a:pt x="20" y="303"/>
                    <a:pt x="20" y="303"/>
                  </a:cubicBezTo>
                  <a:cubicBezTo>
                    <a:pt x="20" y="303"/>
                    <a:pt x="20" y="303"/>
                    <a:pt x="20" y="303"/>
                  </a:cubicBezTo>
                  <a:cubicBezTo>
                    <a:pt x="20" y="303"/>
                    <a:pt x="20" y="303"/>
                    <a:pt x="20" y="303"/>
                  </a:cubicBezTo>
                  <a:cubicBezTo>
                    <a:pt x="20" y="303"/>
                    <a:pt x="20" y="303"/>
                    <a:pt x="20" y="303"/>
                  </a:cubicBezTo>
                  <a:cubicBezTo>
                    <a:pt x="21" y="303"/>
                    <a:pt x="21" y="303"/>
                    <a:pt x="21" y="303"/>
                  </a:cubicBezTo>
                  <a:cubicBezTo>
                    <a:pt x="21" y="303"/>
                    <a:pt x="21" y="303"/>
                    <a:pt x="21" y="303"/>
                  </a:cubicBezTo>
                  <a:cubicBezTo>
                    <a:pt x="21" y="303"/>
                    <a:pt x="21" y="303"/>
                    <a:pt x="21" y="303"/>
                  </a:cubicBezTo>
                  <a:cubicBezTo>
                    <a:pt x="22" y="303"/>
                    <a:pt x="22" y="303"/>
                    <a:pt x="22" y="303"/>
                  </a:cubicBezTo>
                  <a:cubicBezTo>
                    <a:pt x="22" y="303"/>
                    <a:pt x="22" y="303"/>
                    <a:pt x="22" y="303"/>
                  </a:cubicBezTo>
                  <a:cubicBezTo>
                    <a:pt x="23" y="303"/>
                    <a:pt x="23" y="303"/>
                    <a:pt x="23" y="303"/>
                  </a:cubicBezTo>
                  <a:cubicBezTo>
                    <a:pt x="23" y="303"/>
                    <a:pt x="23" y="303"/>
                    <a:pt x="23" y="303"/>
                  </a:cubicBezTo>
                  <a:cubicBezTo>
                    <a:pt x="23" y="303"/>
                    <a:pt x="23" y="303"/>
                    <a:pt x="23" y="303"/>
                  </a:cubicBezTo>
                  <a:cubicBezTo>
                    <a:pt x="23" y="303"/>
                    <a:pt x="23" y="303"/>
                    <a:pt x="23" y="303"/>
                  </a:cubicBezTo>
                  <a:cubicBezTo>
                    <a:pt x="23" y="303"/>
                    <a:pt x="23" y="303"/>
                    <a:pt x="23" y="303"/>
                  </a:cubicBezTo>
                  <a:cubicBezTo>
                    <a:pt x="24" y="303"/>
                    <a:pt x="24" y="303"/>
                    <a:pt x="25" y="303"/>
                  </a:cubicBezTo>
                  <a:cubicBezTo>
                    <a:pt x="33" y="303"/>
                    <a:pt x="33" y="303"/>
                    <a:pt x="33" y="303"/>
                  </a:cubicBezTo>
                  <a:cubicBezTo>
                    <a:pt x="36" y="303"/>
                    <a:pt x="36" y="303"/>
                    <a:pt x="36" y="303"/>
                  </a:cubicBezTo>
                  <a:cubicBezTo>
                    <a:pt x="54" y="303"/>
                    <a:pt x="70" y="318"/>
                    <a:pt x="70" y="337"/>
                  </a:cubicBezTo>
                  <a:cubicBezTo>
                    <a:pt x="70" y="341"/>
                    <a:pt x="70" y="341"/>
                    <a:pt x="70" y="341"/>
                  </a:cubicBezTo>
                  <a:cubicBezTo>
                    <a:pt x="70" y="342"/>
                    <a:pt x="70" y="342"/>
                    <a:pt x="70" y="342"/>
                  </a:cubicBezTo>
                  <a:cubicBezTo>
                    <a:pt x="70" y="342"/>
                    <a:pt x="70" y="342"/>
                    <a:pt x="70" y="342"/>
                  </a:cubicBezTo>
                  <a:cubicBezTo>
                    <a:pt x="70" y="343"/>
                    <a:pt x="70" y="343"/>
                    <a:pt x="70" y="343"/>
                  </a:cubicBezTo>
                  <a:cubicBezTo>
                    <a:pt x="70" y="343"/>
                    <a:pt x="70" y="343"/>
                    <a:pt x="70" y="343"/>
                  </a:cubicBezTo>
                  <a:cubicBezTo>
                    <a:pt x="70" y="343"/>
                    <a:pt x="70" y="343"/>
                    <a:pt x="70" y="343"/>
                  </a:cubicBezTo>
                  <a:cubicBezTo>
                    <a:pt x="70" y="343"/>
                    <a:pt x="70" y="343"/>
                    <a:pt x="70" y="343"/>
                  </a:cubicBezTo>
                  <a:cubicBezTo>
                    <a:pt x="70" y="344"/>
                    <a:pt x="70" y="344"/>
                    <a:pt x="70" y="344"/>
                  </a:cubicBezTo>
                  <a:cubicBezTo>
                    <a:pt x="70" y="344"/>
                    <a:pt x="70" y="344"/>
                    <a:pt x="70" y="344"/>
                  </a:cubicBezTo>
                  <a:cubicBezTo>
                    <a:pt x="70" y="344"/>
                    <a:pt x="70" y="344"/>
                    <a:pt x="70" y="344"/>
                  </a:cubicBezTo>
                  <a:cubicBezTo>
                    <a:pt x="70" y="344"/>
                    <a:pt x="70" y="344"/>
                    <a:pt x="70" y="344"/>
                  </a:cubicBezTo>
                  <a:cubicBezTo>
                    <a:pt x="70" y="345"/>
                    <a:pt x="70" y="345"/>
                    <a:pt x="70" y="345"/>
                  </a:cubicBezTo>
                  <a:cubicBezTo>
                    <a:pt x="70" y="345"/>
                    <a:pt x="70" y="345"/>
                    <a:pt x="70" y="345"/>
                  </a:cubicBezTo>
                  <a:cubicBezTo>
                    <a:pt x="70" y="346"/>
                    <a:pt x="70" y="346"/>
                    <a:pt x="70" y="346"/>
                  </a:cubicBezTo>
                  <a:cubicBezTo>
                    <a:pt x="70" y="346"/>
                    <a:pt x="70" y="346"/>
                    <a:pt x="70" y="346"/>
                  </a:cubicBezTo>
                  <a:cubicBezTo>
                    <a:pt x="70" y="346"/>
                    <a:pt x="70" y="346"/>
                    <a:pt x="70" y="346"/>
                  </a:cubicBezTo>
                  <a:cubicBezTo>
                    <a:pt x="70" y="346"/>
                    <a:pt x="70" y="346"/>
                    <a:pt x="70" y="346"/>
                  </a:cubicBezTo>
                  <a:cubicBezTo>
                    <a:pt x="70" y="347"/>
                    <a:pt x="70" y="347"/>
                    <a:pt x="70" y="347"/>
                  </a:cubicBezTo>
                  <a:cubicBezTo>
                    <a:pt x="70" y="347"/>
                    <a:pt x="70" y="347"/>
                    <a:pt x="70" y="347"/>
                  </a:cubicBezTo>
                  <a:cubicBezTo>
                    <a:pt x="71" y="347"/>
                    <a:pt x="71" y="347"/>
                    <a:pt x="71" y="347"/>
                  </a:cubicBezTo>
                  <a:cubicBezTo>
                    <a:pt x="71" y="347"/>
                    <a:pt x="71" y="347"/>
                    <a:pt x="71" y="347"/>
                  </a:cubicBezTo>
                  <a:cubicBezTo>
                    <a:pt x="71" y="348"/>
                    <a:pt x="71" y="348"/>
                    <a:pt x="71" y="348"/>
                  </a:cubicBezTo>
                  <a:cubicBezTo>
                    <a:pt x="71" y="348"/>
                    <a:pt x="71" y="348"/>
                    <a:pt x="71" y="348"/>
                  </a:cubicBezTo>
                  <a:cubicBezTo>
                    <a:pt x="71" y="348"/>
                    <a:pt x="71" y="348"/>
                    <a:pt x="71" y="348"/>
                  </a:cubicBezTo>
                  <a:cubicBezTo>
                    <a:pt x="71" y="348"/>
                    <a:pt x="71" y="348"/>
                    <a:pt x="71" y="348"/>
                  </a:cubicBezTo>
                  <a:cubicBezTo>
                    <a:pt x="71" y="349"/>
                    <a:pt x="71" y="349"/>
                    <a:pt x="71" y="349"/>
                  </a:cubicBezTo>
                  <a:cubicBezTo>
                    <a:pt x="71" y="349"/>
                    <a:pt x="71" y="349"/>
                    <a:pt x="71" y="349"/>
                  </a:cubicBezTo>
                  <a:cubicBezTo>
                    <a:pt x="71" y="350"/>
                    <a:pt x="71" y="350"/>
                    <a:pt x="71" y="350"/>
                  </a:cubicBezTo>
                  <a:cubicBezTo>
                    <a:pt x="71" y="350"/>
                    <a:pt x="71" y="350"/>
                    <a:pt x="71" y="350"/>
                  </a:cubicBezTo>
                  <a:cubicBezTo>
                    <a:pt x="71" y="350"/>
                    <a:pt x="71" y="350"/>
                    <a:pt x="71" y="350"/>
                  </a:cubicBezTo>
                  <a:cubicBezTo>
                    <a:pt x="71" y="350"/>
                    <a:pt x="71" y="350"/>
                    <a:pt x="71" y="350"/>
                  </a:cubicBezTo>
                  <a:cubicBezTo>
                    <a:pt x="72" y="351"/>
                    <a:pt x="72" y="351"/>
                    <a:pt x="72" y="351"/>
                  </a:cubicBezTo>
                  <a:cubicBezTo>
                    <a:pt x="72" y="351"/>
                    <a:pt x="72" y="351"/>
                    <a:pt x="72" y="351"/>
                  </a:cubicBezTo>
                  <a:cubicBezTo>
                    <a:pt x="72" y="351"/>
                    <a:pt x="72" y="351"/>
                    <a:pt x="72" y="351"/>
                  </a:cubicBezTo>
                  <a:cubicBezTo>
                    <a:pt x="72" y="351"/>
                    <a:pt x="72" y="351"/>
                    <a:pt x="72" y="351"/>
                  </a:cubicBezTo>
                  <a:cubicBezTo>
                    <a:pt x="72" y="352"/>
                    <a:pt x="72" y="352"/>
                    <a:pt x="72" y="352"/>
                  </a:cubicBezTo>
                  <a:cubicBezTo>
                    <a:pt x="72" y="352"/>
                    <a:pt x="72" y="352"/>
                    <a:pt x="72" y="352"/>
                  </a:cubicBezTo>
                  <a:cubicBezTo>
                    <a:pt x="72" y="352"/>
                    <a:pt x="72" y="352"/>
                    <a:pt x="72" y="352"/>
                  </a:cubicBezTo>
                  <a:cubicBezTo>
                    <a:pt x="72" y="352"/>
                    <a:pt x="72" y="352"/>
                    <a:pt x="72" y="352"/>
                  </a:cubicBezTo>
                  <a:cubicBezTo>
                    <a:pt x="72" y="352"/>
                    <a:pt x="73" y="353"/>
                    <a:pt x="73" y="353"/>
                  </a:cubicBezTo>
                  <a:cubicBezTo>
                    <a:pt x="73" y="353"/>
                    <a:pt x="73" y="353"/>
                    <a:pt x="73" y="353"/>
                  </a:cubicBezTo>
                  <a:cubicBezTo>
                    <a:pt x="73" y="353"/>
                    <a:pt x="73" y="353"/>
                    <a:pt x="73" y="353"/>
                  </a:cubicBezTo>
                  <a:cubicBezTo>
                    <a:pt x="73" y="353"/>
                    <a:pt x="73" y="353"/>
                    <a:pt x="73" y="353"/>
                  </a:cubicBezTo>
                  <a:cubicBezTo>
                    <a:pt x="73" y="353"/>
                    <a:pt x="73" y="354"/>
                    <a:pt x="73" y="354"/>
                  </a:cubicBezTo>
                  <a:cubicBezTo>
                    <a:pt x="73" y="354"/>
                    <a:pt x="73" y="354"/>
                    <a:pt x="73" y="354"/>
                  </a:cubicBezTo>
                  <a:cubicBezTo>
                    <a:pt x="74" y="354"/>
                    <a:pt x="74" y="354"/>
                    <a:pt x="74" y="354"/>
                  </a:cubicBezTo>
                  <a:cubicBezTo>
                    <a:pt x="74" y="354"/>
                    <a:pt x="74" y="354"/>
                    <a:pt x="74" y="354"/>
                  </a:cubicBezTo>
                  <a:cubicBezTo>
                    <a:pt x="74" y="355"/>
                    <a:pt x="74" y="355"/>
                    <a:pt x="74" y="355"/>
                  </a:cubicBezTo>
                  <a:cubicBezTo>
                    <a:pt x="74" y="355"/>
                    <a:pt x="74" y="355"/>
                    <a:pt x="74" y="355"/>
                  </a:cubicBezTo>
                  <a:cubicBezTo>
                    <a:pt x="74" y="355"/>
                    <a:pt x="74" y="355"/>
                    <a:pt x="74" y="355"/>
                  </a:cubicBezTo>
                  <a:cubicBezTo>
                    <a:pt x="74" y="355"/>
                    <a:pt x="74" y="355"/>
                    <a:pt x="74" y="355"/>
                  </a:cubicBezTo>
                  <a:cubicBezTo>
                    <a:pt x="75" y="356"/>
                    <a:pt x="75" y="356"/>
                    <a:pt x="75" y="356"/>
                  </a:cubicBezTo>
                  <a:cubicBezTo>
                    <a:pt x="75" y="356"/>
                    <a:pt x="75" y="356"/>
                    <a:pt x="75" y="356"/>
                  </a:cubicBezTo>
                  <a:cubicBezTo>
                    <a:pt x="75" y="356"/>
                    <a:pt x="75" y="356"/>
                    <a:pt x="75" y="356"/>
                  </a:cubicBezTo>
                  <a:cubicBezTo>
                    <a:pt x="75" y="356"/>
                    <a:pt x="75" y="356"/>
                    <a:pt x="75" y="356"/>
                  </a:cubicBezTo>
                  <a:cubicBezTo>
                    <a:pt x="75" y="356"/>
                    <a:pt x="75" y="357"/>
                    <a:pt x="75" y="357"/>
                  </a:cubicBezTo>
                  <a:cubicBezTo>
                    <a:pt x="75" y="357"/>
                    <a:pt x="75" y="357"/>
                    <a:pt x="75" y="357"/>
                  </a:cubicBezTo>
                  <a:cubicBezTo>
                    <a:pt x="76" y="357"/>
                    <a:pt x="76" y="357"/>
                    <a:pt x="76" y="357"/>
                  </a:cubicBezTo>
                  <a:cubicBezTo>
                    <a:pt x="76" y="357"/>
                    <a:pt x="76" y="357"/>
                    <a:pt x="76" y="357"/>
                  </a:cubicBezTo>
                  <a:cubicBezTo>
                    <a:pt x="76" y="358"/>
                    <a:pt x="76" y="358"/>
                    <a:pt x="76" y="358"/>
                  </a:cubicBezTo>
                  <a:cubicBezTo>
                    <a:pt x="76" y="358"/>
                    <a:pt x="76" y="358"/>
                    <a:pt x="76" y="358"/>
                  </a:cubicBezTo>
                  <a:cubicBezTo>
                    <a:pt x="76" y="358"/>
                    <a:pt x="76" y="358"/>
                    <a:pt x="76" y="358"/>
                  </a:cubicBezTo>
                  <a:cubicBezTo>
                    <a:pt x="76" y="358"/>
                    <a:pt x="76" y="358"/>
                    <a:pt x="76" y="358"/>
                  </a:cubicBezTo>
                  <a:cubicBezTo>
                    <a:pt x="77" y="358"/>
                    <a:pt x="77" y="358"/>
                    <a:pt x="77" y="358"/>
                  </a:cubicBezTo>
                  <a:cubicBezTo>
                    <a:pt x="77" y="358"/>
                    <a:pt x="77" y="358"/>
                    <a:pt x="77" y="358"/>
                  </a:cubicBezTo>
                  <a:cubicBezTo>
                    <a:pt x="77" y="359"/>
                    <a:pt x="77" y="359"/>
                    <a:pt x="77" y="359"/>
                  </a:cubicBezTo>
                  <a:cubicBezTo>
                    <a:pt x="77" y="359"/>
                    <a:pt x="77" y="359"/>
                    <a:pt x="77" y="359"/>
                  </a:cubicBezTo>
                  <a:cubicBezTo>
                    <a:pt x="78" y="359"/>
                    <a:pt x="78" y="359"/>
                    <a:pt x="78" y="359"/>
                  </a:cubicBezTo>
                  <a:cubicBezTo>
                    <a:pt x="78" y="359"/>
                    <a:pt x="78" y="359"/>
                    <a:pt x="78" y="359"/>
                  </a:cubicBezTo>
                  <a:cubicBezTo>
                    <a:pt x="78" y="360"/>
                    <a:pt x="78" y="360"/>
                    <a:pt x="78" y="360"/>
                  </a:cubicBezTo>
                  <a:cubicBezTo>
                    <a:pt x="78" y="360"/>
                    <a:pt x="78" y="360"/>
                    <a:pt x="78" y="360"/>
                  </a:cubicBezTo>
                  <a:cubicBezTo>
                    <a:pt x="79" y="360"/>
                    <a:pt x="79" y="360"/>
                    <a:pt x="79" y="360"/>
                  </a:cubicBezTo>
                  <a:cubicBezTo>
                    <a:pt x="79" y="360"/>
                    <a:pt x="79" y="360"/>
                    <a:pt x="79" y="360"/>
                  </a:cubicBezTo>
                  <a:cubicBezTo>
                    <a:pt x="79" y="360"/>
                    <a:pt x="79" y="360"/>
                    <a:pt x="79" y="360"/>
                  </a:cubicBezTo>
                  <a:cubicBezTo>
                    <a:pt x="79" y="360"/>
                    <a:pt x="79" y="360"/>
                    <a:pt x="79" y="360"/>
                  </a:cubicBezTo>
                  <a:cubicBezTo>
                    <a:pt x="79" y="360"/>
                    <a:pt x="79" y="361"/>
                    <a:pt x="79" y="361"/>
                  </a:cubicBezTo>
                  <a:cubicBezTo>
                    <a:pt x="79" y="361"/>
                    <a:pt x="79" y="361"/>
                    <a:pt x="79" y="361"/>
                  </a:cubicBezTo>
                  <a:cubicBezTo>
                    <a:pt x="80" y="361"/>
                    <a:pt x="80" y="361"/>
                    <a:pt x="80" y="361"/>
                  </a:cubicBezTo>
                  <a:cubicBezTo>
                    <a:pt x="80" y="361"/>
                    <a:pt x="80" y="361"/>
                    <a:pt x="80" y="361"/>
                  </a:cubicBezTo>
                  <a:cubicBezTo>
                    <a:pt x="80" y="361"/>
                    <a:pt x="80" y="361"/>
                    <a:pt x="80" y="361"/>
                  </a:cubicBezTo>
                  <a:cubicBezTo>
                    <a:pt x="80" y="361"/>
                    <a:pt x="80" y="361"/>
                    <a:pt x="80" y="361"/>
                  </a:cubicBezTo>
                  <a:cubicBezTo>
                    <a:pt x="81" y="362"/>
                    <a:pt x="81" y="362"/>
                    <a:pt x="81" y="362"/>
                  </a:cubicBezTo>
                  <a:cubicBezTo>
                    <a:pt x="81" y="362"/>
                    <a:pt x="81" y="362"/>
                    <a:pt x="81" y="362"/>
                  </a:cubicBezTo>
                  <a:cubicBezTo>
                    <a:pt x="81" y="362"/>
                    <a:pt x="81" y="362"/>
                    <a:pt x="81" y="362"/>
                  </a:cubicBezTo>
                  <a:cubicBezTo>
                    <a:pt x="81" y="362"/>
                    <a:pt x="81" y="362"/>
                    <a:pt x="81" y="362"/>
                  </a:cubicBezTo>
                  <a:cubicBezTo>
                    <a:pt x="82" y="362"/>
                    <a:pt x="82" y="362"/>
                    <a:pt x="82" y="362"/>
                  </a:cubicBezTo>
                  <a:cubicBezTo>
                    <a:pt x="82" y="362"/>
                    <a:pt x="82" y="362"/>
                    <a:pt x="82" y="362"/>
                  </a:cubicBezTo>
                  <a:cubicBezTo>
                    <a:pt x="82" y="363"/>
                    <a:pt x="82" y="363"/>
                    <a:pt x="82" y="363"/>
                  </a:cubicBezTo>
                  <a:cubicBezTo>
                    <a:pt x="82" y="363"/>
                    <a:pt x="82" y="363"/>
                    <a:pt x="82" y="363"/>
                  </a:cubicBezTo>
                  <a:cubicBezTo>
                    <a:pt x="83" y="363"/>
                    <a:pt x="83" y="363"/>
                    <a:pt x="83" y="363"/>
                  </a:cubicBezTo>
                  <a:cubicBezTo>
                    <a:pt x="83" y="363"/>
                    <a:pt x="83" y="363"/>
                    <a:pt x="83" y="363"/>
                  </a:cubicBezTo>
                  <a:cubicBezTo>
                    <a:pt x="83" y="363"/>
                    <a:pt x="83" y="363"/>
                    <a:pt x="83" y="363"/>
                  </a:cubicBezTo>
                  <a:cubicBezTo>
                    <a:pt x="83" y="363"/>
                    <a:pt x="83" y="363"/>
                    <a:pt x="83" y="363"/>
                  </a:cubicBezTo>
                  <a:cubicBezTo>
                    <a:pt x="84" y="363"/>
                    <a:pt x="84" y="363"/>
                    <a:pt x="84" y="363"/>
                  </a:cubicBezTo>
                  <a:cubicBezTo>
                    <a:pt x="84" y="363"/>
                    <a:pt x="84" y="363"/>
                    <a:pt x="84" y="363"/>
                  </a:cubicBezTo>
                  <a:cubicBezTo>
                    <a:pt x="84" y="363"/>
                    <a:pt x="84" y="364"/>
                    <a:pt x="85" y="364"/>
                  </a:cubicBezTo>
                  <a:cubicBezTo>
                    <a:pt x="85" y="364"/>
                    <a:pt x="85" y="364"/>
                    <a:pt x="85" y="364"/>
                  </a:cubicBezTo>
                  <a:cubicBezTo>
                    <a:pt x="85" y="364"/>
                    <a:pt x="85" y="364"/>
                    <a:pt x="85" y="364"/>
                  </a:cubicBezTo>
                  <a:cubicBezTo>
                    <a:pt x="85" y="364"/>
                    <a:pt x="85" y="364"/>
                    <a:pt x="85" y="364"/>
                  </a:cubicBezTo>
                  <a:cubicBezTo>
                    <a:pt x="86" y="364"/>
                    <a:pt x="86" y="364"/>
                    <a:pt x="86" y="364"/>
                  </a:cubicBezTo>
                  <a:cubicBezTo>
                    <a:pt x="86" y="364"/>
                    <a:pt x="86" y="364"/>
                    <a:pt x="86" y="364"/>
                  </a:cubicBezTo>
                  <a:cubicBezTo>
                    <a:pt x="86" y="364"/>
                    <a:pt x="86" y="364"/>
                    <a:pt x="86" y="364"/>
                  </a:cubicBezTo>
                  <a:cubicBezTo>
                    <a:pt x="86" y="364"/>
                    <a:pt x="86" y="364"/>
                    <a:pt x="86" y="364"/>
                  </a:cubicBezTo>
                  <a:cubicBezTo>
                    <a:pt x="87" y="364"/>
                    <a:pt x="87" y="364"/>
                    <a:pt x="87" y="364"/>
                  </a:cubicBezTo>
                  <a:cubicBezTo>
                    <a:pt x="87" y="364"/>
                    <a:pt x="87" y="364"/>
                    <a:pt x="87" y="364"/>
                  </a:cubicBezTo>
                  <a:cubicBezTo>
                    <a:pt x="87" y="365"/>
                    <a:pt x="87" y="365"/>
                    <a:pt x="87" y="365"/>
                  </a:cubicBezTo>
                  <a:cubicBezTo>
                    <a:pt x="87" y="365"/>
                    <a:pt x="87" y="365"/>
                    <a:pt x="87" y="365"/>
                  </a:cubicBezTo>
                  <a:cubicBezTo>
                    <a:pt x="88" y="365"/>
                    <a:pt x="88" y="365"/>
                    <a:pt x="88" y="365"/>
                  </a:cubicBezTo>
                  <a:cubicBezTo>
                    <a:pt x="88" y="365"/>
                    <a:pt x="88" y="365"/>
                    <a:pt x="88" y="365"/>
                  </a:cubicBezTo>
                  <a:cubicBezTo>
                    <a:pt x="88" y="365"/>
                    <a:pt x="88" y="365"/>
                    <a:pt x="88" y="365"/>
                  </a:cubicBezTo>
                  <a:cubicBezTo>
                    <a:pt x="88" y="365"/>
                    <a:pt x="88" y="365"/>
                    <a:pt x="88" y="365"/>
                  </a:cubicBezTo>
                  <a:cubicBezTo>
                    <a:pt x="89" y="365"/>
                    <a:pt x="89" y="365"/>
                    <a:pt x="89" y="365"/>
                  </a:cubicBezTo>
                  <a:cubicBezTo>
                    <a:pt x="89" y="365"/>
                    <a:pt x="89" y="365"/>
                    <a:pt x="89" y="365"/>
                  </a:cubicBezTo>
                  <a:cubicBezTo>
                    <a:pt x="89" y="365"/>
                    <a:pt x="89" y="365"/>
                    <a:pt x="90" y="365"/>
                  </a:cubicBezTo>
                  <a:cubicBezTo>
                    <a:pt x="90" y="365"/>
                    <a:pt x="90" y="365"/>
                    <a:pt x="90" y="365"/>
                  </a:cubicBezTo>
                  <a:cubicBezTo>
                    <a:pt x="90" y="365"/>
                    <a:pt x="90" y="365"/>
                    <a:pt x="90" y="365"/>
                  </a:cubicBezTo>
                  <a:cubicBezTo>
                    <a:pt x="90" y="365"/>
                    <a:pt x="90" y="365"/>
                    <a:pt x="90" y="365"/>
                  </a:cubicBezTo>
                  <a:cubicBezTo>
                    <a:pt x="91" y="365"/>
                    <a:pt x="91" y="365"/>
                    <a:pt x="91" y="365"/>
                  </a:cubicBezTo>
                  <a:cubicBezTo>
                    <a:pt x="91" y="365"/>
                    <a:pt x="91" y="365"/>
                    <a:pt x="91" y="365"/>
                  </a:cubicBezTo>
                  <a:cubicBezTo>
                    <a:pt x="91" y="365"/>
                    <a:pt x="91" y="365"/>
                    <a:pt x="91" y="365"/>
                  </a:cubicBezTo>
                  <a:cubicBezTo>
                    <a:pt x="91" y="365"/>
                    <a:pt x="91" y="365"/>
                    <a:pt x="91" y="365"/>
                  </a:cubicBezTo>
                  <a:cubicBezTo>
                    <a:pt x="92" y="365"/>
                    <a:pt x="92" y="365"/>
                    <a:pt x="92" y="365"/>
                  </a:cubicBezTo>
                  <a:cubicBezTo>
                    <a:pt x="92" y="365"/>
                    <a:pt x="92" y="365"/>
                    <a:pt x="92" y="365"/>
                  </a:cubicBezTo>
                  <a:cubicBezTo>
                    <a:pt x="93" y="365"/>
                    <a:pt x="93" y="365"/>
                    <a:pt x="93" y="365"/>
                  </a:cubicBezTo>
                  <a:cubicBezTo>
                    <a:pt x="93" y="365"/>
                    <a:pt x="93" y="365"/>
                    <a:pt x="93" y="365"/>
                  </a:cubicBezTo>
                  <a:cubicBezTo>
                    <a:pt x="93" y="365"/>
                    <a:pt x="93" y="365"/>
                    <a:pt x="93" y="365"/>
                  </a:cubicBezTo>
                  <a:cubicBezTo>
                    <a:pt x="93" y="365"/>
                    <a:pt x="94" y="366"/>
                    <a:pt x="94" y="366"/>
                  </a:cubicBezTo>
                  <a:cubicBezTo>
                    <a:pt x="100" y="366"/>
                    <a:pt x="100" y="366"/>
                    <a:pt x="100" y="366"/>
                  </a:cubicBezTo>
                  <a:cubicBezTo>
                    <a:pt x="106" y="366"/>
                    <a:pt x="106" y="366"/>
                    <a:pt x="106" y="366"/>
                  </a:cubicBezTo>
                  <a:cubicBezTo>
                    <a:pt x="124" y="366"/>
                    <a:pt x="140" y="381"/>
                    <a:pt x="140" y="400"/>
                  </a:cubicBezTo>
                  <a:cubicBezTo>
                    <a:pt x="140" y="426"/>
                    <a:pt x="140" y="426"/>
                    <a:pt x="140" y="426"/>
                  </a:cubicBezTo>
                  <a:cubicBezTo>
                    <a:pt x="140" y="466"/>
                    <a:pt x="140" y="466"/>
                    <a:pt x="140" y="466"/>
                  </a:cubicBezTo>
                  <a:cubicBezTo>
                    <a:pt x="140" y="467"/>
                    <a:pt x="140" y="467"/>
                    <a:pt x="140" y="467"/>
                  </a:cubicBezTo>
                  <a:cubicBezTo>
                    <a:pt x="140" y="481"/>
                    <a:pt x="151" y="492"/>
                    <a:pt x="164" y="492"/>
                  </a:cubicBezTo>
                  <a:cubicBezTo>
                    <a:pt x="237" y="492"/>
                    <a:pt x="237" y="492"/>
                    <a:pt x="237" y="492"/>
                  </a:cubicBezTo>
                  <a:cubicBezTo>
                    <a:pt x="251" y="492"/>
                    <a:pt x="262" y="481"/>
                    <a:pt x="262" y="467"/>
                  </a:cubicBezTo>
                  <a:cubicBezTo>
                    <a:pt x="262" y="464"/>
                    <a:pt x="262" y="464"/>
                    <a:pt x="262" y="464"/>
                  </a:cubicBezTo>
                  <a:cubicBezTo>
                    <a:pt x="262" y="252"/>
                    <a:pt x="262" y="252"/>
                    <a:pt x="262" y="252"/>
                  </a:cubicBezTo>
                  <a:cubicBezTo>
                    <a:pt x="262" y="243"/>
                    <a:pt x="258" y="235"/>
                    <a:pt x="241" y="235"/>
                  </a:cubicBezTo>
                  <a:cubicBezTo>
                    <a:pt x="223" y="235"/>
                    <a:pt x="223" y="235"/>
                    <a:pt x="223" y="235"/>
                  </a:cubicBezTo>
                  <a:cubicBezTo>
                    <a:pt x="209" y="235"/>
                    <a:pt x="198" y="224"/>
                    <a:pt x="198" y="211"/>
                  </a:cubicBezTo>
                  <a:cubicBezTo>
                    <a:pt x="198" y="202"/>
                    <a:pt x="198" y="202"/>
                    <a:pt x="198" y="202"/>
                  </a:cubicBezTo>
                  <a:cubicBezTo>
                    <a:pt x="198" y="189"/>
                    <a:pt x="209" y="178"/>
                    <a:pt x="223" y="178"/>
                  </a:cubicBezTo>
                  <a:cubicBezTo>
                    <a:pt x="273" y="178"/>
                    <a:pt x="323" y="178"/>
                    <a:pt x="373" y="178"/>
                  </a:cubicBezTo>
                  <a:cubicBezTo>
                    <a:pt x="387" y="178"/>
                    <a:pt x="397" y="167"/>
                    <a:pt x="397" y="154"/>
                  </a:cubicBezTo>
                  <a:cubicBezTo>
                    <a:pt x="397" y="88"/>
                    <a:pt x="397" y="88"/>
                    <a:pt x="397" y="88"/>
                  </a:cubicBezTo>
                  <a:cubicBezTo>
                    <a:pt x="397" y="86"/>
                    <a:pt x="398" y="85"/>
                    <a:pt x="397" y="85"/>
                  </a:cubicBezTo>
                  <a:cubicBezTo>
                    <a:pt x="397" y="0"/>
                    <a:pt x="397" y="0"/>
                    <a:pt x="397" y="0"/>
                  </a:cubicBezTo>
                  <a:cubicBezTo>
                    <a:pt x="360" y="0"/>
                    <a:pt x="360" y="0"/>
                    <a:pt x="360" y="0"/>
                  </a:cubicBezTo>
                  <a:cubicBezTo>
                    <a:pt x="350" y="0"/>
                    <a:pt x="340" y="7"/>
                    <a:pt x="337" y="17"/>
                  </a:cubicBezTo>
                  <a:cubicBezTo>
                    <a:pt x="337" y="35"/>
                    <a:pt x="337" y="35"/>
                    <a:pt x="337" y="35"/>
                  </a:cubicBezTo>
                  <a:cubicBezTo>
                    <a:pt x="337" y="48"/>
                    <a:pt x="326" y="59"/>
                    <a:pt x="313" y="59"/>
                  </a:cubicBezTo>
                  <a:cubicBezTo>
                    <a:pt x="267" y="59"/>
                    <a:pt x="267" y="59"/>
                    <a:pt x="267" y="59"/>
                  </a:cubicBezTo>
                  <a:cubicBezTo>
                    <a:pt x="267" y="97"/>
                    <a:pt x="267" y="97"/>
                    <a:pt x="267" y="97"/>
                  </a:cubicBezTo>
                  <a:cubicBezTo>
                    <a:pt x="267" y="110"/>
                    <a:pt x="256" y="121"/>
                    <a:pt x="243" y="121"/>
                  </a:cubicBezTo>
                  <a:cubicBezTo>
                    <a:pt x="207" y="121"/>
                    <a:pt x="207" y="121"/>
                    <a:pt x="207" y="121"/>
                  </a:cubicBezTo>
                  <a:close/>
                  <a:moveTo>
                    <a:pt x="70" y="341"/>
                  </a:moveTo>
                  <a:cubicBezTo>
                    <a:pt x="70" y="341"/>
                    <a:pt x="70" y="341"/>
                    <a:pt x="70" y="341"/>
                  </a:cubicBezTo>
                  <a:cubicBezTo>
                    <a:pt x="70" y="341"/>
                    <a:pt x="70" y="341"/>
                    <a:pt x="70" y="341"/>
                  </a:cubicBezTo>
                  <a:close/>
                  <a:moveTo>
                    <a:pt x="0" y="279"/>
                  </a:moveTo>
                  <a:cubicBezTo>
                    <a:pt x="0" y="279"/>
                    <a:pt x="0" y="279"/>
                    <a:pt x="0" y="279"/>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33" name="Freeform 39"/>
            <p:cNvSpPr>
              <a:spLocks/>
            </p:cNvSpPr>
            <p:nvPr userDrawn="1"/>
          </p:nvSpPr>
          <p:spPr bwMode="auto">
            <a:xfrm>
              <a:off x="4977" y="2910"/>
              <a:ext cx="503" cy="756"/>
            </a:xfrm>
            <a:custGeom>
              <a:avLst/>
              <a:gdLst>
                <a:gd name="T0" fmla="*/ 158 w 285"/>
                <a:gd name="T1" fmla="*/ 428 h 428"/>
                <a:gd name="T2" fmla="*/ 285 w 285"/>
                <a:gd name="T3" fmla="*/ 428 h 428"/>
                <a:gd name="T4" fmla="*/ 285 w 285"/>
                <a:gd name="T5" fmla="*/ 0 h 428"/>
                <a:gd name="T6" fmla="*/ 229 w 285"/>
                <a:gd name="T7" fmla="*/ 0 h 428"/>
                <a:gd name="T8" fmla="*/ 200 w 285"/>
                <a:gd name="T9" fmla="*/ 29 h 428"/>
                <a:gd name="T10" fmla="*/ 200 w 285"/>
                <a:gd name="T11" fmla="*/ 64 h 428"/>
                <a:gd name="T12" fmla="*/ 99 w 285"/>
                <a:gd name="T13" fmla="*/ 64 h 428"/>
                <a:gd name="T14" fmla="*/ 69 w 285"/>
                <a:gd name="T15" fmla="*/ 94 h 428"/>
                <a:gd name="T16" fmla="*/ 69 w 285"/>
                <a:gd name="T17" fmla="*/ 120 h 428"/>
                <a:gd name="T18" fmla="*/ 30 w 285"/>
                <a:gd name="T19" fmla="*/ 120 h 428"/>
                <a:gd name="T20" fmla="*/ 0 w 285"/>
                <a:gd name="T21" fmla="*/ 149 h 428"/>
                <a:gd name="T22" fmla="*/ 0 w 285"/>
                <a:gd name="T23" fmla="*/ 278 h 428"/>
                <a:gd name="T24" fmla="*/ 30 w 285"/>
                <a:gd name="T25" fmla="*/ 308 h 428"/>
                <a:gd name="T26" fmla="*/ 52 w 285"/>
                <a:gd name="T27" fmla="*/ 308 h 428"/>
                <a:gd name="T28" fmla="*/ 69 w 285"/>
                <a:gd name="T29" fmla="*/ 326 h 428"/>
                <a:gd name="T30" fmla="*/ 69 w 285"/>
                <a:gd name="T31" fmla="*/ 339 h 428"/>
                <a:gd name="T32" fmla="*/ 99 w 285"/>
                <a:gd name="T33" fmla="*/ 368 h 428"/>
                <a:gd name="T34" fmla="*/ 133 w 285"/>
                <a:gd name="T35" fmla="*/ 368 h 428"/>
                <a:gd name="T36" fmla="*/ 133 w 285"/>
                <a:gd name="T37" fmla="*/ 404 h 428"/>
                <a:gd name="T38" fmla="*/ 158 w 285"/>
                <a:gd name="T39" fmla="*/ 428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5" h="428">
                  <a:moveTo>
                    <a:pt x="158" y="428"/>
                  </a:moveTo>
                  <a:cubicBezTo>
                    <a:pt x="285" y="428"/>
                    <a:pt x="285" y="428"/>
                    <a:pt x="285" y="428"/>
                  </a:cubicBezTo>
                  <a:cubicBezTo>
                    <a:pt x="285" y="0"/>
                    <a:pt x="285" y="0"/>
                    <a:pt x="285" y="0"/>
                  </a:cubicBezTo>
                  <a:cubicBezTo>
                    <a:pt x="229" y="0"/>
                    <a:pt x="229" y="0"/>
                    <a:pt x="229" y="0"/>
                  </a:cubicBezTo>
                  <a:cubicBezTo>
                    <a:pt x="213" y="0"/>
                    <a:pt x="200" y="13"/>
                    <a:pt x="200" y="29"/>
                  </a:cubicBezTo>
                  <a:cubicBezTo>
                    <a:pt x="200" y="64"/>
                    <a:pt x="200" y="64"/>
                    <a:pt x="200" y="64"/>
                  </a:cubicBezTo>
                  <a:cubicBezTo>
                    <a:pt x="99" y="64"/>
                    <a:pt x="99" y="64"/>
                    <a:pt x="99" y="64"/>
                  </a:cubicBezTo>
                  <a:cubicBezTo>
                    <a:pt x="83" y="64"/>
                    <a:pt x="69" y="78"/>
                    <a:pt x="69" y="94"/>
                  </a:cubicBezTo>
                  <a:cubicBezTo>
                    <a:pt x="69" y="120"/>
                    <a:pt x="69" y="120"/>
                    <a:pt x="69" y="120"/>
                  </a:cubicBezTo>
                  <a:cubicBezTo>
                    <a:pt x="30" y="120"/>
                    <a:pt x="30" y="120"/>
                    <a:pt x="30" y="120"/>
                  </a:cubicBezTo>
                  <a:cubicBezTo>
                    <a:pt x="14" y="120"/>
                    <a:pt x="0" y="133"/>
                    <a:pt x="0" y="149"/>
                  </a:cubicBezTo>
                  <a:cubicBezTo>
                    <a:pt x="0" y="278"/>
                    <a:pt x="0" y="278"/>
                    <a:pt x="0" y="278"/>
                  </a:cubicBezTo>
                  <a:cubicBezTo>
                    <a:pt x="0" y="295"/>
                    <a:pt x="14" y="308"/>
                    <a:pt x="30" y="308"/>
                  </a:cubicBezTo>
                  <a:cubicBezTo>
                    <a:pt x="52" y="308"/>
                    <a:pt x="52" y="308"/>
                    <a:pt x="52" y="308"/>
                  </a:cubicBezTo>
                  <a:cubicBezTo>
                    <a:pt x="63" y="309"/>
                    <a:pt x="70" y="317"/>
                    <a:pt x="69" y="326"/>
                  </a:cubicBezTo>
                  <a:cubicBezTo>
                    <a:pt x="69" y="339"/>
                    <a:pt x="69" y="339"/>
                    <a:pt x="69" y="339"/>
                  </a:cubicBezTo>
                  <a:cubicBezTo>
                    <a:pt x="69" y="355"/>
                    <a:pt x="83" y="368"/>
                    <a:pt x="99" y="368"/>
                  </a:cubicBezTo>
                  <a:cubicBezTo>
                    <a:pt x="133" y="368"/>
                    <a:pt x="133" y="368"/>
                    <a:pt x="133" y="368"/>
                  </a:cubicBezTo>
                  <a:cubicBezTo>
                    <a:pt x="133" y="404"/>
                    <a:pt x="133" y="404"/>
                    <a:pt x="133" y="404"/>
                  </a:cubicBezTo>
                  <a:cubicBezTo>
                    <a:pt x="133" y="418"/>
                    <a:pt x="144" y="428"/>
                    <a:pt x="158" y="428"/>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34" name="Freeform 42"/>
            <p:cNvSpPr>
              <a:spLocks/>
            </p:cNvSpPr>
            <p:nvPr userDrawn="1"/>
          </p:nvSpPr>
          <p:spPr bwMode="auto">
            <a:xfrm>
              <a:off x="4529" y="2604"/>
              <a:ext cx="734" cy="417"/>
            </a:xfrm>
            <a:custGeom>
              <a:avLst/>
              <a:gdLst>
                <a:gd name="T0" fmla="*/ 0 w 416"/>
                <a:gd name="T1" fmla="*/ 87 h 236"/>
                <a:gd name="T2" fmla="*/ 0 w 416"/>
                <a:gd name="T3" fmla="*/ 236 h 236"/>
                <a:gd name="T4" fmla="*/ 59 w 416"/>
                <a:gd name="T5" fmla="*/ 236 h 236"/>
                <a:gd name="T6" fmla="*/ 59 w 416"/>
                <a:gd name="T7" fmla="*/ 236 h 236"/>
                <a:gd name="T8" fmla="*/ 95 w 416"/>
                <a:gd name="T9" fmla="*/ 236 h 236"/>
                <a:gd name="T10" fmla="*/ 119 w 416"/>
                <a:gd name="T11" fmla="*/ 212 h 236"/>
                <a:gd name="T12" fmla="*/ 119 w 416"/>
                <a:gd name="T13" fmla="*/ 174 h 236"/>
                <a:gd name="T14" fmla="*/ 165 w 416"/>
                <a:gd name="T15" fmla="*/ 174 h 236"/>
                <a:gd name="T16" fmla="*/ 189 w 416"/>
                <a:gd name="T17" fmla="*/ 150 h 236"/>
                <a:gd name="T18" fmla="*/ 189 w 416"/>
                <a:gd name="T19" fmla="*/ 135 h 236"/>
                <a:gd name="T20" fmla="*/ 212 w 416"/>
                <a:gd name="T21" fmla="*/ 117 h 236"/>
                <a:gd name="T22" fmla="*/ 416 w 416"/>
                <a:gd name="T23" fmla="*/ 117 h 236"/>
                <a:gd name="T24" fmla="*/ 416 w 416"/>
                <a:gd name="T25" fmla="*/ 117 h 236"/>
                <a:gd name="T26" fmla="*/ 412 w 416"/>
                <a:gd name="T27" fmla="*/ 117 h 236"/>
                <a:gd name="T28" fmla="*/ 388 w 416"/>
                <a:gd name="T29" fmla="*/ 92 h 236"/>
                <a:gd name="T30" fmla="*/ 388 w 416"/>
                <a:gd name="T31" fmla="*/ 0 h 236"/>
                <a:gd name="T32" fmla="*/ 383 w 416"/>
                <a:gd name="T33" fmla="*/ 0 h 236"/>
                <a:gd name="T34" fmla="*/ 243 w 416"/>
                <a:gd name="T35" fmla="*/ 0 h 236"/>
                <a:gd name="T36" fmla="*/ 222 w 416"/>
                <a:gd name="T37" fmla="*/ 0 h 236"/>
                <a:gd name="T38" fmla="*/ 174 w 416"/>
                <a:gd name="T39" fmla="*/ 0 h 236"/>
                <a:gd name="T40" fmla="*/ 144 w 416"/>
                <a:gd name="T41" fmla="*/ 27 h 236"/>
                <a:gd name="T42" fmla="*/ 110 w 416"/>
                <a:gd name="T43" fmla="*/ 58 h 236"/>
                <a:gd name="T44" fmla="*/ 30 w 416"/>
                <a:gd name="T45" fmla="*/ 58 h 236"/>
                <a:gd name="T46" fmla="*/ 0 w 416"/>
                <a:gd name="T47" fmla="*/ 8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6" h="236">
                  <a:moveTo>
                    <a:pt x="0" y="87"/>
                  </a:moveTo>
                  <a:cubicBezTo>
                    <a:pt x="0" y="236"/>
                    <a:pt x="0" y="236"/>
                    <a:pt x="0" y="236"/>
                  </a:cubicBezTo>
                  <a:cubicBezTo>
                    <a:pt x="59" y="236"/>
                    <a:pt x="59" y="236"/>
                    <a:pt x="59" y="236"/>
                  </a:cubicBezTo>
                  <a:cubicBezTo>
                    <a:pt x="59" y="236"/>
                    <a:pt x="59" y="236"/>
                    <a:pt x="59" y="236"/>
                  </a:cubicBezTo>
                  <a:cubicBezTo>
                    <a:pt x="95" y="236"/>
                    <a:pt x="95" y="236"/>
                    <a:pt x="95" y="236"/>
                  </a:cubicBezTo>
                  <a:cubicBezTo>
                    <a:pt x="108" y="236"/>
                    <a:pt x="119" y="225"/>
                    <a:pt x="119" y="212"/>
                  </a:cubicBezTo>
                  <a:cubicBezTo>
                    <a:pt x="119" y="174"/>
                    <a:pt x="119" y="174"/>
                    <a:pt x="119" y="174"/>
                  </a:cubicBezTo>
                  <a:cubicBezTo>
                    <a:pt x="165" y="174"/>
                    <a:pt x="165" y="174"/>
                    <a:pt x="165" y="174"/>
                  </a:cubicBezTo>
                  <a:cubicBezTo>
                    <a:pt x="178" y="174"/>
                    <a:pt x="189" y="163"/>
                    <a:pt x="189" y="150"/>
                  </a:cubicBezTo>
                  <a:cubicBezTo>
                    <a:pt x="189" y="135"/>
                    <a:pt x="189" y="135"/>
                    <a:pt x="189" y="135"/>
                  </a:cubicBezTo>
                  <a:cubicBezTo>
                    <a:pt x="192" y="125"/>
                    <a:pt x="202" y="117"/>
                    <a:pt x="212" y="117"/>
                  </a:cubicBezTo>
                  <a:cubicBezTo>
                    <a:pt x="282" y="117"/>
                    <a:pt x="216" y="117"/>
                    <a:pt x="416" y="117"/>
                  </a:cubicBezTo>
                  <a:cubicBezTo>
                    <a:pt x="416" y="117"/>
                    <a:pt x="416" y="117"/>
                    <a:pt x="416" y="117"/>
                  </a:cubicBezTo>
                  <a:cubicBezTo>
                    <a:pt x="412" y="117"/>
                    <a:pt x="412" y="117"/>
                    <a:pt x="412" y="117"/>
                  </a:cubicBezTo>
                  <a:cubicBezTo>
                    <a:pt x="399" y="117"/>
                    <a:pt x="388" y="106"/>
                    <a:pt x="388" y="92"/>
                  </a:cubicBezTo>
                  <a:cubicBezTo>
                    <a:pt x="388" y="0"/>
                    <a:pt x="388" y="0"/>
                    <a:pt x="388" y="0"/>
                  </a:cubicBezTo>
                  <a:cubicBezTo>
                    <a:pt x="386" y="0"/>
                    <a:pt x="385" y="0"/>
                    <a:pt x="383" y="0"/>
                  </a:cubicBezTo>
                  <a:cubicBezTo>
                    <a:pt x="243" y="0"/>
                    <a:pt x="243" y="0"/>
                    <a:pt x="243" y="0"/>
                  </a:cubicBezTo>
                  <a:cubicBezTo>
                    <a:pt x="222" y="0"/>
                    <a:pt x="222" y="0"/>
                    <a:pt x="222" y="0"/>
                  </a:cubicBezTo>
                  <a:cubicBezTo>
                    <a:pt x="174" y="0"/>
                    <a:pt x="174" y="0"/>
                    <a:pt x="174" y="0"/>
                  </a:cubicBezTo>
                  <a:cubicBezTo>
                    <a:pt x="158" y="0"/>
                    <a:pt x="146" y="12"/>
                    <a:pt x="144" y="27"/>
                  </a:cubicBezTo>
                  <a:cubicBezTo>
                    <a:pt x="143" y="44"/>
                    <a:pt x="128" y="58"/>
                    <a:pt x="110" y="58"/>
                  </a:cubicBezTo>
                  <a:cubicBezTo>
                    <a:pt x="30" y="58"/>
                    <a:pt x="30" y="58"/>
                    <a:pt x="30" y="58"/>
                  </a:cubicBezTo>
                  <a:cubicBezTo>
                    <a:pt x="14" y="58"/>
                    <a:pt x="0" y="71"/>
                    <a:pt x="0" y="87"/>
                  </a:cubicBezTo>
                  <a:close/>
                </a:path>
              </a:pathLst>
            </a:custGeom>
            <a:solidFill>
              <a:schemeClr val="accent3"/>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35" name="Freeform 43"/>
            <p:cNvSpPr>
              <a:spLocks noEditPoints="1"/>
            </p:cNvSpPr>
            <p:nvPr userDrawn="1"/>
          </p:nvSpPr>
          <p:spPr bwMode="auto">
            <a:xfrm>
              <a:off x="4414" y="2041"/>
              <a:ext cx="1061" cy="876"/>
            </a:xfrm>
            <a:custGeom>
              <a:avLst/>
              <a:gdLst>
                <a:gd name="T0" fmla="*/ 58 w 601"/>
                <a:gd name="T1" fmla="*/ 496 h 496"/>
                <a:gd name="T2" fmla="*/ 65 w 601"/>
                <a:gd name="T3" fmla="*/ 406 h 496"/>
                <a:gd name="T4" fmla="*/ 209 w 601"/>
                <a:gd name="T5" fmla="*/ 346 h 496"/>
                <a:gd name="T6" fmla="*/ 308 w 601"/>
                <a:gd name="T7" fmla="*/ 319 h 496"/>
                <a:gd name="T8" fmla="*/ 453 w 601"/>
                <a:gd name="T9" fmla="*/ 259 h 496"/>
                <a:gd name="T10" fmla="*/ 486 w 601"/>
                <a:gd name="T11" fmla="*/ 235 h 496"/>
                <a:gd name="T12" fmla="*/ 532 w 601"/>
                <a:gd name="T13" fmla="*/ 179 h 496"/>
                <a:gd name="T14" fmla="*/ 601 w 601"/>
                <a:gd name="T15" fmla="*/ 45 h 496"/>
                <a:gd name="T16" fmla="*/ 537 w 601"/>
                <a:gd name="T17" fmla="*/ 45 h 496"/>
                <a:gd name="T18" fmla="*/ 536 w 601"/>
                <a:gd name="T19" fmla="*/ 45 h 496"/>
                <a:gd name="T20" fmla="*/ 535 w 601"/>
                <a:gd name="T21" fmla="*/ 45 h 496"/>
                <a:gd name="T22" fmla="*/ 534 w 601"/>
                <a:gd name="T23" fmla="*/ 45 h 496"/>
                <a:gd name="T24" fmla="*/ 533 w 601"/>
                <a:gd name="T25" fmla="*/ 45 h 496"/>
                <a:gd name="T26" fmla="*/ 532 w 601"/>
                <a:gd name="T27" fmla="*/ 44 h 496"/>
                <a:gd name="T28" fmla="*/ 531 w 601"/>
                <a:gd name="T29" fmla="*/ 44 h 496"/>
                <a:gd name="T30" fmla="*/ 530 w 601"/>
                <a:gd name="T31" fmla="*/ 44 h 496"/>
                <a:gd name="T32" fmla="*/ 530 w 601"/>
                <a:gd name="T33" fmla="*/ 44 h 496"/>
                <a:gd name="T34" fmla="*/ 529 w 601"/>
                <a:gd name="T35" fmla="*/ 43 h 496"/>
                <a:gd name="T36" fmla="*/ 528 w 601"/>
                <a:gd name="T37" fmla="*/ 43 h 496"/>
                <a:gd name="T38" fmla="*/ 527 w 601"/>
                <a:gd name="T39" fmla="*/ 43 h 496"/>
                <a:gd name="T40" fmla="*/ 526 w 601"/>
                <a:gd name="T41" fmla="*/ 42 h 496"/>
                <a:gd name="T42" fmla="*/ 525 w 601"/>
                <a:gd name="T43" fmla="*/ 42 h 496"/>
                <a:gd name="T44" fmla="*/ 525 w 601"/>
                <a:gd name="T45" fmla="*/ 42 h 496"/>
                <a:gd name="T46" fmla="*/ 524 w 601"/>
                <a:gd name="T47" fmla="*/ 41 h 496"/>
                <a:gd name="T48" fmla="*/ 523 w 601"/>
                <a:gd name="T49" fmla="*/ 41 h 496"/>
                <a:gd name="T50" fmla="*/ 522 w 601"/>
                <a:gd name="T51" fmla="*/ 40 h 496"/>
                <a:gd name="T52" fmla="*/ 522 w 601"/>
                <a:gd name="T53" fmla="*/ 40 h 496"/>
                <a:gd name="T54" fmla="*/ 521 w 601"/>
                <a:gd name="T55" fmla="*/ 39 h 496"/>
                <a:gd name="T56" fmla="*/ 521 w 601"/>
                <a:gd name="T57" fmla="*/ 39 h 496"/>
                <a:gd name="T58" fmla="*/ 520 w 601"/>
                <a:gd name="T59" fmla="*/ 38 h 496"/>
                <a:gd name="T60" fmla="*/ 519 w 601"/>
                <a:gd name="T61" fmla="*/ 37 h 496"/>
                <a:gd name="T62" fmla="*/ 519 w 601"/>
                <a:gd name="T63" fmla="*/ 36 h 496"/>
                <a:gd name="T64" fmla="*/ 518 w 601"/>
                <a:gd name="T65" fmla="*/ 36 h 496"/>
                <a:gd name="T66" fmla="*/ 517 w 601"/>
                <a:gd name="T67" fmla="*/ 35 h 496"/>
                <a:gd name="T68" fmla="*/ 517 w 601"/>
                <a:gd name="T69" fmla="*/ 35 h 496"/>
                <a:gd name="T70" fmla="*/ 516 w 601"/>
                <a:gd name="T71" fmla="*/ 34 h 496"/>
                <a:gd name="T72" fmla="*/ 516 w 601"/>
                <a:gd name="T73" fmla="*/ 33 h 496"/>
                <a:gd name="T74" fmla="*/ 516 w 601"/>
                <a:gd name="T75" fmla="*/ 32 h 496"/>
                <a:gd name="T76" fmla="*/ 515 w 601"/>
                <a:gd name="T77" fmla="*/ 32 h 496"/>
                <a:gd name="T78" fmla="*/ 515 w 601"/>
                <a:gd name="T79" fmla="*/ 31 h 496"/>
                <a:gd name="T80" fmla="*/ 515 w 601"/>
                <a:gd name="T81" fmla="*/ 30 h 496"/>
                <a:gd name="T82" fmla="*/ 514 w 601"/>
                <a:gd name="T83" fmla="*/ 29 h 496"/>
                <a:gd name="T84" fmla="*/ 514 w 601"/>
                <a:gd name="T85" fmla="*/ 28 h 496"/>
                <a:gd name="T86" fmla="*/ 514 w 601"/>
                <a:gd name="T87" fmla="*/ 27 h 496"/>
                <a:gd name="T88" fmla="*/ 513 w 601"/>
                <a:gd name="T89" fmla="*/ 27 h 496"/>
                <a:gd name="T90" fmla="*/ 513 w 601"/>
                <a:gd name="T91" fmla="*/ 25 h 496"/>
                <a:gd name="T92" fmla="*/ 513 w 601"/>
                <a:gd name="T93" fmla="*/ 25 h 496"/>
                <a:gd name="T94" fmla="*/ 513 w 601"/>
                <a:gd name="T95" fmla="*/ 24 h 496"/>
                <a:gd name="T96" fmla="*/ 513 w 601"/>
                <a:gd name="T97" fmla="*/ 23 h 496"/>
                <a:gd name="T98" fmla="*/ 513 w 601"/>
                <a:gd name="T99" fmla="*/ 22 h 496"/>
                <a:gd name="T100" fmla="*/ 513 w 601"/>
                <a:gd name="T101" fmla="*/ 21 h 496"/>
                <a:gd name="T102" fmla="*/ 513 w 601"/>
                <a:gd name="T103" fmla="*/ 0 h 496"/>
                <a:gd name="T104" fmla="*/ 144 w 601"/>
                <a:gd name="T105" fmla="*/ 0 h 496"/>
                <a:gd name="T106" fmla="*/ 29 w 601"/>
                <a:gd name="T107" fmla="*/ 58 h 496"/>
                <a:gd name="T108" fmla="*/ 513 w 601"/>
                <a:gd name="T109" fmla="*/ 21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01" h="496">
                  <a:moveTo>
                    <a:pt x="0" y="88"/>
                  </a:moveTo>
                  <a:cubicBezTo>
                    <a:pt x="0" y="496"/>
                    <a:pt x="0" y="496"/>
                    <a:pt x="0" y="496"/>
                  </a:cubicBezTo>
                  <a:cubicBezTo>
                    <a:pt x="58" y="496"/>
                    <a:pt x="58" y="496"/>
                    <a:pt x="58" y="496"/>
                  </a:cubicBezTo>
                  <a:cubicBezTo>
                    <a:pt x="58" y="496"/>
                    <a:pt x="58" y="496"/>
                    <a:pt x="58" y="496"/>
                  </a:cubicBezTo>
                  <a:cubicBezTo>
                    <a:pt x="65" y="496"/>
                    <a:pt x="65" y="496"/>
                    <a:pt x="65" y="496"/>
                  </a:cubicBezTo>
                  <a:cubicBezTo>
                    <a:pt x="65" y="406"/>
                    <a:pt x="65" y="406"/>
                    <a:pt x="65" y="406"/>
                  </a:cubicBezTo>
                  <a:cubicBezTo>
                    <a:pt x="65" y="390"/>
                    <a:pt x="79" y="377"/>
                    <a:pt x="95" y="377"/>
                  </a:cubicBezTo>
                  <a:cubicBezTo>
                    <a:pt x="175" y="377"/>
                    <a:pt x="175" y="377"/>
                    <a:pt x="175" y="377"/>
                  </a:cubicBezTo>
                  <a:cubicBezTo>
                    <a:pt x="193" y="377"/>
                    <a:pt x="208" y="363"/>
                    <a:pt x="209" y="346"/>
                  </a:cubicBezTo>
                  <a:cubicBezTo>
                    <a:pt x="211" y="331"/>
                    <a:pt x="223" y="319"/>
                    <a:pt x="239" y="319"/>
                  </a:cubicBezTo>
                  <a:cubicBezTo>
                    <a:pt x="287" y="319"/>
                    <a:pt x="287" y="319"/>
                    <a:pt x="287" y="319"/>
                  </a:cubicBezTo>
                  <a:cubicBezTo>
                    <a:pt x="308" y="319"/>
                    <a:pt x="308" y="319"/>
                    <a:pt x="308" y="319"/>
                  </a:cubicBezTo>
                  <a:cubicBezTo>
                    <a:pt x="448" y="319"/>
                    <a:pt x="448" y="319"/>
                    <a:pt x="448" y="319"/>
                  </a:cubicBezTo>
                  <a:cubicBezTo>
                    <a:pt x="450" y="319"/>
                    <a:pt x="451" y="319"/>
                    <a:pt x="453" y="319"/>
                  </a:cubicBezTo>
                  <a:cubicBezTo>
                    <a:pt x="453" y="259"/>
                    <a:pt x="453" y="259"/>
                    <a:pt x="453" y="259"/>
                  </a:cubicBezTo>
                  <a:cubicBezTo>
                    <a:pt x="453" y="246"/>
                    <a:pt x="464" y="235"/>
                    <a:pt x="477" y="235"/>
                  </a:cubicBezTo>
                  <a:cubicBezTo>
                    <a:pt x="486" y="235"/>
                    <a:pt x="486" y="235"/>
                    <a:pt x="486" y="235"/>
                  </a:cubicBezTo>
                  <a:cubicBezTo>
                    <a:pt x="486" y="235"/>
                    <a:pt x="486" y="235"/>
                    <a:pt x="486" y="235"/>
                  </a:cubicBezTo>
                  <a:cubicBezTo>
                    <a:pt x="508" y="235"/>
                    <a:pt x="508" y="235"/>
                    <a:pt x="508" y="235"/>
                  </a:cubicBezTo>
                  <a:cubicBezTo>
                    <a:pt x="521" y="235"/>
                    <a:pt x="532" y="224"/>
                    <a:pt x="532" y="211"/>
                  </a:cubicBezTo>
                  <a:cubicBezTo>
                    <a:pt x="532" y="179"/>
                    <a:pt x="532" y="179"/>
                    <a:pt x="532" y="179"/>
                  </a:cubicBezTo>
                  <a:cubicBezTo>
                    <a:pt x="566" y="179"/>
                    <a:pt x="566" y="179"/>
                    <a:pt x="566" y="179"/>
                  </a:cubicBezTo>
                  <a:cubicBezTo>
                    <a:pt x="586" y="179"/>
                    <a:pt x="601" y="163"/>
                    <a:pt x="601" y="144"/>
                  </a:cubicBezTo>
                  <a:cubicBezTo>
                    <a:pt x="601" y="45"/>
                    <a:pt x="601" y="45"/>
                    <a:pt x="601" y="45"/>
                  </a:cubicBezTo>
                  <a:cubicBezTo>
                    <a:pt x="545" y="45"/>
                    <a:pt x="545" y="45"/>
                    <a:pt x="545" y="45"/>
                  </a:cubicBezTo>
                  <a:cubicBezTo>
                    <a:pt x="537" y="45"/>
                    <a:pt x="537" y="45"/>
                    <a:pt x="537" y="45"/>
                  </a:cubicBezTo>
                  <a:cubicBezTo>
                    <a:pt x="537" y="45"/>
                    <a:pt x="537" y="45"/>
                    <a:pt x="537" y="45"/>
                  </a:cubicBezTo>
                  <a:cubicBezTo>
                    <a:pt x="537" y="45"/>
                    <a:pt x="537" y="45"/>
                    <a:pt x="537" y="45"/>
                  </a:cubicBezTo>
                  <a:cubicBezTo>
                    <a:pt x="536" y="45"/>
                    <a:pt x="536" y="45"/>
                    <a:pt x="536" y="45"/>
                  </a:cubicBezTo>
                  <a:cubicBezTo>
                    <a:pt x="536" y="45"/>
                    <a:pt x="536" y="45"/>
                    <a:pt x="536" y="45"/>
                  </a:cubicBezTo>
                  <a:cubicBezTo>
                    <a:pt x="536" y="45"/>
                    <a:pt x="536" y="45"/>
                    <a:pt x="536" y="45"/>
                  </a:cubicBezTo>
                  <a:cubicBezTo>
                    <a:pt x="535" y="45"/>
                    <a:pt x="535" y="45"/>
                    <a:pt x="535" y="45"/>
                  </a:cubicBezTo>
                  <a:cubicBezTo>
                    <a:pt x="535" y="45"/>
                    <a:pt x="535" y="45"/>
                    <a:pt x="535" y="45"/>
                  </a:cubicBezTo>
                  <a:cubicBezTo>
                    <a:pt x="534" y="45"/>
                    <a:pt x="534" y="45"/>
                    <a:pt x="534" y="45"/>
                  </a:cubicBezTo>
                  <a:cubicBezTo>
                    <a:pt x="534" y="45"/>
                    <a:pt x="534" y="45"/>
                    <a:pt x="534" y="45"/>
                  </a:cubicBezTo>
                  <a:cubicBezTo>
                    <a:pt x="534" y="45"/>
                    <a:pt x="534" y="45"/>
                    <a:pt x="534" y="45"/>
                  </a:cubicBezTo>
                  <a:cubicBezTo>
                    <a:pt x="534" y="45"/>
                    <a:pt x="534" y="45"/>
                    <a:pt x="534" y="45"/>
                  </a:cubicBezTo>
                  <a:cubicBezTo>
                    <a:pt x="533" y="45"/>
                    <a:pt x="533" y="45"/>
                    <a:pt x="533" y="45"/>
                  </a:cubicBezTo>
                  <a:cubicBezTo>
                    <a:pt x="533" y="45"/>
                    <a:pt x="533" y="45"/>
                    <a:pt x="533" y="45"/>
                  </a:cubicBezTo>
                  <a:cubicBezTo>
                    <a:pt x="533" y="44"/>
                    <a:pt x="533" y="44"/>
                    <a:pt x="533" y="44"/>
                  </a:cubicBezTo>
                  <a:cubicBezTo>
                    <a:pt x="533" y="44"/>
                    <a:pt x="533" y="44"/>
                    <a:pt x="533" y="44"/>
                  </a:cubicBezTo>
                  <a:cubicBezTo>
                    <a:pt x="532" y="44"/>
                    <a:pt x="532" y="44"/>
                    <a:pt x="532" y="44"/>
                  </a:cubicBezTo>
                  <a:cubicBezTo>
                    <a:pt x="532" y="44"/>
                    <a:pt x="532" y="44"/>
                    <a:pt x="532" y="44"/>
                  </a:cubicBezTo>
                  <a:cubicBezTo>
                    <a:pt x="531" y="44"/>
                    <a:pt x="531" y="44"/>
                    <a:pt x="531" y="44"/>
                  </a:cubicBezTo>
                  <a:cubicBezTo>
                    <a:pt x="531" y="44"/>
                    <a:pt x="531" y="44"/>
                    <a:pt x="531" y="44"/>
                  </a:cubicBezTo>
                  <a:cubicBezTo>
                    <a:pt x="531" y="44"/>
                    <a:pt x="531" y="44"/>
                    <a:pt x="531" y="44"/>
                  </a:cubicBezTo>
                  <a:cubicBezTo>
                    <a:pt x="531" y="44"/>
                    <a:pt x="531" y="44"/>
                    <a:pt x="531" y="44"/>
                  </a:cubicBezTo>
                  <a:cubicBezTo>
                    <a:pt x="530" y="44"/>
                    <a:pt x="530" y="44"/>
                    <a:pt x="530" y="44"/>
                  </a:cubicBezTo>
                  <a:cubicBezTo>
                    <a:pt x="530" y="44"/>
                    <a:pt x="530" y="44"/>
                    <a:pt x="530" y="44"/>
                  </a:cubicBezTo>
                  <a:cubicBezTo>
                    <a:pt x="530" y="44"/>
                    <a:pt x="530" y="44"/>
                    <a:pt x="530" y="44"/>
                  </a:cubicBezTo>
                  <a:cubicBezTo>
                    <a:pt x="530" y="44"/>
                    <a:pt x="530" y="44"/>
                    <a:pt x="530" y="44"/>
                  </a:cubicBezTo>
                  <a:cubicBezTo>
                    <a:pt x="529" y="44"/>
                    <a:pt x="529" y="44"/>
                    <a:pt x="529" y="44"/>
                  </a:cubicBezTo>
                  <a:cubicBezTo>
                    <a:pt x="529" y="44"/>
                    <a:pt x="529" y="44"/>
                    <a:pt x="529" y="44"/>
                  </a:cubicBezTo>
                  <a:cubicBezTo>
                    <a:pt x="529" y="43"/>
                    <a:pt x="529" y="43"/>
                    <a:pt x="529" y="43"/>
                  </a:cubicBezTo>
                  <a:cubicBezTo>
                    <a:pt x="529" y="43"/>
                    <a:pt x="529" y="43"/>
                    <a:pt x="529" y="43"/>
                  </a:cubicBezTo>
                  <a:cubicBezTo>
                    <a:pt x="528" y="43"/>
                    <a:pt x="528" y="43"/>
                    <a:pt x="528" y="43"/>
                  </a:cubicBezTo>
                  <a:cubicBezTo>
                    <a:pt x="528" y="43"/>
                    <a:pt x="528" y="43"/>
                    <a:pt x="528" y="43"/>
                  </a:cubicBezTo>
                  <a:cubicBezTo>
                    <a:pt x="527" y="43"/>
                    <a:pt x="527" y="43"/>
                    <a:pt x="527" y="43"/>
                  </a:cubicBezTo>
                  <a:cubicBezTo>
                    <a:pt x="527" y="43"/>
                    <a:pt x="527" y="43"/>
                    <a:pt x="527" y="43"/>
                  </a:cubicBezTo>
                  <a:cubicBezTo>
                    <a:pt x="527" y="43"/>
                    <a:pt x="527" y="43"/>
                    <a:pt x="527" y="43"/>
                  </a:cubicBezTo>
                  <a:cubicBezTo>
                    <a:pt x="527" y="43"/>
                    <a:pt x="527" y="43"/>
                    <a:pt x="527" y="43"/>
                  </a:cubicBezTo>
                  <a:cubicBezTo>
                    <a:pt x="526" y="42"/>
                    <a:pt x="526" y="42"/>
                    <a:pt x="526" y="42"/>
                  </a:cubicBezTo>
                  <a:cubicBezTo>
                    <a:pt x="526" y="42"/>
                    <a:pt x="526" y="42"/>
                    <a:pt x="526" y="42"/>
                  </a:cubicBezTo>
                  <a:cubicBezTo>
                    <a:pt x="526" y="42"/>
                    <a:pt x="526" y="42"/>
                    <a:pt x="526" y="42"/>
                  </a:cubicBezTo>
                  <a:cubicBezTo>
                    <a:pt x="526" y="42"/>
                    <a:pt x="526" y="42"/>
                    <a:pt x="526" y="42"/>
                  </a:cubicBezTo>
                  <a:cubicBezTo>
                    <a:pt x="525" y="42"/>
                    <a:pt x="525" y="42"/>
                    <a:pt x="525" y="42"/>
                  </a:cubicBezTo>
                  <a:cubicBezTo>
                    <a:pt x="525" y="42"/>
                    <a:pt x="525" y="42"/>
                    <a:pt x="525" y="42"/>
                  </a:cubicBezTo>
                  <a:cubicBezTo>
                    <a:pt x="525" y="42"/>
                    <a:pt x="525" y="42"/>
                    <a:pt x="525" y="42"/>
                  </a:cubicBezTo>
                  <a:cubicBezTo>
                    <a:pt x="525" y="42"/>
                    <a:pt x="525" y="42"/>
                    <a:pt x="525" y="42"/>
                  </a:cubicBezTo>
                  <a:cubicBezTo>
                    <a:pt x="524" y="41"/>
                    <a:pt x="524" y="41"/>
                    <a:pt x="524" y="41"/>
                  </a:cubicBezTo>
                  <a:cubicBezTo>
                    <a:pt x="524" y="41"/>
                    <a:pt x="524" y="41"/>
                    <a:pt x="524" y="41"/>
                  </a:cubicBezTo>
                  <a:cubicBezTo>
                    <a:pt x="524" y="41"/>
                    <a:pt x="524" y="41"/>
                    <a:pt x="524" y="41"/>
                  </a:cubicBezTo>
                  <a:cubicBezTo>
                    <a:pt x="524" y="41"/>
                    <a:pt x="524" y="41"/>
                    <a:pt x="524" y="41"/>
                  </a:cubicBezTo>
                  <a:cubicBezTo>
                    <a:pt x="523" y="41"/>
                    <a:pt x="523" y="41"/>
                    <a:pt x="523" y="41"/>
                  </a:cubicBezTo>
                  <a:cubicBezTo>
                    <a:pt x="523" y="41"/>
                    <a:pt x="523" y="41"/>
                    <a:pt x="523" y="41"/>
                  </a:cubicBezTo>
                  <a:cubicBezTo>
                    <a:pt x="523" y="40"/>
                    <a:pt x="523" y="40"/>
                    <a:pt x="523" y="40"/>
                  </a:cubicBezTo>
                  <a:cubicBezTo>
                    <a:pt x="523" y="40"/>
                    <a:pt x="523" y="40"/>
                    <a:pt x="523" y="40"/>
                  </a:cubicBezTo>
                  <a:cubicBezTo>
                    <a:pt x="522" y="40"/>
                    <a:pt x="522" y="40"/>
                    <a:pt x="522" y="40"/>
                  </a:cubicBezTo>
                  <a:cubicBezTo>
                    <a:pt x="522" y="40"/>
                    <a:pt x="522" y="40"/>
                    <a:pt x="522" y="40"/>
                  </a:cubicBezTo>
                  <a:cubicBezTo>
                    <a:pt x="522" y="40"/>
                    <a:pt x="522" y="40"/>
                    <a:pt x="522" y="40"/>
                  </a:cubicBezTo>
                  <a:cubicBezTo>
                    <a:pt x="522" y="40"/>
                    <a:pt x="522" y="40"/>
                    <a:pt x="522" y="40"/>
                  </a:cubicBezTo>
                  <a:cubicBezTo>
                    <a:pt x="522" y="40"/>
                    <a:pt x="522" y="39"/>
                    <a:pt x="521" y="39"/>
                  </a:cubicBezTo>
                  <a:cubicBezTo>
                    <a:pt x="521" y="39"/>
                    <a:pt x="521" y="39"/>
                    <a:pt x="521" y="39"/>
                  </a:cubicBezTo>
                  <a:cubicBezTo>
                    <a:pt x="521" y="39"/>
                    <a:pt x="521" y="39"/>
                    <a:pt x="521" y="39"/>
                  </a:cubicBezTo>
                  <a:cubicBezTo>
                    <a:pt x="521" y="39"/>
                    <a:pt x="521" y="39"/>
                    <a:pt x="521" y="39"/>
                  </a:cubicBezTo>
                  <a:cubicBezTo>
                    <a:pt x="521" y="39"/>
                    <a:pt x="521" y="39"/>
                    <a:pt x="521" y="39"/>
                  </a:cubicBezTo>
                  <a:cubicBezTo>
                    <a:pt x="521" y="39"/>
                    <a:pt x="521" y="39"/>
                    <a:pt x="521" y="39"/>
                  </a:cubicBezTo>
                  <a:cubicBezTo>
                    <a:pt x="520" y="38"/>
                    <a:pt x="520" y="38"/>
                    <a:pt x="520" y="38"/>
                  </a:cubicBezTo>
                  <a:cubicBezTo>
                    <a:pt x="520" y="38"/>
                    <a:pt x="520" y="38"/>
                    <a:pt x="520" y="38"/>
                  </a:cubicBezTo>
                  <a:cubicBezTo>
                    <a:pt x="520" y="38"/>
                    <a:pt x="520" y="38"/>
                    <a:pt x="520" y="38"/>
                  </a:cubicBezTo>
                  <a:cubicBezTo>
                    <a:pt x="520" y="38"/>
                    <a:pt x="520" y="38"/>
                    <a:pt x="520" y="38"/>
                  </a:cubicBezTo>
                  <a:cubicBezTo>
                    <a:pt x="519" y="37"/>
                    <a:pt x="519" y="37"/>
                    <a:pt x="519" y="37"/>
                  </a:cubicBezTo>
                  <a:cubicBezTo>
                    <a:pt x="519" y="37"/>
                    <a:pt x="519" y="37"/>
                    <a:pt x="519" y="37"/>
                  </a:cubicBezTo>
                  <a:cubicBezTo>
                    <a:pt x="519" y="37"/>
                    <a:pt x="519" y="37"/>
                    <a:pt x="519" y="37"/>
                  </a:cubicBezTo>
                  <a:cubicBezTo>
                    <a:pt x="519" y="37"/>
                    <a:pt x="519" y="37"/>
                    <a:pt x="519" y="37"/>
                  </a:cubicBezTo>
                  <a:cubicBezTo>
                    <a:pt x="519" y="36"/>
                    <a:pt x="519" y="36"/>
                    <a:pt x="519" y="36"/>
                  </a:cubicBezTo>
                  <a:cubicBezTo>
                    <a:pt x="519" y="36"/>
                    <a:pt x="519" y="36"/>
                    <a:pt x="519" y="36"/>
                  </a:cubicBezTo>
                  <a:cubicBezTo>
                    <a:pt x="518" y="36"/>
                    <a:pt x="518" y="36"/>
                    <a:pt x="518" y="36"/>
                  </a:cubicBezTo>
                  <a:cubicBezTo>
                    <a:pt x="518" y="36"/>
                    <a:pt x="518" y="36"/>
                    <a:pt x="518" y="36"/>
                  </a:cubicBezTo>
                  <a:cubicBezTo>
                    <a:pt x="518" y="36"/>
                    <a:pt x="518" y="36"/>
                    <a:pt x="518" y="36"/>
                  </a:cubicBezTo>
                  <a:cubicBezTo>
                    <a:pt x="518" y="36"/>
                    <a:pt x="518" y="36"/>
                    <a:pt x="518" y="36"/>
                  </a:cubicBezTo>
                  <a:cubicBezTo>
                    <a:pt x="517" y="35"/>
                    <a:pt x="517" y="35"/>
                    <a:pt x="517" y="35"/>
                  </a:cubicBezTo>
                  <a:cubicBezTo>
                    <a:pt x="517" y="35"/>
                    <a:pt x="517" y="35"/>
                    <a:pt x="517" y="35"/>
                  </a:cubicBezTo>
                  <a:cubicBezTo>
                    <a:pt x="517" y="35"/>
                    <a:pt x="517" y="35"/>
                    <a:pt x="517" y="35"/>
                  </a:cubicBezTo>
                  <a:cubicBezTo>
                    <a:pt x="517" y="35"/>
                    <a:pt x="517" y="35"/>
                    <a:pt x="517" y="35"/>
                  </a:cubicBezTo>
                  <a:cubicBezTo>
                    <a:pt x="517" y="34"/>
                    <a:pt x="517" y="34"/>
                    <a:pt x="517" y="34"/>
                  </a:cubicBezTo>
                  <a:cubicBezTo>
                    <a:pt x="517" y="34"/>
                    <a:pt x="517" y="34"/>
                    <a:pt x="517" y="34"/>
                  </a:cubicBezTo>
                  <a:cubicBezTo>
                    <a:pt x="516" y="34"/>
                    <a:pt x="516" y="34"/>
                    <a:pt x="516" y="34"/>
                  </a:cubicBezTo>
                  <a:cubicBezTo>
                    <a:pt x="516" y="34"/>
                    <a:pt x="516" y="34"/>
                    <a:pt x="516" y="34"/>
                  </a:cubicBezTo>
                  <a:cubicBezTo>
                    <a:pt x="516" y="33"/>
                    <a:pt x="516" y="33"/>
                    <a:pt x="516" y="33"/>
                  </a:cubicBezTo>
                  <a:cubicBezTo>
                    <a:pt x="516" y="33"/>
                    <a:pt x="516" y="33"/>
                    <a:pt x="516" y="33"/>
                  </a:cubicBezTo>
                  <a:cubicBezTo>
                    <a:pt x="516" y="33"/>
                    <a:pt x="516" y="33"/>
                    <a:pt x="516" y="33"/>
                  </a:cubicBezTo>
                  <a:cubicBezTo>
                    <a:pt x="516" y="33"/>
                    <a:pt x="516" y="33"/>
                    <a:pt x="516" y="33"/>
                  </a:cubicBezTo>
                  <a:cubicBezTo>
                    <a:pt x="516" y="32"/>
                    <a:pt x="516" y="32"/>
                    <a:pt x="516" y="32"/>
                  </a:cubicBezTo>
                  <a:cubicBezTo>
                    <a:pt x="516" y="32"/>
                    <a:pt x="516" y="32"/>
                    <a:pt x="516" y="32"/>
                  </a:cubicBezTo>
                  <a:cubicBezTo>
                    <a:pt x="515" y="32"/>
                    <a:pt x="515" y="32"/>
                    <a:pt x="515" y="32"/>
                  </a:cubicBezTo>
                  <a:cubicBezTo>
                    <a:pt x="515" y="32"/>
                    <a:pt x="515" y="32"/>
                    <a:pt x="515" y="32"/>
                  </a:cubicBezTo>
                  <a:cubicBezTo>
                    <a:pt x="515" y="31"/>
                    <a:pt x="515" y="31"/>
                    <a:pt x="515" y="31"/>
                  </a:cubicBezTo>
                  <a:cubicBezTo>
                    <a:pt x="515" y="31"/>
                    <a:pt x="515" y="31"/>
                    <a:pt x="515" y="31"/>
                  </a:cubicBezTo>
                  <a:cubicBezTo>
                    <a:pt x="515" y="31"/>
                    <a:pt x="515" y="31"/>
                    <a:pt x="515" y="31"/>
                  </a:cubicBezTo>
                  <a:cubicBezTo>
                    <a:pt x="515" y="31"/>
                    <a:pt x="515" y="31"/>
                    <a:pt x="515" y="31"/>
                  </a:cubicBezTo>
                  <a:cubicBezTo>
                    <a:pt x="515" y="30"/>
                    <a:pt x="515" y="30"/>
                    <a:pt x="515" y="30"/>
                  </a:cubicBezTo>
                  <a:cubicBezTo>
                    <a:pt x="515" y="30"/>
                    <a:pt x="515" y="30"/>
                    <a:pt x="515" y="30"/>
                  </a:cubicBezTo>
                  <a:cubicBezTo>
                    <a:pt x="514" y="29"/>
                    <a:pt x="514" y="29"/>
                    <a:pt x="514" y="29"/>
                  </a:cubicBezTo>
                  <a:cubicBezTo>
                    <a:pt x="514" y="29"/>
                    <a:pt x="514" y="29"/>
                    <a:pt x="514" y="29"/>
                  </a:cubicBezTo>
                  <a:cubicBezTo>
                    <a:pt x="514" y="29"/>
                    <a:pt x="514" y="29"/>
                    <a:pt x="514" y="29"/>
                  </a:cubicBezTo>
                  <a:cubicBezTo>
                    <a:pt x="514" y="29"/>
                    <a:pt x="514" y="29"/>
                    <a:pt x="514" y="29"/>
                  </a:cubicBezTo>
                  <a:cubicBezTo>
                    <a:pt x="514" y="28"/>
                    <a:pt x="514" y="28"/>
                    <a:pt x="514" y="28"/>
                  </a:cubicBezTo>
                  <a:cubicBezTo>
                    <a:pt x="514" y="28"/>
                    <a:pt x="514" y="28"/>
                    <a:pt x="514" y="28"/>
                  </a:cubicBezTo>
                  <a:cubicBezTo>
                    <a:pt x="514" y="28"/>
                    <a:pt x="514" y="28"/>
                    <a:pt x="514" y="28"/>
                  </a:cubicBezTo>
                  <a:cubicBezTo>
                    <a:pt x="514" y="28"/>
                    <a:pt x="514" y="28"/>
                    <a:pt x="514" y="28"/>
                  </a:cubicBezTo>
                  <a:cubicBezTo>
                    <a:pt x="514" y="27"/>
                    <a:pt x="514" y="27"/>
                    <a:pt x="514" y="27"/>
                  </a:cubicBezTo>
                  <a:cubicBezTo>
                    <a:pt x="514" y="27"/>
                    <a:pt x="514" y="27"/>
                    <a:pt x="514" y="27"/>
                  </a:cubicBezTo>
                  <a:cubicBezTo>
                    <a:pt x="513" y="27"/>
                    <a:pt x="513" y="27"/>
                    <a:pt x="513" y="27"/>
                  </a:cubicBezTo>
                  <a:cubicBezTo>
                    <a:pt x="513" y="27"/>
                    <a:pt x="513" y="27"/>
                    <a:pt x="513" y="27"/>
                  </a:cubicBezTo>
                  <a:cubicBezTo>
                    <a:pt x="513" y="26"/>
                    <a:pt x="513" y="26"/>
                    <a:pt x="513" y="26"/>
                  </a:cubicBezTo>
                  <a:cubicBezTo>
                    <a:pt x="513" y="26"/>
                    <a:pt x="513" y="26"/>
                    <a:pt x="513" y="26"/>
                  </a:cubicBezTo>
                  <a:cubicBezTo>
                    <a:pt x="513" y="25"/>
                    <a:pt x="513" y="25"/>
                    <a:pt x="513" y="25"/>
                  </a:cubicBezTo>
                  <a:cubicBezTo>
                    <a:pt x="513" y="25"/>
                    <a:pt x="513" y="25"/>
                    <a:pt x="513" y="25"/>
                  </a:cubicBezTo>
                  <a:cubicBezTo>
                    <a:pt x="513" y="25"/>
                    <a:pt x="513" y="25"/>
                    <a:pt x="513" y="25"/>
                  </a:cubicBezTo>
                  <a:cubicBezTo>
                    <a:pt x="513" y="25"/>
                    <a:pt x="513" y="25"/>
                    <a:pt x="513" y="25"/>
                  </a:cubicBezTo>
                  <a:cubicBezTo>
                    <a:pt x="513" y="24"/>
                    <a:pt x="513" y="24"/>
                    <a:pt x="513" y="24"/>
                  </a:cubicBezTo>
                  <a:cubicBezTo>
                    <a:pt x="513" y="24"/>
                    <a:pt x="513" y="24"/>
                    <a:pt x="513" y="24"/>
                  </a:cubicBezTo>
                  <a:cubicBezTo>
                    <a:pt x="513" y="24"/>
                    <a:pt x="513" y="24"/>
                    <a:pt x="513" y="24"/>
                  </a:cubicBezTo>
                  <a:cubicBezTo>
                    <a:pt x="513" y="24"/>
                    <a:pt x="513" y="24"/>
                    <a:pt x="513" y="24"/>
                  </a:cubicBezTo>
                  <a:cubicBezTo>
                    <a:pt x="513" y="23"/>
                    <a:pt x="513" y="23"/>
                    <a:pt x="513" y="23"/>
                  </a:cubicBezTo>
                  <a:cubicBezTo>
                    <a:pt x="513" y="23"/>
                    <a:pt x="513" y="23"/>
                    <a:pt x="513" y="23"/>
                  </a:cubicBezTo>
                  <a:cubicBezTo>
                    <a:pt x="513" y="22"/>
                    <a:pt x="513" y="22"/>
                    <a:pt x="513" y="22"/>
                  </a:cubicBezTo>
                  <a:cubicBezTo>
                    <a:pt x="513" y="22"/>
                    <a:pt x="513" y="22"/>
                    <a:pt x="513" y="22"/>
                  </a:cubicBezTo>
                  <a:cubicBezTo>
                    <a:pt x="513" y="22"/>
                    <a:pt x="513" y="22"/>
                    <a:pt x="513" y="22"/>
                  </a:cubicBezTo>
                  <a:cubicBezTo>
                    <a:pt x="513" y="22"/>
                    <a:pt x="513" y="22"/>
                    <a:pt x="513" y="22"/>
                  </a:cubicBezTo>
                  <a:cubicBezTo>
                    <a:pt x="513" y="21"/>
                    <a:pt x="513" y="21"/>
                    <a:pt x="513" y="21"/>
                  </a:cubicBezTo>
                  <a:cubicBezTo>
                    <a:pt x="513" y="21"/>
                    <a:pt x="513" y="21"/>
                    <a:pt x="513" y="21"/>
                  </a:cubicBezTo>
                  <a:cubicBezTo>
                    <a:pt x="513" y="21"/>
                    <a:pt x="513" y="21"/>
                    <a:pt x="513" y="21"/>
                  </a:cubicBezTo>
                  <a:cubicBezTo>
                    <a:pt x="513" y="12"/>
                    <a:pt x="513" y="12"/>
                    <a:pt x="513" y="12"/>
                  </a:cubicBezTo>
                  <a:cubicBezTo>
                    <a:pt x="513" y="0"/>
                    <a:pt x="513" y="0"/>
                    <a:pt x="513" y="0"/>
                  </a:cubicBezTo>
                  <a:cubicBezTo>
                    <a:pt x="214" y="0"/>
                    <a:pt x="214" y="0"/>
                    <a:pt x="214" y="0"/>
                  </a:cubicBezTo>
                  <a:cubicBezTo>
                    <a:pt x="193" y="0"/>
                    <a:pt x="193" y="0"/>
                    <a:pt x="193" y="0"/>
                  </a:cubicBezTo>
                  <a:cubicBezTo>
                    <a:pt x="144" y="0"/>
                    <a:pt x="144" y="0"/>
                    <a:pt x="144" y="0"/>
                  </a:cubicBezTo>
                  <a:cubicBezTo>
                    <a:pt x="129" y="0"/>
                    <a:pt x="116" y="12"/>
                    <a:pt x="115" y="27"/>
                  </a:cubicBezTo>
                  <a:cubicBezTo>
                    <a:pt x="114" y="45"/>
                    <a:pt x="99" y="58"/>
                    <a:pt x="81" y="58"/>
                  </a:cubicBezTo>
                  <a:cubicBezTo>
                    <a:pt x="29" y="58"/>
                    <a:pt x="29" y="58"/>
                    <a:pt x="29" y="58"/>
                  </a:cubicBezTo>
                  <a:cubicBezTo>
                    <a:pt x="13" y="58"/>
                    <a:pt x="0" y="72"/>
                    <a:pt x="0" y="88"/>
                  </a:cubicBezTo>
                  <a:close/>
                  <a:moveTo>
                    <a:pt x="513" y="21"/>
                  </a:moveTo>
                  <a:cubicBezTo>
                    <a:pt x="513" y="21"/>
                    <a:pt x="513" y="21"/>
                    <a:pt x="513" y="21"/>
                  </a:cubicBezTo>
                  <a:close/>
                </a:path>
              </a:pathLst>
            </a:custGeom>
            <a:solidFill>
              <a:srgbClr val="D1D3D4"/>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sp>
          <p:nvSpPr>
            <p:cNvPr id="136" name="Freeform 44"/>
            <p:cNvSpPr>
              <a:spLocks/>
            </p:cNvSpPr>
            <p:nvPr userDrawn="1"/>
          </p:nvSpPr>
          <p:spPr bwMode="auto">
            <a:xfrm>
              <a:off x="3683" y="2048"/>
              <a:ext cx="853" cy="325"/>
            </a:xfrm>
            <a:custGeom>
              <a:avLst/>
              <a:gdLst>
                <a:gd name="T0" fmla="*/ 7 w 483"/>
                <a:gd name="T1" fmla="*/ 184 h 184"/>
                <a:gd name="T2" fmla="*/ 390 w 483"/>
                <a:gd name="T3" fmla="*/ 184 h 184"/>
                <a:gd name="T4" fmla="*/ 414 w 483"/>
                <a:gd name="T5" fmla="*/ 160 h 184"/>
                <a:gd name="T6" fmla="*/ 414 w 483"/>
                <a:gd name="T7" fmla="*/ 91 h 184"/>
                <a:gd name="T8" fmla="*/ 448 w 483"/>
                <a:gd name="T9" fmla="*/ 57 h 184"/>
                <a:gd name="T10" fmla="*/ 459 w 483"/>
                <a:gd name="T11" fmla="*/ 57 h 184"/>
                <a:gd name="T12" fmla="*/ 483 w 483"/>
                <a:gd name="T13" fmla="*/ 33 h 184"/>
                <a:gd name="T14" fmla="*/ 483 w 483"/>
                <a:gd name="T15" fmla="*/ 25 h 184"/>
                <a:gd name="T16" fmla="*/ 459 w 483"/>
                <a:gd name="T17" fmla="*/ 0 h 184"/>
                <a:gd name="T18" fmla="*/ 390 w 483"/>
                <a:gd name="T19" fmla="*/ 0 h 184"/>
                <a:gd name="T20" fmla="*/ 294 w 483"/>
                <a:gd name="T21" fmla="*/ 0 h 184"/>
                <a:gd name="T22" fmla="*/ 269 w 483"/>
                <a:gd name="T23" fmla="*/ 30 h 184"/>
                <a:gd name="T24" fmla="*/ 240 w 483"/>
                <a:gd name="T25" fmla="*/ 57 h 184"/>
                <a:gd name="T26" fmla="*/ 192 w 483"/>
                <a:gd name="T27" fmla="*/ 57 h 184"/>
                <a:gd name="T28" fmla="*/ 171 w 483"/>
                <a:gd name="T29" fmla="*/ 57 h 184"/>
                <a:gd name="T30" fmla="*/ 70 w 483"/>
                <a:gd name="T31" fmla="*/ 57 h 184"/>
                <a:gd name="T32" fmla="*/ 70 w 483"/>
                <a:gd name="T33" fmla="*/ 98 h 184"/>
                <a:gd name="T34" fmla="*/ 45 w 483"/>
                <a:gd name="T35" fmla="*/ 122 h 184"/>
                <a:gd name="T36" fmla="*/ 31 w 483"/>
                <a:gd name="T37" fmla="*/ 122 h 184"/>
                <a:gd name="T38" fmla="*/ 0 w 483"/>
                <a:gd name="T39" fmla="*/ 155 h 184"/>
                <a:gd name="T40" fmla="*/ 0 w 483"/>
                <a:gd name="T41" fmla="*/ 183 h 184"/>
                <a:gd name="T42" fmla="*/ 7 w 483"/>
                <a:gd name="T43" fmla="*/ 184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83" h="184">
                  <a:moveTo>
                    <a:pt x="7" y="184"/>
                  </a:moveTo>
                  <a:cubicBezTo>
                    <a:pt x="390" y="184"/>
                    <a:pt x="390" y="184"/>
                    <a:pt x="390" y="184"/>
                  </a:cubicBezTo>
                  <a:cubicBezTo>
                    <a:pt x="403" y="184"/>
                    <a:pt x="414" y="173"/>
                    <a:pt x="414" y="160"/>
                  </a:cubicBezTo>
                  <a:cubicBezTo>
                    <a:pt x="414" y="91"/>
                    <a:pt x="414" y="91"/>
                    <a:pt x="414" y="91"/>
                  </a:cubicBezTo>
                  <a:cubicBezTo>
                    <a:pt x="414" y="72"/>
                    <a:pt x="429" y="57"/>
                    <a:pt x="448" y="57"/>
                  </a:cubicBezTo>
                  <a:cubicBezTo>
                    <a:pt x="459" y="57"/>
                    <a:pt x="459" y="57"/>
                    <a:pt x="459" y="57"/>
                  </a:cubicBezTo>
                  <a:cubicBezTo>
                    <a:pt x="472" y="57"/>
                    <a:pt x="483" y="46"/>
                    <a:pt x="483" y="33"/>
                  </a:cubicBezTo>
                  <a:cubicBezTo>
                    <a:pt x="483" y="25"/>
                    <a:pt x="483" y="25"/>
                    <a:pt x="483" y="25"/>
                  </a:cubicBezTo>
                  <a:cubicBezTo>
                    <a:pt x="483" y="11"/>
                    <a:pt x="472" y="0"/>
                    <a:pt x="459" y="0"/>
                  </a:cubicBezTo>
                  <a:cubicBezTo>
                    <a:pt x="390" y="0"/>
                    <a:pt x="390" y="0"/>
                    <a:pt x="390" y="0"/>
                  </a:cubicBezTo>
                  <a:cubicBezTo>
                    <a:pt x="294" y="0"/>
                    <a:pt x="294" y="0"/>
                    <a:pt x="294" y="0"/>
                  </a:cubicBezTo>
                  <a:cubicBezTo>
                    <a:pt x="280" y="4"/>
                    <a:pt x="271" y="16"/>
                    <a:pt x="269" y="30"/>
                  </a:cubicBezTo>
                  <a:cubicBezTo>
                    <a:pt x="268" y="45"/>
                    <a:pt x="256" y="57"/>
                    <a:pt x="240" y="57"/>
                  </a:cubicBezTo>
                  <a:cubicBezTo>
                    <a:pt x="192" y="57"/>
                    <a:pt x="192" y="57"/>
                    <a:pt x="192" y="57"/>
                  </a:cubicBezTo>
                  <a:cubicBezTo>
                    <a:pt x="171" y="57"/>
                    <a:pt x="171" y="57"/>
                    <a:pt x="171" y="57"/>
                  </a:cubicBezTo>
                  <a:cubicBezTo>
                    <a:pt x="70" y="57"/>
                    <a:pt x="70" y="57"/>
                    <a:pt x="70" y="57"/>
                  </a:cubicBezTo>
                  <a:cubicBezTo>
                    <a:pt x="70" y="98"/>
                    <a:pt x="70" y="98"/>
                    <a:pt x="70" y="98"/>
                  </a:cubicBezTo>
                  <a:cubicBezTo>
                    <a:pt x="70" y="111"/>
                    <a:pt x="59" y="122"/>
                    <a:pt x="45" y="122"/>
                  </a:cubicBezTo>
                  <a:cubicBezTo>
                    <a:pt x="31" y="122"/>
                    <a:pt x="31" y="122"/>
                    <a:pt x="31" y="122"/>
                  </a:cubicBezTo>
                  <a:cubicBezTo>
                    <a:pt x="7" y="122"/>
                    <a:pt x="0" y="145"/>
                    <a:pt x="0" y="155"/>
                  </a:cubicBezTo>
                  <a:cubicBezTo>
                    <a:pt x="0" y="183"/>
                    <a:pt x="0" y="183"/>
                    <a:pt x="0" y="183"/>
                  </a:cubicBezTo>
                  <a:cubicBezTo>
                    <a:pt x="2" y="184"/>
                    <a:pt x="5" y="184"/>
                    <a:pt x="7" y="184"/>
                  </a:cubicBezTo>
                  <a:close/>
                </a:path>
              </a:pathLst>
            </a:custGeom>
            <a:solidFill>
              <a:schemeClr val="accent3"/>
            </a:solidFill>
            <a:ln w="222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nl-NL">
                <a:solidFill>
                  <a:srgbClr val="000000"/>
                </a:solidFill>
                <a:latin typeface="Arial Unicode MS" charset="0"/>
                <a:ea typeface="ＭＳ Ｐゴシック" charset="0"/>
              </a:endParaRPr>
            </a:p>
          </p:txBody>
        </p:sp>
      </p:grpSp>
    </p:spTree>
    <p:extLst>
      <p:ext uri="{BB962C8B-B14F-4D97-AF65-F5344CB8AC3E}">
        <p14:creationId xmlns:p14="http://schemas.microsoft.com/office/powerpoint/2010/main" val="27895746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pic>
        <p:nvPicPr>
          <p:cNvPr id="63" name="Picture 10" descr="http://chair-introb.isir.upmc.fr/view.php/rte.jpg"/>
          <p:cNvPicPr>
            <a:picLocks noChangeAspect="1" noChangeArrowheads="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19058" y="3074696"/>
            <a:ext cx="1263529" cy="651820"/>
          </a:xfrm>
          <a:prstGeom prst="rect">
            <a:avLst/>
          </a:prstGeom>
          <a:noFill/>
          <a:extLst>
            <a:ext uri="{909E8E84-426E-40DD-AFC4-6F175D3DCCD1}">
              <a14:hiddenFill xmlns:a14="http://schemas.microsoft.com/office/drawing/2010/main">
                <a:solidFill>
                  <a:srgbClr val="FFFFFF"/>
                </a:solidFill>
              </a14:hiddenFill>
            </a:ext>
          </a:extLst>
        </p:spPr>
      </p:pic>
      <p:sp>
        <p:nvSpPr>
          <p:cNvPr id="22" name="Text Placeholder 15"/>
          <p:cNvSpPr>
            <a:spLocks noGrp="1"/>
          </p:cNvSpPr>
          <p:nvPr>
            <p:ph type="body" sz="quarter" idx="12" hasCustomPrompt="1"/>
          </p:nvPr>
        </p:nvSpPr>
        <p:spPr>
          <a:xfrm>
            <a:off x="2372329" y="1792800"/>
            <a:ext cx="9101929" cy="792162"/>
          </a:xfrm>
          <a:prstGeom prst="rect">
            <a:avLst/>
          </a:prstGeom>
        </p:spPr>
        <p:txBody>
          <a:bodyPr vert="horz" wrap="square" lIns="72000" tIns="36000" rIns="72000" bIns="36000" rtlCol="0" anchor="ctr" anchorCtr="0">
            <a:noAutofit/>
          </a:bodyPr>
          <a:lstStyle>
            <a:lvl1pPr>
              <a:defRPr lang="en-US" sz="3000" baseline="0" dirty="0">
                <a:solidFill>
                  <a:schemeClr val="accent3">
                    <a:lumMod val="75000"/>
                  </a:schemeClr>
                </a:solidFill>
              </a:defRPr>
            </a:lvl1pPr>
          </a:lstStyle>
          <a:p>
            <a:pPr lvl="0"/>
            <a:r>
              <a:rPr lang="en-US" dirty="0"/>
              <a:t>Appendix</a:t>
            </a:r>
          </a:p>
        </p:txBody>
      </p:sp>
      <p:cxnSp>
        <p:nvCxnSpPr>
          <p:cNvPr id="20" name="Connecteur droit 12"/>
          <p:cNvCxnSpPr>
            <a:cxnSpLocks noChangeShapeType="1"/>
          </p:cNvCxnSpPr>
          <p:nvPr userDrawn="1"/>
        </p:nvCxnSpPr>
        <p:spPr bwMode="auto">
          <a:xfrm rot="5400000">
            <a:off x="165685" y="3762491"/>
            <a:ext cx="4356000" cy="17585"/>
          </a:xfrm>
          <a:prstGeom prst="line">
            <a:avLst/>
          </a:prstGeom>
          <a:noFill/>
          <a:ln w="38100">
            <a:solidFill>
              <a:srgbClr val="FFFFFF"/>
            </a:solidFill>
            <a:round/>
            <a:headEnd/>
            <a:tailEnd/>
          </a:ln>
          <a:effectLst>
            <a:outerShdw blurRad="63500" dist="23000" dir="5400000" rotWithShape="0">
              <a:srgbClr val="000000">
                <a:alpha val="34998"/>
              </a:srgbClr>
            </a:outerShdw>
          </a:effectLst>
          <a:extLst>
            <a:ext uri="{909E8E84-426E-40DD-AFC4-6F175D3DCCD1}">
              <a14:hiddenFill xmlns:a14="http://schemas.microsoft.com/office/drawing/2010/main">
                <a:noFill/>
              </a14:hiddenFill>
            </a:ext>
          </a:extLst>
        </p:spPr>
      </p:cxnSp>
      <p:pic>
        <p:nvPicPr>
          <p:cNvPr id="49" name="Picture 48"/>
          <p:cNvPicPr>
            <a:picLocks noChangeAspect="1"/>
          </p:cNvPicPr>
          <p:nvPr userDrawn="1"/>
        </p:nvPicPr>
        <p:blipFill>
          <a:blip r:embed="rId3"/>
          <a:stretch>
            <a:fillRect/>
          </a:stretch>
        </p:blipFill>
        <p:spPr>
          <a:xfrm>
            <a:off x="488872" y="1801250"/>
            <a:ext cx="1323897" cy="275200"/>
          </a:xfrm>
          <a:prstGeom prst="rect">
            <a:avLst/>
          </a:prstGeom>
        </p:spPr>
      </p:pic>
      <p:pic>
        <p:nvPicPr>
          <p:cNvPr id="52" name="Picture 51"/>
          <p:cNvPicPr>
            <a:picLocks noChangeAspect="1"/>
          </p:cNvPicPr>
          <p:nvPr userDrawn="1"/>
        </p:nvPicPr>
        <p:blipFill>
          <a:blip r:embed="rId4"/>
          <a:stretch>
            <a:fillRect/>
          </a:stretch>
        </p:blipFill>
        <p:spPr>
          <a:xfrm>
            <a:off x="555702" y="4771381"/>
            <a:ext cx="1190238" cy="235839"/>
          </a:xfrm>
          <a:prstGeom prst="rect">
            <a:avLst/>
          </a:prstGeom>
        </p:spPr>
      </p:pic>
      <p:pic>
        <p:nvPicPr>
          <p:cNvPr id="53" name="Picture 52"/>
          <p:cNvPicPr>
            <a:picLocks noChangeAspect="1"/>
          </p:cNvPicPr>
          <p:nvPr userDrawn="1"/>
        </p:nvPicPr>
        <p:blipFill>
          <a:blip r:embed="rId5"/>
          <a:stretch>
            <a:fillRect/>
          </a:stretch>
        </p:blipFill>
        <p:spPr>
          <a:xfrm>
            <a:off x="576871" y="2210467"/>
            <a:ext cx="1147899" cy="406548"/>
          </a:xfrm>
          <a:prstGeom prst="rect">
            <a:avLst/>
          </a:prstGeom>
        </p:spPr>
      </p:pic>
      <p:pic>
        <p:nvPicPr>
          <p:cNvPr id="55" name="Picture 12" descr="http://www.ingenieurjobs.de/content/tinybrowser/image/transnetbw_gmbh.jp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419744" y="5599763"/>
            <a:ext cx="1462154" cy="234630"/>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55"/>
          <p:cNvPicPr>
            <a:picLocks noChangeAspect="1"/>
          </p:cNvPicPr>
          <p:nvPr userDrawn="1"/>
        </p:nvPicPr>
        <p:blipFill>
          <a:blip r:embed="rId7"/>
          <a:stretch>
            <a:fillRect/>
          </a:stretch>
        </p:blipFill>
        <p:spPr>
          <a:xfrm>
            <a:off x="660446" y="2661696"/>
            <a:ext cx="980752" cy="538644"/>
          </a:xfrm>
          <a:prstGeom prst="rect">
            <a:avLst/>
          </a:prstGeom>
        </p:spPr>
      </p:pic>
      <p:pic>
        <p:nvPicPr>
          <p:cNvPr id="61" name="Picture 60"/>
          <p:cNvPicPr>
            <a:picLocks noChangeAspect="1"/>
          </p:cNvPicPr>
          <p:nvPr userDrawn="1"/>
        </p:nvPicPr>
        <p:blipFill>
          <a:blip r:embed="rId8"/>
          <a:stretch>
            <a:fillRect/>
          </a:stretch>
        </p:blipFill>
        <p:spPr>
          <a:xfrm>
            <a:off x="494788" y="3859294"/>
            <a:ext cx="1312068" cy="230460"/>
          </a:xfrm>
          <a:prstGeom prst="rect">
            <a:avLst/>
          </a:prstGeom>
        </p:spPr>
      </p:pic>
      <p:pic>
        <p:nvPicPr>
          <p:cNvPr id="29" name="Image 28" descr="gfx_swissgrid_logo"/>
          <p:cNvPicPr>
            <a:picLocks noChangeAspect="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582406" y="5206117"/>
            <a:ext cx="1136833" cy="194751"/>
          </a:xfrm>
          <a:prstGeom prst="rect">
            <a:avLst/>
          </a:prstGeom>
          <a:noFill/>
          <a:extLst>
            <a:ext uri="{909E8E84-426E-40DD-AFC4-6F175D3DCCD1}">
              <a14:hiddenFill xmlns:a14="http://schemas.microsoft.com/office/drawing/2010/main">
                <a:solidFill>
                  <a:srgbClr val="FFFFFF"/>
                </a:solidFill>
              </a14:hiddenFill>
            </a:ext>
          </a:extLst>
        </p:spPr>
      </p:pic>
      <p:pic>
        <p:nvPicPr>
          <p:cNvPr id="31" name="Image 26"/>
          <p:cNvPicPr/>
          <p:nvPr userDrawn="1"/>
        </p:nvPicPr>
        <p:blipFill>
          <a:blip r:embed="rId10"/>
          <a:stretch>
            <a:fillRect/>
          </a:stretch>
        </p:blipFill>
        <p:spPr bwMode="auto">
          <a:xfrm>
            <a:off x="460640" y="4275263"/>
            <a:ext cx="1380362" cy="279638"/>
          </a:xfrm>
          <a:prstGeom prst="rect">
            <a:avLst/>
          </a:prstGeom>
          <a:noFill/>
          <a:extLst>
            <a:ext uri="{909E8E84-426E-40DD-AFC4-6F175D3DCCD1}">
              <a14:hiddenFill xmlns:a14="http://schemas.microsoft.com/office/drawing/2010/main">
                <a:solidFill>
                  <a:srgbClr val="FFFFFF"/>
                </a:solidFill>
              </a14:hiddenFill>
            </a:ext>
          </a:extLst>
        </p:spPr>
      </p:pic>
      <p:sp>
        <p:nvSpPr>
          <p:cNvPr id="17" name="Espace réservé du numéro de diapositive 3"/>
          <p:cNvSpPr>
            <a:spLocks noGrp="1"/>
          </p:cNvSpPr>
          <p:nvPr>
            <p:ph type="sldNum" sz="quarter" idx="10"/>
          </p:nvPr>
        </p:nvSpPr>
        <p:spPr>
          <a:xfrm>
            <a:off x="11322793" y="6492915"/>
            <a:ext cx="819105" cy="365125"/>
          </a:xfrm>
        </p:spPr>
        <p:txBody>
          <a:bodyPr/>
          <a:lstStyle/>
          <a:p>
            <a:fld id="{F551322C-20B2-48C3-B63D-68158FEBF630}" type="slidenum">
              <a:rPr lang="en-US" smtClean="0">
                <a:solidFill>
                  <a:srgbClr val="FFFFFF">
                    <a:lumMod val="50000"/>
                  </a:srgbClr>
                </a:solidFill>
              </a:rPr>
              <a:pPr/>
              <a:t>‹#›</a:t>
            </a:fld>
            <a:endParaRPr lang="en-US">
              <a:solidFill>
                <a:srgbClr val="FFFFFF">
                  <a:lumMod val="50000"/>
                </a:srgbClr>
              </a:solidFill>
            </a:endParaRPr>
          </a:p>
        </p:txBody>
      </p:sp>
      <p:sp>
        <p:nvSpPr>
          <p:cNvPr id="18" name="Datumsplatzhalter 3"/>
          <p:cNvSpPr>
            <a:spLocks noGrp="1"/>
          </p:cNvSpPr>
          <p:nvPr>
            <p:ph type="dt" sz="half" idx="2"/>
          </p:nvPr>
        </p:nvSpPr>
        <p:spPr>
          <a:xfrm>
            <a:off x="70190" y="6531460"/>
            <a:ext cx="2625969" cy="288032"/>
          </a:xfrm>
          <a:prstGeom prst="rect">
            <a:avLst/>
          </a:prstGeom>
        </p:spPr>
        <p:txBody>
          <a:bodyPr anchor="t" anchorCtr="0"/>
          <a:lstStyle>
            <a:lvl1pPr algn="l">
              <a:defRPr sz="1000">
                <a:solidFill>
                  <a:schemeClr val="bg1">
                    <a:lumMod val="50000"/>
                  </a:schemeClr>
                </a:solidFill>
                <a:latin typeface="Calibri" pitchFamily="34" charset="0"/>
                <a:cs typeface="Calibri" pitchFamily="34" charset="0"/>
              </a:defRPr>
            </a:lvl1pPr>
          </a:lstStyle>
          <a:p>
            <a:pPr fontAlgn="base">
              <a:spcBef>
                <a:spcPct val="0"/>
              </a:spcBef>
              <a:spcAft>
                <a:spcPct val="0"/>
              </a:spcAft>
            </a:pPr>
            <a:r>
              <a:rPr lang="en-US">
                <a:solidFill>
                  <a:srgbClr val="FFFFFF">
                    <a:lumMod val="50000"/>
                  </a:srgbClr>
                </a:solidFill>
                <a:ea typeface="ＭＳ Ｐゴシック" charset="0"/>
              </a:rPr>
              <a:t>13 November 2017</a:t>
            </a:r>
            <a:endParaRPr lang="de-DE" dirty="0">
              <a:solidFill>
                <a:srgbClr val="FFFFFF">
                  <a:lumMod val="50000"/>
                </a:srgbClr>
              </a:solidFill>
              <a:ea typeface="ＭＳ Ｐゴシック" charset="0"/>
            </a:endParaRPr>
          </a:p>
        </p:txBody>
      </p:sp>
      <p:sp>
        <p:nvSpPr>
          <p:cNvPr id="19" name="Fußzeilenplatzhalter 4"/>
          <p:cNvSpPr>
            <a:spLocks noGrp="1"/>
          </p:cNvSpPr>
          <p:nvPr>
            <p:ph type="ftr" sz="quarter" idx="3"/>
          </p:nvPr>
        </p:nvSpPr>
        <p:spPr>
          <a:xfrm>
            <a:off x="4337690" y="6531460"/>
            <a:ext cx="3563815" cy="288032"/>
          </a:xfrm>
          <a:prstGeom prst="rect">
            <a:avLst/>
          </a:prstGeom>
        </p:spPr>
        <p:txBody>
          <a:bodyPr anchor="t" anchorCtr="0"/>
          <a:lstStyle>
            <a:lvl1pPr algn="ctr">
              <a:defRPr sz="1000">
                <a:solidFill>
                  <a:schemeClr val="bg1">
                    <a:lumMod val="50000"/>
                  </a:schemeClr>
                </a:solidFill>
                <a:latin typeface="Calibri" pitchFamily="34" charset="0"/>
                <a:cs typeface="Calibri" pitchFamily="34" charset="0"/>
              </a:defRPr>
            </a:lvl1pPr>
          </a:lstStyle>
          <a:p>
            <a:pPr fontAlgn="base">
              <a:spcBef>
                <a:spcPct val="0"/>
              </a:spcBef>
              <a:spcAft>
                <a:spcPct val="0"/>
              </a:spcAft>
            </a:pPr>
            <a:r>
              <a:rPr lang="en-US">
                <a:solidFill>
                  <a:srgbClr val="FFFFFF">
                    <a:lumMod val="50000"/>
                  </a:srgbClr>
                </a:solidFill>
                <a:ea typeface="ＭＳ Ｐゴシック" charset="0"/>
              </a:rPr>
              <a:t>PICASSO | SC Telco</a:t>
            </a:r>
            <a:endParaRPr lang="de-DE" dirty="0">
              <a:solidFill>
                <a:srgbClr val="FFFFFF">
                  <a:lumMod val="50000"/>
                </a:srgbClr>
              </a:solidFill>
              <a:ea typeface="ＭＳ Ｐゴシック" charset="0"/>
            </a:endParaRPr>
          </a:p>
        </p:txBody>
      </p:sp>
    </p:spTree>
    <p:extLst>
      <p:ext uri="{BB962C8B-B14F-4D97-AF65-F5344CB8AC3E}">
        <p14:creationId xmlns:p14="http://schemas.microsoft.com/office/powerpoint/2010/main" val="11725385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Main 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473" imgH="476" progId="TCLayout.ActiveDocument.1">
                  <p:embed/>
                </p:oleObj>
              </mc:Choice>
              <mc:Fallback>
                <p:oleObj name="think-cell Slide" r:id="rId4" imgW="473" imgH="476" progId="TCLayout.ActiveDocument.1">
                  <p:embed/>
                  <p:pic>
                    <p:nvPicPr>
                      <p:cNvPr id="12" name="Object 1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7" name="Image 106"/>
          <p:cNvPicPr>
            <a:picLocks noChangeAspect="1"/>
          </p:cNvPicPr>
          <p:nvPr userDrawn="1"/>
        </p:nvPicPr>
        <p:blipFill rotWithShape="1">
          <a:blip r:embed="rId6"/>
          <a:srcRect t="5382"/>
          <a:stretch/>
        </p:blipFill>
        <p:spPr>
          <a:xfrm>
            <a:off x="1" y="-27385"/>
            <a:ext cx="12191999" cy="1693102"/>
          </a:xfrm>
          <a:prstGeom prst="rect">
            <a:avLst/>
          </a:prstGeom>
        </p:spPr>
      </p:pic>
      <p:sp>
        <p:nvSpPr>
          <p:cNvPr id="8" name="Rectangle 7"/>
          <p:cNvSpPr/>
          <p:nvPr userDrawn="1"/>
        </p:nvSpPr>
        <p:spPr>
          <a:xfrm>
            <a:off x="-23073" y="4956390"/>
            <a:ext cx="11521280"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7" name="Rectangle 14"/>
          <p:cNvSpPr>
            <a:spLocks noChangeArrowheads="1"/>
          </p:cNvSpPr>
          <p:nvPr userDrawn="1"/>
        </p:nvSpPr>
        <p:spPr bwMode="auto">
          <a:xfrm>
            <a:off x="20237847" y="1114431"/>
            <a:ext cx="1847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r"/>
            <a:endParaRPr lang="cs-CZ">
              <a:solidFill>
                <a:srgbClr val="000000"/>
              </a:solidFill>
            </a:endParaRPr>
          </a:p>
        </p:txBody>
      </p:sp>
      <p:sp>
        <p:nvSpPr>
          <p:cNvPr id="9" name="Rectangle 15"/>
          <p:cNvSpPr>
            <a:spLocks noChangeArrowheads="1"/>
          </p:cNvSpPr>
          <p:nvPr userDrawn="1"/>
        </p:nvSpPr>
        <p:spPr bwMode="auto">
          <a:xfrm>
            <a:off x="20237847" y="3838581"/>
            <a:ext cx="1847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r"/>
            <a:endParaRPr lang="cs-CZ">
              <a:solidFill>
                <a:srgbClr val="000000"/>
              </a:solidFill>
            </a:endParaRPr>
          </a:p>
        </p:txBody>
      </p:sp>
      <p:sp>
        <p:nvSpPr>
          <p:cNvPr id="13" name="Rectangle 16"/>
          <p:cNvSpPr>
            <a:spLocks noChangeArrowheads="1"/>
          </p:cNvSpPr>
          <p:nvPr userDrawn="1"/>
        </p:nvSpPr>
        <p:spPr bwMode="auto">
          <a:xfrm>
            <a:off x="20237847" y="5743581"/>
            <a:ext cx="18473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algn="r"/>
            <a:endParaRPr lang="cs-CZ">
              <a:solidFill>
                <a:srgbClr val="000000"/>
              </a:solidFill>
            </a:endParaRPr>
          </a:p>
        </p:txBody>
      </p:sp>
      <p:sp>
        <p:nvSpPr>
          <p:cNvPr id="17" name="Rectangle 38"/>
          <p:cNvSpPr>
            <a:spLocks noChangeArrowheads="1"/>
          </p:cNvSpPr>
          <p:nvPr userDrawn="1"/>
        </p:nvSpPr>
        <p:spPr bwMode="auto">
          <a:xfrm>
            <a:off x="3041650" y="2687072"/>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18" name="Rectangle 39"/>
          <p:cNvSpPr>
            <a:spLocks noChangeArrowheads="1"/>
          </p:cNvSpPr>
          <p:nvPr userDrawn="1"/>
        </p:nvSpPr>
        <p:spPr bwMode="auto">
          <a:xfrm>
            <a:off x="3041650" y="342049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19" name="Rectangle 40"/>
          <p:cNvSpPr>
            <a:spLocks noChangeArrowheads="1"/>
          </p:cNvSpPr>
          <p:nvPr userDrawn="1"/>
        </p:nvSpPr>
        <p:spPr bwMode="auto">
          <a:xfrm>
            <a:off x="3041650" y="412534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20" name="Rectangle 41"/>
          <p:cNvSpPr>
            <a:spLocks noChangeArrowheads="1"/>
          </p:cNvSpPr>
          <p:nvPr userDrawn="1"/>
        </p:nvSpPr>
        <p:spPr bwMode="auto">
          <a:xfrm>
            <a:off x="3041650" y="4858772"/>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21" name="Rectangle 42"/>
          <p:cNvSpPr>
            <a:spLocks noChangeArrowheads="1"/>
          </p:cNvSpPr>
          <p:nvPr userDrawn="1"/>
        </p:nvSpPr>
        <p:spPr bwMode="auto">
          <a:xfrm>
            <a:off x="3041650" y="534454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cs-CZ">
              <a:solidFill>
                <a:srgbClr val="000000"/>
              </a:solidFill>
            </a:endParaRPr>
          </a:p>
        </p:txBody>
      </p:sp>
      <p:sp>
        <p:nvSpPr>
          <p:cNvPr id="114" name="Titre 1"/>
          <p:cNvSpPr txBox="1">
            <a:spLocks/>
          </p:cNvSpPr>
          <p:nvPr userDrawn="1"/>
        </p:nvSpPr>
        <p:spPr>
          <a:xfrm>
            <a:off x="618781" y="1911156"/>
            <a:ext cx="4752528" cy="1470025"/>
          </a:xfrm>
          <a:prstGeom prst="rect">
            <a:avLst/>
          </a:prstGeom>
        </p:spPr>
        <p:txBody>
          <a:bodyPr vert="horz" lIns="91440" tIns="45720" rIns="91440" bIns="45720" rtlCol="0" anchor="b">
            <a:noAutofit/>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algn="l">
              <a:spcBef>
                <a:spcPts val="0"/>
              </a:spcBef>
            </a:pPr>
            <a:r>
              <a:rPr lang="en-US" sz="4400" b="1" dirty="0">
                <a:solidFill>
                  <a:srgbClr val="1F497D"/>
                </a:solidFill>
                <a:latin typeface="Tw Cen MT Condensed" panose="020B0606020104020203" pitchFamily="34" charset="-18"/>
                <a:cs typeface="Arial" pitchFamily="34" charset="0"/>
              </a:rPr>
              <a:t>MARI </a:t>
            </a:r>
          </a:p>
          <a:p>
            <a:pPr algn="l">
              <a:spcBef>
                <a:spcPts val="0"/>
              </a:spcBef>
            </a:pPr>
            <a:r>
              <a:rPr lang="en-US" sz="1600" dirty="0">
                <a:solidFill>
                  <a:srgbClr val="1F497D"/>
                </a:solidFill>
                <a:latin typeface="Tw Cen MT Condensed" panose="020B0606020104020203" pitchFamily="34" charset="-18"/>
                <a:cs typeface="Arial" pitchFamily="34" charset="0"/>
              </a:rPr>
              <a:t>Manually Activated Reserves </a:t>
            </a:r>
            <a:r>
              <a:rPr lang="en-US" sz="1600">
                <a:solidFill>
                  <a:srgbClr val="1F497D"/>
                </a:solidFill>
                <a:latin typeface="Tw Cen MT Condensed" panose="020B0606020104020203" pitchFamily="34" charset="-18"/>
                <a:cs typeface="Arial" pitchFamily="34" charset="0"/>
              </a:rPr>
              <a:t>Initiative </a:t>
            </a:r>
            <a:endParaRPr lang="en-US" sz="1600" dirty="0">
              <a:solidFill>
                <a:srgbClr val="1F497D"/>
              </a:solidFill>
              <a:latin typeface="Tw Cen MT Condensed" panose="020B0606020104020203" pitchFamily="34" charset="-18"/>
              <a:cs typeface="Arial" pitchFamily="34" charset="0"/>
            </a:endParaRPr>
          </a:p>
        </p:txBody>
      </p:sp>
      <p:pic>
        <p:nvPicPr>
          <p:cNvPr id="113" name="Picture 84" descr="50hertzlogo_RGB"/>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849005" y="1576176"/>
            <a:ext cx="682654" cy="270544"/>
          </a:xfrm>
          <a:prstGeom prst="rect">
            <a:avLst/>
          </a:prstGeom>
          <a:noFill/>
          <a:ln>
            <a:noFill/>
          </a:ln>
          <a:extLst/>
        </p:spPr>
      </p:pic>
      <p:pic>
        <p:nvPicPr>
          <p:cNvPr id="115" name="Obrázek 1"/>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951870" y="2306766"/>
            <a:ext cx="464721" cy="256444"/>
          </a:xfrm>
          <a:prstGeom prst="rect">
            <a:avLst/>
          </a:prstGeom>
          <a:noFill/>
          <a:ln>
            <a:noFill/>
          </a:ln>
        </p:spPr>
      </p:pic>
      <p:pic>
        <p:nvPicPr>
          <p:cNvPr id="116" name="Grafik 23"/>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112969" y="3951633"/>
            <a:ext cx="641379" cy="123521"/>
          </a:xfrm>
          <a:prstGeom prst="rect">
            <a:avLst/>
          </a:prstGeom>
        </p:spPr>
      </p:pic>
      <p:pic>
        <p:nvPicPr>
          <p:cNvPr id="117" name="Picture 88" descr="TransnetBW_Logo_Pantone"/>
          <p:cNvPicPr>
            <a:picLocks noChangeAspect="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9032670" y="4678338"/>
            <a:ext cx="1085678" cy="123092"/>
          </a:xfrm>
          <a:prstGeom prst="rect">
            <a:avLst/>
          </a:prstGeom>
          <a:noFill/>
          <a:ln>
            <a:noFill/>
          </a:ln>
          <a:extLst/>
        </p:spPr>
      </p:pic>
      <p:pic>
        <p:nvPicPr>
          <p:cNvPr id="118" name="Picture 82" descr="Amprion_RGB_CO_50mm"/>
          <p:cNvPicPr>
            <a:picLocks noChangeAspect="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0015471" y="3120684"/>
            <a:ext cx="462500" cy="206439"/>
          </a:xfrm>
          <a:prstGeom prst="rect">
            <a:avLst/>
          </a:prstGeom>
          <a:noFill/>
          <a:ln>
            <a:noFill/>
          </a:ln>
          <a:extLst/>
        </p:spPr>
      </p:pic>
      <p:pic>
        <p:nvPicPr>
          <p:cNvPr id="119" name="Picture 89" descr="logo_ceps"/>
          <p:cNvPicPr>
            <a:picLocks noChangeAspect="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9999993" y="3506586"/>
            <a:ext cx="534405" cy="200026"/>
          </a:xfrm>
          <a:prstGeom prst="rect">
            <a:avLst/>
          </a:prstGeom>
          <a:noFill/>
          <a:extLst/>
        </p:spPr>
      </p:pic>
      <p:pic>
        <p:nvPicPr>
          <p:cNvPr id="120" name="Picture 90" descr="elia_logo"/>
          <p:cNvPicPr>
            <a:picLocks noChangeAspect="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9121392" y="4217886"/>
            <a:ext cx="628060" cy="212852"/>
          </a:xfrm>
          <a:prstGeom prst="rect">
            <a:avLst/>
          </a:prstGeom>
          <a:noFill/>
          <a:extLst/>
        </p:spPr>
      </p:pic>
      <p:pic>
        <p:nvPicPr>
          <p:cNvPr id="121" name="Obrázek 17"/>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0878049" y="2869188"/>
            <a:ext cx="307150" cy="295764"/>
          </a:xfrm>
          <a:prstGeom prst="rect">
            <a:avLst/>
          </a:prstGeom>
        </p:spPr>
      </p:pic>
      <p:pic>
        <p:nvPicPr>
          <p:cNvPr id="122" name="Picture 87" descr="gfx_swissgrid_logo"/>
          <p:cNvPicPr>
            <a:picLocks noChangeAspect="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0772629" y="4009743"/>
            <a:ext cx="644484" cy="131640"/>
          </a:xfrm>
          <a:prstGeom prst="rect">
            <a:avLst/>
          </a:prstGeom>
          <a:noFill/>
          <a:extLst/>
        </p:spPr>
      </p:pic>
      <p:pic>
        <p:nvPicPr>
          <p:cNvPr id="123" name="Picture 83" descr="Tennet_Logo"/>
          <p:cNvPicPr>
            <a:picLocks noChangeAspect="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9011702" y="3146645"/>
            <a:ext cx="683102" cy="153013"/>
          </a:xfrm>
          <a:prstGeom prst="rect">
            <a:avLst/>
          </a:prstGeom>
          <a:noFill/>
          <a:ln>
            <a:noFill/>
          </a:ln>
          <a:extLst/>
        </p:spPr>
      </p:pic>
      <p:pic>
        <p:nvPicPr>
          <p:cNvPr id="124" name="Picture 3"/>
          <p:cNvPicPr>
            <a:picLocks noChangeAspect="1" noChangeArrowheads="1"/>
          </p:cNvPicPr>
          <p:nvPr userDrawn="1"/>
        </p:nvPicPr>
        <p:blipFill rotWithShape="1">
          <a:blip r:embed="rId17" cstate="print">
            <a:clrChange>
              <a:clrFrom>
                <a:srgbClr val="FFFFFF"/>
              </a:clrFrom>
              <a:clrTo>
                <a:srgbClr val="FFFFFF">
                  <a:alpha val="0"/>
                </a:srgbClr>
              </a:clrTo>
            </a:clrChange>
          </a:blip>
          <a:srcRect l="-1641" t="7138" r="5736" b="7138"/>
          <a:stretch/>
        </p:blipFill>
        <p:spPr bwMode="auto">
          <a:xfrm>
            <a:off x="10671043" y="1479419"/>
            <a:ext cx="872341" cy="193848"/>
          </a:xfrm>
          <a:prstGeom prst="rect">
            <a:avLst/>
          </a:prstGeom>
          <a:noFill/>
          <a:ln w="9525">
            <a:noFill/>
            <a:miter lim="800000"/>
            <a:headEnd/>
            <a:tailEnd/>
          </a:ln>
        </p:spPr>
      </p:pic>
      <p:pic>
        <p:nvPicPr>
          <p:cNvPr id="125" name="Picture 2"/>
          <p:cNvPicPr>
            <a:picLocks noChangeAspect="1" noChangeArrowheads="1"/>
          </p:cNvPicPr>
          <p:nvPr userDrawn="1"/>
        </p:nvPicPr>
        <p:blipFill>
          <a:blip r:embed="rId18" cstate="print">
            <a:clrChange>
              <a:clrFrom>
                <a:srgbClr val="FDFDFD"/>
              </a:clrFrom>
              <a:clrTo>
                <a:srgbClr val="FDFDFD">
                  <a:alpha val="0"/>
                </a:srgbClr>
              </a:clrTo>
            </a:clrChange>
          </a:blip>
          <a:srcRect/>
          <a:stretch>
            <a:fillRect/>
          </a:stretch>
        </p:blipFill>
        <p:spPr bwMode="auto">
          <a:xfrm>
            <a:off x="10920181" y="4314092"/>
            <a:ext cx="555506" cy="218076"/>
          </a:xfrm>
          <a:prstGeom prst="rect">
            <a:avLst/>
          </a:prstGeom>
          <a:noFill/>
          <a:ln w="9525">
            <a:noFill/>
            <a:miter lim="800000"/>
            <a:headEnd/>
            <a:tailEnd/>
          </a:ln>
        </p:spPr>
      </p:pic>
      <p:pic>
        <p:nvPicPr>
          <p:cNvPr id="126" name="Picture 1"/>
          <p:cNvPicPr>
            <a:picLocks noChangeAspect="1" noChangeArrowheads="1"/>
          </p:cNvPicPr>
          <p:nvPr userDrawn="1"/>
        </p:nvPicPr>
        <p:blipFill>
          <a:blip r:embed="rId19" cstate="print">
            <a:clrChange>
              <a:clrFrom>
                <a:srgbClr val="FFFFFF"/>
              </a:clrFrom>
              <a:clrTo>
                <a:srgbClr val="FFFFFF">
                  <a:alpha val="0"/>
                </a:srgbClr>
              </a:clrTo>
            </a:clrChange>
          </a:blip>
          <a:srcRect/>
          <a:stretch>
            <a:fillRect/>
          </a:stretch>
        </p:blipFill>
        <p:spPr bwMode="auto">
          <a:xfrm>
            <a:off x="10015470" y="1914951"/>
            <a:ext cx="349975" cy="266540"/>
          </a:xfrm>
          <a:prstGeom prst="rect">
            <a:avLst/>
          </a:prstGeom>
          <a:noFill/>
          <a:ln w="9525">
            <a:noFill/>
            <a:miter lim="800000"/>
            <a:headEnd/>
            <a:tailEnd/>
          </a:ln>
        </p:spPr>
      </p:pic>
      <p:pic>
        <p:nvPicPr>
          <p:cNvPr id="127" name="Imagen 10"/>
          <p:cNvPicPr>
            <a:picLocks noChangeAspect="1"/>
          </p:cNvPicPr>
          <p:nvPr userDrawn="1"/>
        </p:nvPicPr>
        <p:blipFill>
          <a:blip r:embed="rId20"/>
          <a:srcRect/>
          <a:stretch>
            <a:fillRect/>
          </a:stretch>
        </p:blipFill>
        <p:spPr bwMode="auto">
          <a:xfrm>
            <a:off x="10774835" y="2156909"/>
            <a:ext cx="708298" cy="205963"/>
          </a:xfrm>
          <a:prstGeom prst="rect">
            <a:avLst/>
          </a:prstGeom>
          <a:noFill/>
          <a:ln w="9525">
            <a:noFill/>
            <a:miter lim="800000"/>
            <a:headEnd/>
            <a:tailEnd/>
          </a:ln>
        </p:spPr>
      </p:pic>
      <p:pic>
        <p:nvPicPr>
          <p:cNvPr id="128" name="Picture 2" descr="C:\Users\R998947\Desktop\Alles\mFRR_Gross\Orga\logo_liggande_76-160mm150dpi_black_eng.png"/>
          <p:cNvPicPr>
            <a:picLocks noChangeAspect="1" noChangeArrowheads="1"/>
          </p:cNvPicPr>
          <p:nvPr userDrawn="1"/>
        </p:nvPicPr>
        <p:blipFill>
          <a:blip r:embed="rId21" cstate="print">
            <a:extLst>
              <a:ext uri="{28A0092B-C50C-407E-A947-70E740481C1C}">
                <a14:useLocalDpi xmlns:a14="http://schemas.microsoft.com/office/drawing/2010/main" val="0"/>
              </a:ext>
            </a:extLst>
          </a:blip>
          <a:srcRect/>
          <a:stretch>
            <a:fillRect/>
          </a:stretch>
        </p:blipFill>
        <p:spPr bwMode="auto">
          <a:xfrm>
            <a:off x="10724961" y="3617514"/>
            <a:ext cx="649383" cy="193848"/>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2"/>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10731118" y="4705366"/>
            <a:ext cx="809856" cy="102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0" name="Picture 2"/>
          <p:cNvPicPr>
            <a:picLocks noChangeAspect="1" noChangeArrowheads="1"/>
          </p:cNvPicPr>
          <p:nvPr userDrawn="1"/>
        </p:nvPicPr>
        <p:blipFill>
          <a:blip r:embed="rId23" cstate="print">
            <a:extLst>
              <a:ext uri="{28A0092B-C50C-407E-A947-70E740481C1C}">
                <a14:useLocalDpi xmlns:a14="http://schemas.microsoft.com/office/drawing/2010/main" val="0"/>
              </a:ext>
            </a:extLst>
          </a:blip>
          <a:srcRect/>
          <a:stretch>
            <a:fillRect/>
          </a:stretch>
        </p:blipFill>
        <p:spPr bwMode="auto">
          <a:xfrm>
            <a:off x="10782023" y="2589236"/>
            <a:ext cx="578766" cy="155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1" name="Picture 130"/>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10811453" y="3345489"/>
            <a:ext cx="539924" cy="108744"/>
          </a:xfrm>
          <a:prstGeom prst="rect">
            <a:avLst/>
          </a:prstGeom>
        </p:spPr>
      </p:pic>
      <p:pic>
        <p:nvPicPr>
          <p:cNvPr id="132" name="Picture 131"/>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10039575" y="3888904"/>
            <a:ext cx="381464" cy="164096"/>
          </a:xfrm>
          <a:prstGeom prst="rect">
            <a:avLst/>
          </a:prstGeom>
        </p:spPr>
      </p:pic>
      <p:pic>
        <p:nvPicPr>
          <p:cNvPr id="134" name="Obraz 2"/>
          <p:cNvPicPr>
            <a:picLocks noChangeAspect="1"/>
          </p:cNvPicPr>
          <p:nvPr userDrawn="1"/>
        </p:nvPicPr>
        <p:blipFill rotWithShape="1">
          <a:blip r:embed="rId26" cstate="print">
            <a:extLst>
              <a:ext uri="{28A0092B-C50C-407E-A947-70E740481C1C}">
                <a14:useLocalDpi xmlns:a14="http://schemas.microsoft.com/office/drawing/2010/main" val="0"/>
              </a:ext>
            </a:extLst>
          </a:blip>
          <a:srcRect l="60508" t="17284" r="27059" b="16193"/>
          <a:stretch/>
        </p:blipFill>
        <p:spPr bwMode="auto">
          <a:xfrm>
            <a:off x="10774340" y="1760408"/>
            <a:ext cx="401947" cy="169107"/>
          </a:xfrm>
          <a:prstGeom prst="rect">
            <a:avLst/>
          </a:prstGeom>
          <a:noFill/>
          <a:ln>
            <a:noFill/>
          </a:ln>
          <a:extLst>
            <a:ext uri="{53640926-AAD7-44D8-BBD7-CCE9431645EC}">
              <a14:shadowObscured xmlns:a14="http://schemas.microsoft.com/office/drawing/2010/main"/>
            </a:ext>
          </a:extLst>
        </p:spPr>
      </p:pic>
      <p:pic>
        <p:nvPicPr>
          <p:cNvPr id="135" name="Picture 134"/>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9999994" y="4206483"/>
            <a:ext cx="526351" cy="192227"/>
          </a:xfrm>
          <a:prstGeom prst="rect">
            <a:avLst/>
          </a:prstGeom>
        </p:spPr>
      </p:pic>
      <p:pic>
        <p:nvPicPr>
          <p:cNvPr id="136" name="Picture 135" descr="Litgrid_CMYK_sodri_melyna_300"/>
          <p:cNvPicPr>
            <a:picLocks noChangeAspect="1"/>
          </p:cNvPicPr>
          <p:nvPr userDrawn="1"/>
        </p:nvPicPr>
        <p:blipFill>
          <a:blip r:embed="rId28" cstate="print">
            <a:extLst>
              <a:ext uri="{28A0092B-C50C-407E-A947-70E740481C1C}">
                <a14:useLocalDpi xmlns:a14="http://schemas.microsoft.com/office/drawing/2010/main" val="0"/>
              </a:ext>
            </a:extLst>
          </a:blip>
          <a:srcRect/>
          <a:stretch>
            <a:fillRect/>
          </a:stretch>
        </p:blipFill>
        <p:spPr bwMode="auto">
          <a:xfrm>
            <a:off x="9367232" y="3446085"/>
            <a:ext cx="227589" cy="284487"/>
          </a:xfrm>
          <a:prstGeom prst="rect">
            <a:avLst/>
          </a:prstGeom>
          <a:noFill/>
        </p:spPr>
      </p:pic>
      <p:pic>
        <p:nvPicPr>
          <p:cNvPr id="137" name="Picture 136"/>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9347896" y="2594627"/>
            <a:ext cx="293738" cy="283365"/>
          </a:xfrm>
          <a:prstGeom prst="rect">
            <a:avLst/>
          </a:prstGeom>
        </p:spPr>
      </p:pic>
      <p:sp>
        <p:nvSpPr>
          <p:cNvPr id="175" name="Freeform 54"/>
          <p:cNvSpPr>
            <a:spLocks noChangeAspect="1"/>
          </p:cNvSpPr>
          <p:nvPr/>
        </p:nvSpPr>
        <p:spPr bwMode="auto">
          <a:xfrm>
            <a:off x="9396626" y="5495898"/>
            <a:ext cx="17025" cy="19298"/>
          </a:xfrm>
          <a:custGeom>
            <a:avLst/>
            <a:gdLst/>
            <a:ahLst/>
            <a:cxnLst>
              <a:cxn ang="0">
                <a:pos x="0" y="6"/>
              </a:cxn>
              <a:cxn ang="0">
                <a:pos x="0" y="0"/>
              </a:cxn>
              <a:cxn ang="0">
                <a:pos x="35" y="20"/>
              </a:cxn>
              <a:cxn ang="0">
                <a:pos x="25" y="46"/>
              </a:cxn>
              <a:cxn ang="0">
                <a:pos x="10" y="46"/>
              </a:cxn>
              <a:cxn ang="0">
                <a:pos x="5" y="25"/>
              </a:cxn>
              <a:cxn ang="0">
                <a:pos x="0" y="6"/>
              </a:cxn>
            </a:cxnLst>
            <a:rect l="0" t="0" r="r" b="b"/>
            <a:pathLst>
              <a:path w="35" h="46">
                <a:moveTo>
                  <a:pt x="0" y="6"/>
                </a:moveTo>
                <a:lnTo>
                  <a:pt x="0" y="0"/>
                </a:lnTo>
                <a:lnTo>
                  <a:pt x="35" y="20"/>
                </a:lnTo>
                <a:lnTo>
                  <a:pt x="25" y="46"/>
                </a:lnTo>
                <a:lnTo>
                  <a:pt x="10" y="46"/>
                </a:lnTo>
                <a:lnTo>
                  <a:pt x="5" y="25"/>
                </a:lnTo>
                <a:lnTo>
                  <a:pt x="0" y="6"/>
                </a:lnTo>
                <a:close/>
              </a:path>
            </a:pathLst>
          </a:custGeom>
          <a:solidFill>
            <a:srgbClr val="B4C8E6"/>
          </a:solidFill>
          <a:ln w="11113">
            <a:noFill/>
            <a:prstDash val="solid"/>
            <a:round/>
            <a:headEnd/>
            <a:tailEnd/>
          </a:ln>
        </p:spPr>
        <p:txBody>
          <a:bodyPr/>
          <a:lstStyle/>
          <a:p>
            <a:pPr>
              <a:defRPr/>
            </a:pPr>
            <a:endParaRPr lang="en-US" sz="2400">
              <a:solidFill>
                <a:srgbClr val="000000"/>
              </a:solidFill>
            </a:endParaRPr>
          </a:p>
        </p:txBody>
      </p:sp>
      <p:sp>
        <p:nvSpPr>
          <p:cNvPr id="204" name="Espace réservé du contenu 2"/>
          <p:cNvSpPr>
            <a:spLocks noGrp="1"/>
          </p:cNvSpPr>
          <p:nvPr userDrawn="1">
            <p:ph idx="1" hasCustomPrompt="1"/>
          </p:nvPr>
        </p:nvSpPr>
        <p:spPr>
          <a:xfrm>
            <a:off x="618781" y="4195691"/>
            <a:ext cx="3899046" cy="752089"/>
          </a:xfrm>
          <a:prstGeom prst="rect">
            <a:avLst/>
          </a:prstGeom>
        </p:spPr>
        <p:txBody>
          <a:bodyPr>
            <a:normAutofit/>
          </a:bodyPr>
          <a:lstStyle>
            <a:lvl1pPr marL="0" indent="0">
              <a:buNone/>
              <a:defRPr sz="2400">
                <a:latin typeface="Calibri" panose="020F0502020204030204" pitchFamily="34" charset="0"/>
                <a:cs typeface="Calibri" panose="020F0502020204030204" pitchFamily="34" charset="0"/>
              </a:defRPr>
            </a:lvl1pPr>
          </a:lstStyle>
          <a:p>
            <a:r>
              <a:rPr lang="sk-SK" sz="2400" b="1" dirty="0">
                <a:solidFill>
                  <a:srgbClr val="000000"/>
                </a:solidFill>
                <a:latin typeface="Calibri Light" panose="020F0302020204030204"/>
                <a:cs typeface="Arial" pitchFamily="34" charset="0"/>
              </a:rPr>
              <a:t>TWG/SC </a:t>
            </a:r>
            <a:r>
              <a:rPr lang="sk-SK" sz="2400" b="1" dirty="0" err="1">
                <a:solidFill>
                  <a:srgbClr val="000000"/>
                </a:solidFill>
                <a:latin typeface="Calibri Light" panose="020F0302020204030204"/>
                <a:cs typeface="Arial" pitchFamily="34" charset="0"/>
              </a:rPr>
              <a:t>Physical</a:t>
            </a:r>
            <a:r>
              <a:rPr lang="sk-SK" sz="2400" b="1" dirty="0">
                <a:solidFill>
                  <a:srgbClr val="000000"/>
                </a:solidFill>
                <a:latin typeface="Calibri Light" panose="020F0302020204030204"/>
                <a:cs typeface="Arial" pitchFamily="34" charset="0"/>
              </a:rPr>
              <a:t> </a:t>
            </a:r>
            <a:r>
              <a:rPr lang="en-US" sz="2400" b="1" dirty="0">
                <a:solidFill>
                  <a:srgbClr val="000000"/>
                </a:solidFill>
                <a:latin typeface="Calibri Light" panose="020F0302020204030204"/>
                <a:cs typeface="Arial" pitchFamily="34" charset="0"/>
              </a:rPr>
              <a:t>Meeting</a:t>
            </a:r>
            <a:r>
              <a:rPr lang="sk-SK" sz="2400" b="1" dirty="0">
                <a:solidFill>
                  <a:srgbClr val="000000"/>
                </a:solidFill>
                <a:latin typeface="Calibri Light" panose="020F0302020204030204"/>
                <a:cs typeface="Arial" pitchFamily="34" charset="0"/>
              </a:rPr>
              <a:t>/ </a:t>
            </a:r>
            <a:r>
              <a:rPr lang="sk-SK" sz="2400" b="1" dirty="0" err="1">
                <a:solidFill>
                  <a:srgbClr val="000000"/>
                </a:solidFill>
                <a:latin typeface="Calibri Light" panose="020F0302020204030204"/>
                <a:cs typeface="Arial" pitchFamily="34" charset="0"/>
              </a:rPr>
              <a:t>Teleconference</a:t>
            </a:r>
            <a:endParaRPr lang="en-US" sz="2400" b="1" dirty="0">
              <a:solidFill>
                <a:srgbClr val="000000"/>
              </a:solidFill>
              <a:latin typeface="Calibri Light" panose="020F0302020204030204"/>
              <a:cs typeface="Arial" pitchFamily="34" charset="0"/>
            </a:endParaRPr>
          </a:p>
        </p:txBody>
      </p:sp>
      <p:sp>
        <p:nvSpPr>
          <p:cNvPr id="205" name="Espace réservé du contenu 2"/>
          <p:cNvSpPr>
            <a:spLocks noGrp="1"/>
          </p:cNvSpPr>
          <p:nvPr userDrawn="1">
            <p:ph idx="13" hasCustomPrompt="1"/>
          </p:nvPr>
        </p:nvSpPr>
        <p:spPr>
          <a:xfrm>
            <a:off x="619124" y="5123938"/>
            <a:ext cx="3899046" cy="752089"/>
          </a:xfrm>
          <a:prstGeom prst="rect">
            <a:avLst/>
          </a:prstGeom>
        </p:spPr>
        <p:txBody>
          <a:bodyPr>
            <a:normAutofit/>
          </a:bodyPr>
          <a:lstStyle>
            <a:lvl1pPr marL="0" indent="0">
              <a:buNone/>
              <a:defRPr sz="1600" b="0" i="1" baseline="0">
                <a:latin typeface="+mn-lt"/>
              </a:defRPr>
            </a:lvl1pPr>
          </a:lstStyle>
          <a:p>
            <a:pPr lvl="0"/>
            <a:r>
              <a:rPr lang="en-US"/>
              <a:t>xx Month 2018</a:t>
            </a:r>
            <a:r>
              <a:rPr lang="sk-SK"/>
              <a:t>                                               </a:t>
            </a:r>
            <a:r>
              <a:rPr lang="en-US"/>
              <a:t>City, Country</a:t>
            </a:r>
          </a:p>
        </p:txBody>
      </p:sp>
      <p:pic>
        <p:nvPicPr>
          <p:cNvPr id="3" name="Picture 2"/>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9878735" y="2678596"/>
            <a:ext cx="566088" cy="369834"/>
          </a:xfrm>
          <a:prstGeom prst="rect">
            <a:avLst/>
          </a:prstGeom>
        </p:spPr>
      </p:pic>
      <p:pic>
        <p:nvPicPr>
          <p:cNvPr id="284" name="Picture 283" descr="H:\PMO\loga2\3.PNG"/>
          <p:cNvPicPr>
            <a:picLocks noChangeAspect="1"/>
          </p:cNvPicPr>
          <p:nvPr userDrawn="1"/>
        </p:nvPicPr>
        <p:blipFill>
          <a:blip r:embed="rId31" cstate="print">
            <a:extLst>
              <a:ext uri="{28A0092B-C50C-407E-A947-70E740481C1C}">
                <a14:useLocalDpi xmlns:a14="http://schemas.microsoft.com/office/drawing/2010/main" val="0"/>
              </a:ext>
            </a:extLst>
          </a:blip>
          <a:srcRect/>
          <a:stretch>
            <a:fillRect/>
          </a:stretch>
        </p:blipFill>
        <p:spPr bwMode="auto">
          <a:xfrm>
            <a:off x="9289260" y="1516908"/>
            <a:ext cx="388977" cy="283218"/>
          </a:xfrm>
          <a:prstGeom prst="rect">
            <a:avLst/>
          </a:prstGeom>
          <a:noFill/>
          <a:extLst/>
        </p:spPr>
      </p:pic>
      <p:pic>
        <p:nvPicPr>
          <p:cNvPr id="286" name="Picture 285"/>
          <p:cNvPicPr>
            <a:picLocks noChangeAspect="1"/>
          </p:cNvPicPr>
          <p:nvPr userDrawn="1"/>
        </p:nvPicPr>
        <p:blipFill rotWithShape="1">
          <a:blip r:embed="rId32" cstate="print">
            <a:extLst>
              <a:ext uri="{28A0092B-C50C-407E-A947-70E740481C1C}">
                <a14:useLocalDpi xmlns:a14="http://schemas.microsoft.com/office/drawing/2010/main" val="0"/>
              </a:ext>
            </a:extLst>
          </a:blip>
          <a:srcRect l="12734" t="20232" r="75723" b="70979"/>
          <a:stretch/>
        </p:blipFill>
        <p:spPr bwMode="auto">
          <a:xfrm>
            <a:off x="9237027" y="1872663"/>
            <a:ext cx="435583" cy="224626"/>
          </a:xfrm>
          <a:prstGeom prst="rect">
            <a:avLst/>
          </a:prstGeom>
          <a:ln>
            <a:noFill/>
          </a:ln>
          <a:extLst>
            <a:ext uri="{53640926-AAD7-44D8-BBD7-CCE9431645EC}">
              <a14:shadowObscured xmlns:a14="http://schemas.microsoft.com/office/drawing/2010/main"/>
            </a:ext>
          </a:extLst>
        </p:spPr>
      </p:pic>
      <p:pic>
        <p:nvPicPr>
          <p:cNvPr id="287" name="Picture 286" descr="cid:image003.jpg@01CF0E1A.B55AF790"/>
          <p:cNvPicPr>
            <a:picLocks noChangeAspect="1"/>
          </p:cNvPicPr>
          <p:nvPr userDrawn="1"/>
        </p:nvPicPr>
        <p:blipFill>
          <a:blip r:embed="rId33" r:link="rId34" cstate="print">
            <a:extLst>
              <a:ext uri="{28A0092B-C50C-407E-A947-70E740481C1C}">
                <a14:useLocalDpi xmlns:a14="http://schemas.microsoft.com/office/drawing/2010/main" val="0"/>
              </a:ext>
            </a:extLst>
          </a:blip>
          <a:srcRect/>
          <a:stretch>
            <a:fillRect/>
          </a:stretch>
        </p:blipFill>
        <p:spPr bwMode="auto">
          <a:xfrm>
            <a:off x="9311916" y="2221419"/>
            <a:ext cx="353171" cy="202982"/>
          </a:xfrm>
          <a:prstGeom prst="rect">
            <a:avLst/>
          </a:prstGeom>
          <a:noFill/>
          <a:ln>
            <a:noFill/>
          </a:ln>
        </p:spPr>
      </p:pic>
      <p:pic>
        <p:nvPicPr>
          <p:cNvPr id="288" name="Picture 287"/>
          <p:cNvPicPr>
            <a:picLocks noChangeAspect="1"/>
          </p:cNvPicPr>
          <p:nvPr userDrawn="1"/>
        </p:nvPicPr>
        <p:blipFill>
          <a:blip r:embed="rId35">
            <a:duotone>
              <a:schemeClr val="accent4">
                <a:shade val="45000"/>
                <a:satMod val="135000"/>
              </a:schemeClr>
              <a:prstClr val="white"/>
            </a:duotone>
          </a:blip>
          <a:stretch>
            <a:fillRect/>
          </a:stretch>
        </p:blipFill>
        <p:spPr>
          <a:xfrm>
            <a:off x="9385353" y="5583807"/>
            <a:ext cx="570791" cy="216504"/>
          </a:xfrm>
          <a:prstGeom prst="rect">
            <a:avLst/>
          </a:prstGeom>
        </p:spPr>
      </p:pic>
      <p:pic>
        <p:nvPicPr>
          <p:cNvPr id="289" name="Picture 288"/>
          <p:cNvPicPr>
            <a:picLocks noChangeAspect="1"/>
          </p:cNvPicPr>
          <p:nvPr userDrawn="1"/>
        </p:nvPicPr>
        <p:blipFill rotWithShape="1">
          <a:blip r:embed="rId36">
            <a:duotone>
              <a:schemeClr val="accent4">
                <a:shade val="45000"/>
                <a:satMod val="135000"/>
              </a:schemeClr>
              <a:prstClr val="white"/>
            </a:duotone>
          </a:blip>
          <a:srcRect l="15494" t="32057" r="11477" b="27080"/>
          <a:stretch/>
        </p:blipFill>
        <p:spPr bwMode="auto">
          <a:xfrm>
            <a:off x="10218315" y="5447332"/>
            <a:ext cx="508327" cy="160073"/>
          </a:xfrm>
          <a:prstGeom prst="rect">
            <a:avLst/>
          </a:prstGeom>
          <a:ln>
            <a:noFill/>
          </a:ln>
          <a:extLst>
            <a:ext uri="{53640926-AAD7-44D8-BBD7-CCE9431645EC}">
              <a14:shadowObscured xmlns:a14="http://schemas.microsoft.com/office/drawing/2010/main"/>
            </a:ext>
          </a:extLst>
        </p:spPr>
      </p:pic>
      <p:pic>
        <p:nvPicPr>
          <p:cNvPr id="290" name="Picture 289"/>
          <p:cNvPicPr>
            <a:picLocks noChangeAspect="1"/>
          </p:cNvPicPr>
          <p:nvPr userDrawn="1"/>
        </p:nvPicPr>
        <p:blipFill>
          <a:blip r:embed="rId37">
            <a:duotone>
              <a:schemeClr val="accent4">
                <a:shade val="45000"/>
                <a:satMod val="135000"/>
              </a:schemeClr>
              <a:prstClr val="white"/>
            </a:duotone>
          </a:blip>
          <a:stretch>
            <a:fillRect/>
          </a:stretch>
        </p:blipFill>
        <p:spPr>
          <a:xfrm>
            <a:off x="10218314" y="5813045"/>
            <a:ext cx="493587" cy="148573"/>
          </a:xfrm>
          <a:prstGeom prst="rect">
            <a:avLst/>
          </a:prstGeom>
        </p:spPr>
      </p:pic>
      <p:pic>
        <p:nvPicPr>
          <p:cNvPr id="138" name="Picture 137"/>
          <p:cNvPicPr>
            <a:picLocks noChangeAspect="1"/>
          </p:cNvPicPr>
          <p:nvPr userDrawn="1"/>
        </p:nvPicPr>
        <p:blipFill>
          <a:blip r:embed="rId38"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10946629" y="5368883"/>
            <a:ext cx="446298" cy="227589"/>
          </a:xfrm>
          <a:prstGeom prst="rect">
            <a:avLst/>
          </a:prstGeom>
        </p:spPr>
      </p:pic>
      <p:pic>
        <p:nvPicPr>
          <p:cNvPr id="139" name="Picture 138"/>
          <p:cNvPicPr>
            <a:picLocks noChangeAspect="1"/>
          </p:cNvPicPr>
          <p:nvPr userDrawn="1"/>
        </p:nvPicPr>
        <p:blipFill>
          <a:blip r:embed="rId39">
            <a:duotone>
              <a:schemeClr val="accent4">
                <a:shade val="45000"/>
                <a:satMod val="135000"/>
              </a:schemeClr>
              <a:prstClr val="white"/>
            </a:duotone>
          </a:blip>
          <a:stretch>
            <a:fillRect/>
          </a:stretch>
        </p:blipFill>
        <p:spPr>
          <a:xfrm>
            <a:off x="10923951" y="5761028"/>
            <a:ext cx="517252" cy="227589"/>
          </a:xfrm>
          <a:prstGeom prst="rect">
            <a:avLst/>
          </a:prstGeom>
        </p:spPr>
      </p:pic>
      <p:grpSp>
        <p:nvGrpSpPr>
          <p:cNvPr id="140" name="Gruppieren 3"/>
          <p:cNvGrpSpPr/>
          <p:nvPr userDrawn="1"/>
        </p:nvGrpSpPr>
        <p:grpSpPr>
          <a:xfrm>
            <a:off x="4787584" y="1560106"/>
            <a:ext cx="4071532" cy="4417529"/>
            <a:chOff x="2125908" y="1959736"/>
            <a:chExt cx="3318322" cy="4302997"/>
          </a:xfrm>
          <a:solidFill>
            <a:schemeClr val="accent4"/>
          </a:solidFill>
        </p:grpSpPr>
        <p:sp>
          <p:nvSpPr>
            <p:cNvPr id="161" name="Freeform 28"/>
            <p:cNvSpPr>
              <a:spLocks/>
            </p:cNvSpPr>
            <p:nvPr/>
          </p:nvSpPr>
          <p:spPr bwMode="auto">
            <a:xfrm>
              <a:off x="4665331" y="3718736"/>
              <a:ext cx="353629" cy="304852"/>
            </a:xfrm>
            <a:custGeom>
              <a:avLst/>
              <a:gdLst/>
              <a:ahLst/>
              <a:cxnLst>
                <a:cxn ang="0">
                  <a:pos x="2" y="60"/>
                </a:cxn>
                <a:cxn ang="0">
                  <a:pos x="14" y="50"/>
                </a:cxn>
                <a:cxn ang="0">
                  <a:pos x="44" y="38"/>
                </a:cxn>
                <a:cxn ang="0">
                  <a:pos x="88" y="24"/>
                </a:cxn>
                <a:cxn ang="0">
                  <a:pos x="148" y="10"/>
                </a:cxn>
                <a:cxn ang="0">
                  <a:pos x="200" y="12"/>
                </a:cxn>
                <a:cxn ang="0">
                  <a:pos x="214" y="12"/>
                </a:cxn>
                <a:cxn ang="0">
                  <a:pos x="266" y="8"/>
                </a:cxn>
                <a:cxn ang="0">
                  <a:pos x="306" y="0"/>
                </a:cxn>
                <a:cxn ang="0">
                  <a:pos x="330" y="16"/>
                </a:cxn>
                <a:cxn ang="0">
                  <a:pos x="348" y="26"/>
                </a:cxn>
                <a:cxn ang="0">
                  <a:pos x="384" y="44"/>
                </a:cxn>
                <a:cxn ang="0">
                  <a:pos x="402" y="54"/>
                </a:cxn>
                <a:cxn ang="0">
                  <a:pos x="406" y="60"/>
                </a:cxn>
                <a:cxn ang="0">
                  <a:pos x="422" y="80"/>
                </a:cxn>
                <a:cxn ang="0">
                  <a:pos x="434" y="88"/>
                </a:cxn>
                <a:cxn ang="0">
                  <a:pos x="436" y="116"/>
                </a:cxn>
                <a:cxn ang="0">
                  <a:pos x="442" y="130"/>
                </a:cxn>
                <a:cxn ang="0">
                  <a:pos x="458" y="154"/>
                </a:cxn>
                <a:cxn ang="0">
                  <a:pos x="464" y="174"/>
                </a:cxn>
                <a:cxn ang="0">
                  <a:pos x="454" y="184"/>
                </a:cxn>
                <a:cxn ang="0">
                  <a:pos x="420" y="222"/>
                </a:cxn>
                <a:cxn ang="0">
                  <a:pos x="410" y="236"/>
                </a:cxn>
                <a:cxn ang="0">
                  <a:pos x="404" y="254"/>
                </a:cxn>
                <a:cxn ang="0">
                  <a:pos x="400" y="268"/>
                </a:cxn>
                <a:cxn ang="0">
                  <a:pos x="402" y="304"/>
                </a:cxn>
                <a:cxn ang="0">
                  <a:pos x="402" y="336"/>
                </a:cxn>
                <a:cxn ang="0">
                  <a:pos x="400" y="340"/>
                </a:cxn>
                <a:cxn ang="0">
                  <a:pos x="388" y="344"/>
                </a:cxn>
                <a:cxn ang="0">
                  <a:pos x="378" y="348"/>
                </a:cxn>
                <a:cxn ang="0">
                  <a:pos x="350" y="360"/>
                </a:cxn>
                <a:cxn ang="0">
                  <a:pos x="338" y="368"/>
                </a:cxn>
                <a:cxn ang="0">
                  <a:pos x="304" y="394"/>
                </a:cxn>
                <a:cxn ang="0">
                  <a:pos x="296" y="398"/>
                </a:cxn>
                <a:cxn ang="0">
                  <a:pos x="262" y="400"/>
                </a:cxn>
                <a:cxn ang="0">
                  <a:pos x="236" y="400"/>
                </a:cxn>
                <a:cxn ang="0">
                  <a:pos x="202" y="354"/>
                </a:cxn>
                <a:cxn ang="0">
                  <a:pos x="198" y="350"/>
                </a:cxn>
                <a:cxn ang="0">
                  <a:pos x="178" y="344"/>
                </a:cxn>
                <a:cxn ang="0">
                  <a:pos x="158" y="336"/>
                </a:cxn>
                <a:cxn ang="0">
                  <a:pos x="156" y="332"/>
                </a:cxn>
                <a:cxn ang="0">
                  <a:pos x="154" y="298"/>
                </a:cxn>
                <a:cxn ang="0">
                  <a:pos x="150" y="258"/>
                </a:cxn>
                <a:cxn ang="0">
                  <a:pos x="148" y="250"/>
                </a:cxn>
                <a:cxn ang="0">
                  <a:pos x="134" y="234"/>
                </a:cxn>
                <a:cxn ang="0">
                  <a:pos x="122" y="226"/>
                </a:cxn>
                <a:cxn ang="0">
                  <a:pos x="106" y="224"/>
                </a:cxn>
                <a:cxn ang="0">
                  <a:pos x="98" y="224"/>
                </a:cxn>
                <a:cxn ang="0">
                  <a:pos x="62" y="216"/>
                </a:cxn>
                <a:cxn ang="0">
                  <a:pos x="34" y="206"/>
                </a:cxn>
                <a:cxn ang="0">
                  <a:pos x="32" y="176"/>
                </a:cxn>
                <a:cxn ang="0">
                  <a:pos x="32" y="166"/>
                </a:cxn>
                <a:cxn ang="0">
                  <a:pos x="28" y="148"/>
                </a:cxn>
                <a:cxn ang="0">
                  <a:pos x="20" y="126"/>
                </a:cxn>
                <a:cxn ang="0">
                  <a:pos x="14" y="110"/>
                </a:cxn>
                <a:cxn ang="0">
                  <a:pos x="0" y="72"/>
                </a:cxn>
                <a:cxn ang="0">
                  <a:pos x="2" y="60"/>
                </a:cxn>
              </a:cxnLst>
              <a:rect l="0" t="0" r="r" b="b"/>
              <a:pathLst>
                <a:path w="464" h="400">
                  <a:moveTo>
                    <a:pt x="2" y="60"/>
                  </a:moveTo>
                  <a:lnTo>
                    <a:pt x="2" y="60"/>
                  </a:lnTo>
                  <a:lnTo>
                    <a:pt x="14" y="50"/>
                  </a:lnTo>
                  <a:lnTo>
                    <a:pt x="14" y="50"/>
                  </a:lnTo>
                  <a:lnTo>
                    <a:pt x="28" y="44"/>
                  </a:lnTo>
                  <a:lnTo>
                    <a:pt x="44" y="38"/>
                  </a:lnTo>
                  <a:lnTo>
                    <a:pt x="88" y="24"/>
                  </a:lnTo>
                  <a:lnTo>
                    <a:pt x="88" y="24"/>
                  </a:lnTo>
                  <a:lnTo>
                    <a:pt x="120" y="16"/>
                  </a:lnTo>
                  <a:lnTo>
                    <a:pt x="148" y="10"/>
                  </a:lnTo>
                  <a:lnTo>
                    <a:pt x="174" y="10"/>
                  </a:lnTo>
                  <a:lnTo>
                    <a:pt x="200" y="12"/>
                  </a:lnTo>
                  <a:lnTo>
                    <a:pt x="200" y="12"/>
                  </a:lnTo>
                  <a:lnTo>
                    <a:pt x="214" y="12"/>
                  </a:lnTo>
                  <a:lnTo>
                    <a:pt x="232" y="12"/>
                  </a:lnTo>
                  <a:lnTo>
                    <a:pt x="266" y="8"/>
                  </a:lnTo>
                  <a:lnTo>
                    <a:pt x="306" y="0"/>
                  </a:lnTo>
                  <a:lnTo>
                    <a:pt x="306" y="0"/>
                  </a:lnTo>
                  <a:lnTo>
                    <a:pt x="316" y="8"/>
                  </a:lnTo>
                  <a:lnTo>
                    <a:pt x="330" y="16"/>
                  </a:lnTo>
                  <a:lnTo>
                    <a:pt x="348" y="26"/>
                  </a:lnTo>
                  <a:lnTo>
                    <a:pt x="348" y="26"/>
                  </a:lnTo>
                  <a:lnTo>
                    <a:pt x="368" y="36"/>
                  </a:lnTo>
                  <a:lnTo>
                    <a:pt x="384" y="44"/>
                  </a:lnTo>
                  <a:lnTo>
                    <a:pt x="398" y="50"/>
                  </a:lnTo>
                  <a:lnTo>
                    <a:pt x="402" y="54"/>
                  </a:lnTo>
                  <a:lnTo>
                    <a:pt x="406" y="60"/>
                  </a:lnTo>
                  <a:lnTo>
                    <a:pt x="406" y="60"/>
                  </a:lnTo>
                  <a:lnTo>
                    <a:pt x="414" y="70"/>
                  </a:lnTo>
                  <a:lnTo>
                    <a:pt x="422" y="80"/>
                  </a:lnTo>
                  <a:lnTo>
                    <a:pt x="434" y="88"/>
                  </a:lnTo>
                  <a:lnTo>
                    <a:pt x="434" y="88"/>
                  </a:lnTo>
                  <a:lnTo>
                    <a:pt x="434" y="104"/>
                  </a:lnTo>
                  <a:lnTo>
                    <a:pt x="436" y="116"/>
                  </a:lnTo>
                  <a:lnTo>
                    <a:pt x="438" y="124"/>
                  </a:lnTo>
                  <a:lnTo>
                    <a:pt x="442" y="130"/>
                  </a:lnTo>
                  <a:lnTo>
                    <a:pt x="442" y="130"/>
                  </a:lnTo>
                  <a:lnTo>
                    <a:pt x="458" y="154"/>
                  </a:lnTo>
                  <a:lnTo>
                    <a:pt x="462" y="166"/>
                  </a:lnTo>
                  <a:lnTo>
                    <a:pt x="464" y="174"/>
                  </a:lnTo>
                  <a:lnTo>
                    <a:pt x="464" y="174"/>
                  </a:lnTo>
                  <a:lnTo>
                    <a:pt x="454" y="184"/>
                  </a:lnTo>
                  <a:lnTo>
                    <a:pt x="438" y="202"/>
                  </a:lnTo>
                  <a:lnTo>
                    <a:pt x="420" y="222"/>
                  </a:lnTo>
                  <a:lnTo>
                    <a:pt x="410" y="236"/>
                  </a:lnTo>
                  <a:lnTo>
                    <a:pt x="410" y="236"/>
                  </a:lnTo>
                  <a:lnTo>
                    <a:pt x="406" y="246"/>
                  </a:lnTo>
                  <a:lnTo>
                    <a:pt x="404" y="254"/>
                  </a:lnTo>
                  <a:lnTo>
                    <a:pt x="400" y="268"/>
                  </a:lnTo>
                  <a:lnTo>
                    <a:pt x="400" y="268"/>
                  </a:lnTo>
                  <a:lnTo>
                    <a:pt x="400" y="282"/>
                  </a:lnTo>
                  <a:lnTo>
                    <a:pt x="402" y="304"/>
                  </a:lnTo>
                  <a:lnTo>
                    <a:pt x="404" y="324"/>
                  </a:lnTo>
                  <a:lnTo>
                    <a:pt x="402" y="336"/>
                  </a:lnTo>
                  <a:lnTo>
                    <a:pt x="402" y="336"/>
                  </a:lnTo>
                  <a:lnTo>
                    <a:pt x="400" y="340"/>
                  </a:lnTo>
                  <a:lnTo>
                    <a:pt x="396" y="342"/>
                  </a:lnTo>
                  <a:lnTo>
                    <a:pt x="388" y="344"/>
                  </a:lnTo>
                  <a:lnTo>
                    <a:pt x="378" y="348"/>
                  </a:lnTo>
                  <a:lnTo>
                    <a:pt x="378" y="348"/>
                  </a:lnTo>
                  <a:lnTo>
                    <a:pt x="358" y="356"/>
                  </a:lnTo>
                  <a:lnTo>
                    <a:pt x="350" y="360"/>
                  </a:lnTo>
                  <a:lnTo>
                    <a:pt x="338" y="368"/>
                  </a:lnTo>
                  <a:lnTo>
                    <a:pt x="338" y="368"/>
                  </a:lnTo>
                  <a:lnTo>
                    <a:pt x="314" y="388"/>
                  </a:lnTo>
                  <a:lnTo>
                    <a:pt x="304" y="394"/>
                  </a:lnTo>
                  <a:lnTo>
                    <a:pt x="296" y="398"/>
                  </a:lnTo>
                  <a:lnTo>
                    <a:pt x="296" y="398"/>
                  </a:lnTo>
                  <a:lnTo>
                    <a:pt x="282" y="398"/>
                  </a:lnTo>
                  <a:lnTo>
                    <a:pt x="262" y="400"/>
                  </a:lnTo>
                  <a:lnTo>
                    <a:pt x="236" y="400"/>
                  </a:lnTo>
                  <a:lnTo>
                    <a:pt x="236" y="400"/>
                  </a:lnTo>
                  <a:lnTo>
                    <a:pt x="222" y="382"/>
                  </a:lnTo>
                  <a:lnTo>
                    <a:pt x="202" y="354"/>
                  </a:lnTo>
                  <a:lnTo>
                    <a:pt x="202" y="354"/>
                  </a:lnTo>
                  <a:lnTo>
                    <a:pt x="198" y="350"/>
                  </a:lnTo>
                  <a:lnTo>
                    <a:pt x="192" y="348"/>
                  </a:lnTo>
                  <a:lnTo>
                    <a:pt x="178" y="344"/>
                  </a:lnTo>
                  <a:lnTo>
                    <a:pt x="164" y="338"/>
                  </a:lnTo>
                  <a:lnTo>
                    <a:pt x="158" y="336"/>
                  </a:lnTo>
                  <a:lnTo>
                    <a:pt x="156" y="332"/>
                  </a:lnTo>
                  <a:lnTo>
                    <a:pt x="156" y="332"/>
                  </a:lnTo>
                  <a:lnTo>
                    <a:pt x="154" y="318"/>
                  </a:lnTo>
                  <a:lnTo>
                    <a:pt x="154" y="298"/>
                  </a:lnTo>
                  <a:lnTo>
                    <a:pt x="152" y="276"/>
                  </a:lnTo>
                  <a:lnTo>
                    <a:pt x="150" y="258"/>
                  </a:lnTo>
                  <a:lnTo>
                    <a:pt x="150" y="258"/>
                  </a:lnTo>
                  <a:lnTo>
                    <a:pt x="148" y="250"/>
                  </a:lnTo>
                  <a:lnTo>
                    <a:pt x="144" y="244"/>
                  </a:lnTo>
                  <a:lnTo>
                    <a:pt x="134" y="234"/>
                  </a:lnTo>
                  <a:lnTo>
                    <a:pt x="128" y="230"/>
                  </a:lnTo>
                  <a:lnTo>
                    <a:pt x="122" y="226"/>
                  </a:lnTo>
                  <a:lnTo>
                    <a:pt x="114" y="226"/>
                  </a:lnTo>
                  <a:lnTo>
                    <a:pt x="106" y="224"/>
                  </a:lnTo>
                  <a:lnTo>
                    <a:pt x="106" y="224"/>
                  </a:lnTo>
                  <a:lnTo>
                    <a:pt x="98" y="224"/>
                  </a:lnTo>
                  <a:lnTo>
                    <a:pt x="86" y="222"/>
                  </a:lnTo>
                  <a:lnTo>
                    <a:pt x="62" y="216"/>
                  </a:lnTo>
                  <a:lnTo>
                    <a:pt x="34" y="206"/>
                  </a:lnTo>
                  <a:lnTo>
                    <a:pt x="34" y="206"/>
                  </a:lnTo>
                  <a:lnTo>
                    <a:pt x="34" y="190"/>
                  </a:lnTo>
                  <a:lnTo>
                    <a:pt x="32" y="176"/>
                  </a:lnTo>
                  <a:lnTo>
                    <a:pt x="32" y="166"/>
                  </a:lnTo>
                  <a:lnTo>
                    <a:pt x="32" y="166"/>
                  </a:lnTo>
                  <a:lnTo>
                    <a:pt x="32" y="156"/>
                  </a:lnTo>
                  <a:lnTo>
                    <a:pt x="28" y="148"/>
                  </a:lnTo>
                  <a:lnTo>
                    <a:pt x="24" y="138"/>
                  </a:lnTo>
                  <a:lnTo>
                    <a:pt x="20" y="126"/>
                  </a:lnTo>
                  <a:lnTo>
                    <a:pt x="20" y="126"/>
                  </a:lnTo>
                  <a:lnTo>
                    <a:pt x="14" y="110"/>
                  </a:lnTo>
                  <a:lnTo>
                    <a:pt x="6" y="90"/>
                  </a:lnTo>
                  <a:lnTo>
                    <a:pt x="0" y="72"/>
                  </a:lnTo>
                  <a:lnTo>
                    <a:pt x="0" y="64"/>
                  </a:lnTo>
                  <a:lnTo>
                    <a:pt x="2" y="60"/>
                  </a:lnTo>
                  <a:lnTo>
                    <a:pt x="2" y="60"/>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62" name="Freeform 29"/>
            <p:cNvSpPr>
              <a:spLocks/>
            </p:cNvSpPr>
            <p:nvPr/>
          </p:nvSpPr>
          <p:spPr bwMode="auto">
            <a:xfrm>
              <a:off x="4790321" y="3339195"/>
              <a:ext cx="288087" cy="234736"/>
            </a:xfrm>
            <a:custGeom>
              <a:avLst/>
              <a:gdLst/>
              <a:ahLst/>
              <a:cxnLst>
                <a:cxn ang="0">
                  <a:pos x="314" y="8"/>
                </a:cxn>
                <a:cxn ang="0">
                  <a:pos x="290" y="14"/>
                </a:cxn>
                <a:cxn ang="0">
                  <a:pos x="270" y="14"/>
                </a:cxn>
                <a:cxn ang="0">
                  <a:pos x="228" y="6"/>
                </a:cxn>
                <a:cxn ang="0">
                  <a:pos x="194" y="0"/>
                </a:cxn>
                <a:cxn ang="0">
                  <a:pos x="180" y="0"/>
                </a:cxn>
                <a:cxn ang="0">
                  <a:pos x="160" y="2"/>
                </a:cxn>
                <a:cxn ang="0">
                  <a:pos x="150" y="8"/>
                </a:cxn>
                <a:cxn ang="0">
                  <a:pos x="136" y="16"/>
                </a:cxn>
                <a:cxn ang="0">
                  <a:pos x="128" y="18"/>
                </a:cxn>
                <a:cxn ang="0">
                  <a:pos x="76" y="38"/>
                </a:cxn>
                <a:cxn ang="0">
                  <a:pos x="28" y="62"/>
                </a:cxn>
                <a:cxn ang="0">
                  <a:pos x="14" y="68"/>
                </a:cxn>
                <a:cxn ang="0">
                  <a:pos x="0" y="76"/>
                </a:cxn>
                <a:cxn ang="0">
                  <a:pos x="0" y="88"/>
                </a:cxn>
                <a:cxn ang="0">
                  <a:pos x="2" y="98"/>
                </a:cxn>
                <a:cxn ang="0">
                  <a:pos x="10" y="136"/>
                </a:cxn>
                <a:cxn ang="0">
                  <a:pos x="22" y="170"/>
                </a:cxn>
                <a:cxn ang="0">
                  <a:pos x="26" y="178"/>
                </a:cxn>
                <a:cxn ang="0">
                  <a:pos x="30" y="200"/>
                </a:cxn>
                <a:cxn ang="0">
                  <a:pos x="36" y="208"/>
                </a:cxn>
                <a:cxn ang="0">
                  <a:pos x="54" y="206"/>
                </a:cxn>
                <a:cxn ang="0">
                  <a:pos x="78" y="204"/>
                </a:cxn>
                <a:cxn ang="0">
                  <a:pos x="94" y="206"/>
                </a:cxn>
                <a:cxn ang="0">
                  <a:pos x="106" y="214"/>
                </a:cxn>
                <a:cxn ang="0">
                  <a:pos x="118" y="226"/>
                </a:cxn>
                <a:cxn ang="0">
                  <a:pos x="130" y="234"/>
                </a:cxn>
                <a:cxn ang="0">
                  <a:pos x="160" y="242"/>
                </a:cxn>
                <a:cxn ang="0">
                  <a:pos x="180" y="252"/>
                </a:cxn>
                <a:cxn ang="0">
                  <a:pos x="190" y="260"/>
                </a:cxn>
                <a:cxn ang="0">
                  <a:pos x="212" y="284"/>
                </a:cxn>
                <a:cxn ang="0">
                  <a:pos x="228" y="302"/>
                </a:cxn>
                <a:cxn ang="0">
                  <a:pos x="234" y="306"/>
                </a:cxn>
                <a:cxn ang="0">
                  <a:pos x="252" y="308"/>
                </a:cxn>
                <a:cxn ang="0">
                  <a:pos x="282" y="302"/>
                </a:cxn>
                <a:cxn ang="0">
                  <a:pos x="304" y="302"/>
                </a:cxn>
                <a:cxn ang="0">
                  <a:pos x="324" y="306"/>
                </a:cxn>
                <a:cxn ang="0">
                  <a:pos x="326" y="306"/>
                </a:cxn>
                <a:cxn ang="0">
                  <a:pos x="324" y="254"/>
                </a:cxn>
                <a:cxn ang="0">
                  <a:pos x="328" y="246"/>
                </a:cxn>
                <a:cxn ang="0">
                  <a:pos x="330" y="246"/>
                </a:cxn>
                <a:cxn ang="0">
                  <a:pos x="370" y="258"/>
                </a:cxn>
                <a:cxn ang="0">
                  <a:pos x="378" y="256"/>
                </a:cxn>
                <a:cxn ang="0">
                  <a:pos x="376" y="250"/>
                </a:cxn>
                <a:cxn ang="0">
                  <a:pos x="364" y="228"/>
                </a:cxn>
                <a:cxn ang="0">
                  <a:pos x="340" y="200"/>
                </a:cxn>
                <a:cxn ang="0">
                  <a:pos x="328" y="186"/>
                </a:cxn>
                <a:cxn ang="0">
                  <a:pos x="324" y="176"/>
                </a:cxn>
                <a:cxn ang="0">
                  <a:pos x="328" y="172"/>
                </a:cxn>
                <a:cxn ang="0">
                  <a:pos x="334" y="168"/>
                </a:cxn>
                <a:cxn ang="0">
                  <a:pos x="334" y="158"/>
                </a:cxn>
                <a:cxn ang="0">
                  <a:pos x="330" y="112"/>
                </a:cxn>
                <a:cxn ang="0">
                  <a:pos x="328" y="94"/>
                </a:cxn>
                <a:cxn ang="0">
                  <a:pos x="324" y="82"/>
                </a:cxn>
                <a:cxn ang="0">
                  <a:pos x="310" y="66"/>
                </a:cxn>
                <a:cxn ang="0">
                  <a:pos x="304" y="54"/>
                </a:cxn>
                <a:cxn ang="0">
                  <a:pos x="306" y="48"/>
                </a:cxn>
                <a:cxn ang="0">
                  <a:pos x="314" y="16"/>
                </a:cxn>
                <a:cxn ang="0">
                  <a:pos x="314" y="8"/>
                </a:cxn>
              </a:cxnLst>
              <a:rect l="0" t="0" r="r" b="b"/>
              <a:pathLst>
                <a:path w="378" h="308">
                  <a:moveTo>
                    <a:pt x="314" y="8"/>
                  </a:moveTo>
                  <a:lnTo>
                    <a:pt x="314" y="8"/>
                  </a:lnTo>
                  <a:lnTo>
                    <a:pt x="304" y="12"/>
                  </a:lnTo>
                  <a:lnTo>
                    <a:pt x="290" y="14"/>
                  </a:lnTo>
                  <a:lnTo>
                    <a:pt x="270" y="14"/>
                  </a:lnTo>
                  <a:lnTo>
                    <a:pt x="270" y="14"/>
                  </a:lnTo>
                  <a:lnTo>
                    <a:pt x="248" y="12"/>
                  </a:lnTo>
                  <a:lnTo>
                    <a:pt x="228" y="6"/>
                  </a:lnTo>
                  <a:lnTo>
                    <a:pt x="206" y="2"/>
                  </a:lnTo>
                  <a:lnTo>
                    <a:pt x="194" y="0"/>
                  </a:lnTo>
                  <a:lnTo>
                    <a:pt x="180" y="0"/>
                  </a:lnTo>
                  <a:lnTo>
                    <a:pt x="180" y="0"/>
                  </a:lnTo>
                  <a:lnTo>
                    <a:pt x="170" y="2"/>
                  </a:lnTo>
                  <a:lnTo>
                    <a:pt x="160" y="2"/>
                  </a:lnTo>
                  <a:lnTo>
                    <a:pt x="154" y="6"/>
                  </a:lnTo>
                  <a:lnTo>
                    <a:pt x="150" y="8"/>
                  </a:lnTo>
                  <a:lnTo>
                    <a:pt x="142" y="14"/>
                  </a:lnTo>
                  <a:lnTo>
                    <a:pt x="136" y="16"/>
                  </a:lnTo>
                  <a:lnTo>
                    <a:pt x="128" y="18"/>
                  </a:lnTo>
                  <a:lnTo>
                    <a:pt x="128" y="18"/>
                  </a:lnTo>
                  <a:lnTo>
                    <a:pt x="104" y="26"/>
                  </a:lnTo>
                  <a:lnTo>
                    <a:pt x="76" y="38"/>
                  </a:lnTo>
                  <a:lnTo>
                    <a:pt x="48" y="52"/>
                  </a:lnTo>
                  <a:lnTo>
                    <a:pt x="28" y="62"/>
                  </a:lnTo>
                  <a:lnTo>
                    <a:pt x="28" y="62"/>
                  </a:lnTo>
                  <a:lnTo>
                    <a:pt x="14" y="68"/>
                  </a:lnTo>
                  <a:lnTo>
                    <a:pt x="4" y="74"/>
                  </a:lnTo>
                  <a:lnTo>
                    <a:pt x="0" y="76"/>
                  </a:lnTo>
                  <a:lnTo>
                    <a:pt x="0" y="82"/>
                  </a:lnTo>
                  <a:lnTo>
                    <a:pt x="0" y="88"/>
                  </a:lnTo>
                  <a:lnTo>
                    <a:pt x="2" y="98"/>
                  </a:lnTo>
                  <a:lnTo>
                    <a:pt x="2" y="98"/>
                  </a:lnTo>
                  <a:lnTo>
                    <a:pt x="6" y="120"/>
                  </a:lnTo>
                  <a:lnTo>
                    <a:pt x="10" y="136"/>
                  </a:lnTo>
                  <a:lnTo>
                    <a:pt x="14" y="152"/>
                  </a:lnTo>
                  <a:lnTo>
                    <a:pt x="22" y="170"/>
                  </a:lnTo>
                  <a:lnTo>
                    <a:pt x="22" y="170"/>
                  </a:lnTo>
                  <a:lnTo>
                    <a:pt x="26" y="178"/>
                  </a:lnTo>
                  <a:lnTo>
                    <a:pt x="28" y="188"/>
                  </a:lnTo>
                  <a:lnTo>
                    <a:pt x="30" y="200"/>
                  </a:lnTo>
                  <a:lnTo>
                    <a:pt x="32" y="204"/>
                  </a:lnTo>
                  <a:lnTo>
                    <a:pt x="36" y="208"/>
                  </a:lnTo>
                  <a:lnTo>
                    <a:pt x="44" y="208"/>
                  </a:lnTo>
                  <a:lnTo>
                    <a:pt x="54" y="206"/>
                  </a:lnTo>
                  <a:lnTo>
                    <a:pt x="54" y="206"/>
                  </a:lnTo>
                  <a:lnTo>
                    <a:pt x="78" y="204"/>
                  </a:lnTo>
                  <a:lnTo>
                    <a:pt x="86" y="204"/>
                  </a:lnTo>
                  <a:lnTo>
                    <a:pt x="94" y="206"/>
                  </a:lnTo>
                  <a:lnTo>
                    <a:pt x="100" y="210"/>
                  </a:lnTo>
                  <a:lnTo>
                    <a:pt x="106" y="214"/>
                  </a:lnTo>
                  <a:lnTo>
                    <a:pt x="118" y="226"/>
                  </a:lnTo>
                  <a:lnTo>
                    <a:pt x="118" y="226"/>
                  </a:lnTo>
                  <a:lnTo>
                    <a:pt x="124" y="230"/>
                  </a:lnTo>
                  <a:lnTo>
                    <a:pt x="130" y="234"/>
                  </a:lnTo>
                  <a:lnTo>
                    <a:pt x="144" y="238"/>
                  </a:lnTo>
                  <a:lnTo>
                    <a:pt x="160" y="242"/>
                  </a:lnTo>
                  <a:lnTo>
                    <a:pt x="170" y="246"/>
                  </a:lnTo>
                  <a:lnTo>
                    <a:pt x="180" y="252"/>
                  </a:lnTo>
                  <a:lnTo>
                    <a:pt x="180" y="252"/>
                  </a:lnTo>
                  <a:lnTo>
                    <a:pt x="190" y="260"/>
                  </a:lnTo>
                  <a:lnTo>
                    <a:pt x="198" y="268"/>
                  </a:lnTo>
                  <a:lnTo>
                    <a:pt x="212" y="284"/>
                  </a:lnTo>
                  <a:lnTo>
                    <a:pt x="222" y="296"/>
                  </a:lnTo>
                  <a:lnTo>
                    <a:pt x="228" y="302"/>
                  </a:lnTo>
                  <a:lnTo>
                    <a:pt x="234" y="306"/>
                  </a:lnTo>
                  <a:lnTo>
                    <a:pt x="234" y="306"/>
                  </a:lnTo>
                  <a:lnTo>
                    <a:pt x="244" y="308"/>
                  </a:lnTo>
                  <a:lnTo>
                    <a:pt x="252" y="308"/>
                  </a:lnTo>
                  <a:lnTo>
                    <a:pt x="262" y="304"/>
                  </a:lnTo>
                  <a:lnTo>
                    <a:pt x="282" y="302"/>
                  </a:lnTo>
                  <a:lnTo>
                    <a:pt x="282" y="302"/>
                  </a:lnTo>
                  <a:lnTo>
                    <a:pt x="304" y="302"/>
                  </a:lnTo>
                  <a:lnTo>
                    <a:pt x="316" y="304"/>
                  </a:lnTo>
                  <a:lnTo>
                    <a:pt x="324" y="306"/>
                  </a:lnTo>
                  <a:lnTo>
                    <a:pt x="326" y="306"/>
                  </a:lnTo>
                  <a:lnTo>
                    <a:pt x="326" y="306"/>
                  </a:lnTo>
                  <a:lnTo>
                    <a:pt x="324" y="276"/>
                  </a:lnTo>
                  <a:lnTo>
                    <a:pt x="324" y="254"/>
                  </a:lnTo>
                  <a:lnTo>
                    <a:pt x="328" y="248"/>
                  </a:lnTo>
                  <a:lnTo>
                    <a:pt x="328" y="246"/>
                  </a:lnTo>
                  <a:lnTo>
                    <a:pt x="330" y="246"/>
                  </a:lnTo>
                  <a:lnTo>
                    <a:pt x="330" y="246"/>
                  </a:lnTo>
                  <a:lnTo>
                    <a:pt x="358" y="256"/>
                  </a:lnTo>
                  <a:lnTo>
                    <a:pt x="370" y="258"/>
                  </a:lnTo>
                  <a:lnTo>
                    <a:pt x="376" y="258"/>
                  </a:lnTo>
                  <a:lnTo>
                    <a:pt x="378" y="256"/>
                  </a:lnTo>
                  <a:lnTo>
                    <a:pt x="378" y="256"/>
                  </a:lnTo>
                  <a:lnTo>
                    <a:pt x="376" y="250"/>
                  </a:lnTo>
                  <a:lnTo>
                    <a:pt x="374" y="244"/>
                  </a:lnTo>
                  <a:lnTo>
                    <a:pt x="364" y="228"/>
                  </a:lnTo>
                  <a:lnTo>
                    <a:pt x="350" y="212"/>
                  </a:lnTo>
                  <a:lnTo>
                    <a:pt x="340" y="200"/>
                  </a:lnTo>
                  <a:lnTo>
                    <a:pt x="340" y="200"/>
                  </a:lnTo>
                  <a:lnTo>
                    <a:pt x="328" y="186"/>
                  </a:lnTo>
                  <a:lnTo>
                    <a:pt x="324" y="180"/>
                  </a:lnTo>
                  <a:lnTo>
                    <a:pt x="324" y="176"/>
                  </a:lnTo>
                  <a:lnTo>
                    <a:pt x="324" y="176"/>
                  </a:lnTo>
                  <a:lnTo>
                    <a:pt x="328" y="172"/>
                  </a:lnTo>
                  <a:lnTo>
                    <a:pt x="330" y="170"/>
                  </a:lnTo>
                  <a:lnTo>
                    <a:pt x="334" y="168"/>
                  </a:lnTo>
                  <a:lnTo>
                    <a:pt x="334" y="168"/>
                  </a:lnTo>
                  <a:lnTo>
                    <a:pt x="334" y="158"/>
                  </a:lnTo>
                  <a:lnTo>
                    <a:pt x="332" y="142"/>
                  </a:lnTo>
                  <a:lnTo>
                    <a:pt x="330" y="112"/>
                  </a:lnTo>
                  <a:lnTo>
                    <a:pt x="330" y="112"/>
                  </a:lnTo>
                  <a:lnTo>
                    <a:pt x="328" y="94"/>
                  </a:lnTo>
                  <a:lnTo>
                    <a:pt x="326" y="88"/>
                  </a:lnTo>
                  <a:lnTo>
                    <a:pt x="324" y="82"/>
                  </a:lnTo>
                  <a:lnTo>
                    <a:pt x="324" y="82"/>
                  </a:lnTo>
                  <a:lnTo>
                    <a:pt x="310" y="66"/>
                  </a:lnTo>
                  <a:lnTo>
                    <a:pt x="306" y="58"/>
                  </a:lnTo>
                  <a:lnTo>
                    <a:pt x="304" y="54"/>
                  </a:lnTo>
                  <a:lnTo>
                    <a:pt x="306" y="48"/>
                  </a:lnTo>
                  <a:lnTo>
                    <a:pt x="306" y="48"/>
                  </a:lnTo>
                  <a:lnTo>
                    <a:pt x="312" y="28"/>
                  </a:lnTo>
                  <a:lnTo>
                    <a:pt x="314" y="16"/>
                  </a:lnTo>
                  <a:lnTo>
                    <a:pt x="314" y="8"/>
                  </a:lnTo>
                  <a:lnTo>
                    <a:pt x="314" y="8"/>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63" name="Freeform 30"/>
            <p:cNvSpPr>
              <a:spLocks/>
            </p:cNvSpPr>
            <p:nvPr/>
          </p:nvSpPr>
          <p:spPr bwMode="auto">
            <a:xfrm>
              <a:off x="4659233" y="3496194"/>
              <a:ext cx="448133" cy="292658"/>
            </a:xfrm>
            <a:custGeom>
              <a:avLst/>
              <a:gdLst/>
              <a:ahLst/>
              <a:cxnLst>
                <a:cxn ang="0">
                  <a:pos x="236" y="4"/>
                </a:cxn>
                <a:cxn ang="0">
                  <a:pos x="242" y="22"/>
                </a:cxn>
                <a:cxn ang="0">
                  <a:pos x="254" y="60"/>
                </a:cxn>
                <a:cxn ang="0">
                  <a:pos x="262" y="120"/>
                </a:cxn>
                <a:cxn ang="0">
                  <a:pos x="260" y="168"/>
                </a:cxn>
                <a:cxn ang="0">
                  <a:pos x="248" y="184"/>
                </a:cxn>
                <a:cxn ang="0">
                  <a:pos x="218" y="216"/>
                </a:cxn>
                <a:cxn ang="0">
                  <a:pos x="202" y="220"/>
                </a:cxn>
                <a:cxn ang="0">
                  <a:pos x="172" y="214"/>
                </a:cxn>
                <a:cxn ang="0">
                  <a:pos x="164" y="192"/>
                </a:cxn>
                <a:cxn ang="0">
                  <a:pos x="156" y="158"/>
                </a:cxn>
                <a:cxn ang="0">
                  <a:pos x="138" y="138"/>
                </a:cxn>
                <a:cxn ang="0">
                  <a:pos x="124" y="118"/>
                </a:cxn>
                <a:cxn ang="0">
                  <a:pos x="116" y="106"/>
                </a:cxn>
                <a:cxn ang="0">
                  <a:pos x="96" y="104"/>
                </a:cxn>
                <a:cxn ang="0">
                  <a:pos x="76" y="106"/>
                </a:cxn>
                <a:cxn ang="0">
                  <a:pos x="50" y="118"/>
                </a:cxn>
                <a:cxn ang="0">
                  <a:pos x="26" y="156"/>
                </a:cxn>
                <a:cxn ang="0">
                  <a:pos x="26" y="176"/>
                </a:cxn>
                <a:cxn ang="0">
                  <a:pos x="30" y="200"/>
                </a:cxn>
                <a:cxn ang="0">
                  <a:pos x="18" y="226"/>
                </a:cxn>
                <a:cxn ang="0">
                  <a:pos x="4" y="252"/>
                </a:cxn>
                <a:cxn ang="0">
                  <a:pos x="2" y="308"/>
                </a:cxn>
                <a:cxn ang="0">
                  <a:pos x="10" y="352"/>
                </a:cxn>
                <a:cxn ang="0">
                  <a:pos x="44" y="330"/>
                </a:cxn>
                <a:cxn ang="0">
                  <a:pos x="96" y="316"/>
                </a:cxn>
                <a:cxn ang="0">
                  <a:pos x="176" y="302"/>
                </a:cxn>
                <a:cxn ang="0">
                  <a:pos x="236" y="302"/>
                </a:cxn>
                <a:cxn ang="0">
                  <a:pos x="314" y="292"/>
                </a:cxn>
                <a:cxn ang="0">
                  <a:pos x="342" y="312"/>
                </a:cxn>
                <a:cxn ang="0">
                  <a:pos x="400" y="340"/>
                </a:cxn>
                <a:cxn ang="0">
                  <a:pos x="426" y="362"/>
                </a:cxn>
                <a:cxn ang="0">
                  <a:pos x="456" y="380"/>
                </a:cxn>
                <a:cxn ang="0">
                  <a:pos x="476" y="384"/>
                </a:cxn>
                <a:cxn ang="0">
                  <a:pos x="502" y="376"/>
                </a:cxn>
                <a:cxn ang="0">
                  <a:pos x="532" y="354"/>
                </a:cxn>
                <a:cxn ang="0">
                  <a:pos x="564" y="322"/>
                </a:cxn>
                <a:cxn ang="0">
                  <a:pos x="582" y="290"/>
                </a:cxn>
                <a:cxn ang="0">
                  <a:pos x="568" y="262"/>
                </a:cxn>
                <a:cxn ang="0">
                  <a:pos x="540" y="220"/>
                </a:cxn>
                <a:cxn ang="0">
                  <a:pos x="520" y="154"/>
                </a:cxn>
                <a:cxn ang="0">
                  <a:pos x="508" y="120"/>
                </a:cxn>
                <a:cxn ang="0">
                  <a:pos x="480" y="98"/>
                </a:cxn>
                <a:cxn ang="0">
                  <a:pos x="454" y="96"/>
                </a:cxn>
                <a:cxn ang="0">
                  <a:pos x="422" y="106"/>
                </a:cxn>
                <a:cxn ang="0">
                  <a:pos x="414" y="104"/>
                </a:cxn>
                <a:cxn ang="0">
                  <a:pos x="388" y="82"/>
                </a:cxn>
                <a:cxn ang="0">
                  <a:pos x="368" y="62"/>
                </a:cxn>
                <a:cxn ang="0">
                  <a:pos x="348" y="42"/>
                </a:cxn>
                <a:cxn ang="0">
                  <a:pos x="308" y="30"/>
                </a:cxn>
                <a:cxn ang="0">
                  <a:pos x="286" y="14"/>
                </a:cxn>
                <a:cxn ang="0">
                  <a:pos x="272" y="4"/>
                </a:cxn>
                <a:cxn ang="0">
                  <a:pos x="240" y="0"/>
                </a:cxn>
                <a:cxn ang="0">
                  <a:pos x="238" y="4"/>
                </a:cxn>
              </a:cxnLst>
              <a:rect l="0" t="0" r="r" b="b"/>
              <a:pathLst>
                <a:path w="588" h="384">
                  <a:moveTo>
                    <a:pt x="238" y="4"/>
                  </a:moveTo>
                  <a:lnTo>
                    <a:pt x="238" y="4"/>
                  </a:lnTo>
                  <a:lnTo>
                    <a:pt x="236" y="4"/>
                  </a:lnTo>
                  <a:lnTo>
                    <a:pt x="236" y="4"/>
                  </a:lnTo>
                  <a:lnTo>
                    <a:pt x="236" y="8"/>
                  </a:lnTo>
                  <a:lnTo>
                    <a:pt x="242" y="22"/>
                  </a:lnTo>
                  <a:lnTo>
                    <a:pt x="242" y="22"/>
                  </a:lnTo>
                  <a:lnTo>
                    <a:pt x="250" y="42"/>
                  </a:lnTo>
                  <a:lnTo>
                    <a:pt x="254" y="60"/>
                  </a:lnTo>
                  <a:lnTo>
                    <a:pt x="260" y="100"/>
                  </a:lnTo>
                  <a:lnTo>
                    <a:pt x="260" y="100"/>
                  </a:lnTo>
                  <a:lnTo>
                    <a:pt x="262" y="120"/>
                  </a:lnTo>
                  <a:lnTo>
                    <a:pt x="264" y="142"/>
                  </a:lnTo>
                  <a:lnTo>
                    <a:pt x="262" y="160"/>
                  </a:lnTo>
                  <a:lnTo>
                    <a:pt x="260" y="168"/>
                  </a:lnTo>
                  <a:lnTo>
                    <a:pt x="258" y="172"/>
                  </a:lnTo>
                  <a:lnTo>
                    <a:pt x="258" y="172"/>
                  </a:lnTo>
                  <a:lnTo>
                    <a:pt x="248" y="184"/>
                  </a:lnTo>
                  <a:lnTo>
                    <a:pt x="234" y="202"/>
                  </a:lnTo>
                  <a:lnTo>
                    <a:pt x="226" y="210"/>
                  </a:lnTo>
                  <a:lnTo>
                    <a:pt x="218" y="216"/>
                  </a:lnTo>
                  <a:lnTo>
                    <a:pt x="210" y="220"/>
                  </a:lnTo>
                  <a:lnTo>
                    <a:pt x="202" y="220"/>
                  </a:lnTo>
                  <a:lnTo>
                    <a:pt x="202" y="220"/>
                  </a:lnTo>
                  <a:lnTo>
                    <a:pt x="186" y="218"/>
                  </a:lnTo>
                  <a:lnTo>
                    <a:pt x="176" y="216"/>
                  </a:lnTo>
                  <a:lnTo>
                    <a:pt x="172" y="214"/>
                  </a:lnTo>
                  <a:lnTo>
                    <a:pt x="168" y="208"/>
                  </a:lnTo>
                  <a:lnTo>
                    <a:pt x="166" y="202"/>
                  </a:lnTo>
                  <a:lnTo>
                    <a:pt x="164" y="192"/>
                  </a:lnTo>
                  <a:lnTo>
                    <a:pt x="164" y="192"/>
                  </a:lnTo>
                  <a:lnTo>
                    <a:pt x="162" y="174"/>
                  </a:lnTo>
                  <a:lnTo>
                    <a:pt x="156" y="158"/>
                  </a:lnTo>
                  <a:lnTo>
                    <a:pt x="148" y="148"/>
                  </a:lnTo>
                  <a:lnTo>
                    <a:pt x="138" y="138"/>
                  </a:lnTo>
                  <a:lnTo>
                    <a:pt x="138" y="138"/>
                  </a:lnTo>
                  <a:lnTo>
                    <a:pt x="132" y="134"/>
                  </a:lnTo>
                  <a:lnTo>
                    <a:pt x="128" y="128"/>
                  </a:lnTo>
                  <a:lnTo>
                    <a:pt x="124" y="118"/>
                  </a:lnTo>
                  <a:lnTo>
                    <a:pt x="122" y="110"/>
                  </a:lnTo>
                  <a:lnTo>
                    <a:pt x="120" y="108"/>
                  </a:lnTo>
                  <a:lnTo>
                    <a:pt x="116" y="106"/>
                  </a:lnTo>
                  <a:lnTo>
                    <a:pt x="116" y="106"/>
                  </a:lnTo>
                  <a:lnTo>
                    <a:pt x="102" y="104"/>
                  </a:lnTo>
                  <a:lnTo>
                    <a:pt x="96" y="104"/>
                  </a:lnTo>
                  <a:lnTo>
                    <a:pt x="96" y="104"/>
                  </a:lnTo>
                  <a:lnTo>
                    <a:pt x="90" y="104"/>
                  </a:lnTo>
                  <a:lnTo>
                    <a:pt x="76" y="106"/>
                  </a:lnTo>
                  <a:lnTo>
                    <a:pt x="68" y="108"/>
                  </a:lnTo>
                  <a:lnTo>
                    <a:pt x="58" y="112"/>
                  </a:lnTo>
                  <a:lnTo>
                    <a:pt x="50" y="118"/>
                  </a:lnTo>
                  <a:lnTo>
                    <a:pt x="44" y="128"/>
                  </a:lnTo>
                  <a:lnTo>
                    <a:pt x="44" y="128"/>
                  </a:lnTo>
                  <a:lnTo>
                    <a:pt x="26" y="156"/>
                  </a:lnTo>
                  <a:lnTo>
                    <a:pt x="24" y="164"/>
                  </a:lnTo>
                  <a:lnTo>
                    <a:pt x="24" y="164"/>
                  </a:lnTo>
                  <a:lnTo>
                    <a:pt x="26" y="176"/>
                  </a:lnTo>
                  <a:lnTo>
                    <a:pt x="30" y="188"/>
                  </a:lnTo>
                  <a:lnTo>
                    <a:pt x="30" y="200"/>
                  </a:lnTo>
                  <a:lnTo>
                    <a:pt x="30" y="200"/>
                  </a:lnTo>
                  <a:lnTo>
                    <a:pt x="30" y="206"/>
                  </a:lnTo>
                  <a:lnTo>
                    <a:pt x="26" y="212"/>
                  </a:lnTo>
                  <a:lnTo>
                    <a:pt x="18" y="226"/>
                  </a:lnTo>
                  <a:lnTo>
                    <a:pt x="8" y="240"/>
                  </a:lnTo>
                  <a:lnTo>
                    <a:pt x="4" y="252"/>
                  </a:lnTo>
                  <a:lnTo>
                    <a:pt x="4" y="252"/>
                  </a:lnTo>
                  <a:lnTo>
                    <a:pt x="0" y="264"/>
                  </a:lnTo>
                  <a:lnTo>
                    <a:pt x="0" y="278"/>
                  </a:lnTo>
                  <a:lnTo>
                    <a:pt x="2" y="308"/>
                  </a:lnTo>
                  <a:lnTo>
                    <a:pt x="2" y="308"/>
                  </a:lnTo>
                  <a:lnTo>
                    <a:pt x="8" y="338"/>
                  </a:lnTo>
                  <a:lnTo>
                    <a:pt x="10" y="352"/>
                  </a:lnTo>
                  <a:lnTo>
                    <a:pt x="10" y="352"/>
                  </a:lnTo>
                  <a:lnTo>
                    <a:pt x="30" y="340"/>
                  </a:lnTo>
                  <a:lnTo>
                    <a:pt x="44" y="330"/>
                  </a:lnTo>
                  <a:lnTo>
                    <a:pt x="56" y="326"/>
                  </a:lnTo>
                  <a:lnTo>
                    <a:pt x="56" y="326"/>
                  </a:lnTo>
                  <a:lnTo>
                    <a:pt x="96" y="316"/>
                  </a:lnTo>
                  <a:lnTo>
                    <a:pt x="138" y="304"/>
                  </a:lnTo>
                  <a:lnTo>
                    <a:pt x="138" y="304"/>
                  </a:lnTo>
                  <a:lnTo>
                    <a:pt x="176" y="302"/>
                  </a:lnTo>
                  <a:lnTo>
                    <a:pt x="216" y="304"/>
                  </a:lnTo>
                  <a:lnTo>
                    <a:pt x="216" y="304"/>
                  </a:lnTo>
                  <a:lnTo>
                    <a:pt x="236" y="302"/>
                  </a:lnTo>
                  <a:lnTo>
                    <a:pt x="270" y="298"/>
                  </a:lnTo>
                  <a:lnTo>
                    <a:pt x="314" y="292"/>
                  </a:lnTo>
                  <a:lnTo>
                    <a:pt x="314" y="292"/>
                  </a:lnTo>
                  <a:lnTo>
                    <a:pt x="324" y="300"/>
                  </a:lnTo>
                  <a:lnTo>
                    <a:pt x="334" y="308"/>
                  </a:lnTo>
                  <a:lnTo>
                    <a:pt x="342" y="312"/>
                  </a:lnTo>
                  <a:lnTo>
                    <a:pt x="342" y="312"/>
                  </a:lnTo>
                  <a:lnTo>
                    <a:pt x="372" y="326"/>
                  </a:lnTo>
                  <a:lnTo>
                    <a:pt x="400" y="340"/>
                  </a:lnTo>
                  <a:lnTo>
                    <a:pt x="400" y="340"/>
                  </a:lnTo>
                  <a:lnTo>
                    <a:pt x="412" y="350"/>
                  </a:lnTo>
                  <a:lnTo>
                    <a:pt x="426" y="362"/>
                  </a:lnTo>
                  <a:lnTo>
                    <a:pt x="442" y="380"/>
                  </a:lnTo>
                  <a:lnTo>
                    <a:pt x="442" y="380"/>
                  </a:lnTo>
                  <a:lnTo>
                    <a:pt x="456" y="380"/>
                  </a:lnTo>
                  <a:lnTo>
                    <a:pt x="466" y="382"/>
                  </a:lnTo>
                  <a:lnTo>
                    <a:pt x="476" y="384"/>
                  </a:lnTo>
                  <a:lnTo>
                    <a:pt x="476" y="384"/>
                  </a:lnTo>
                  <a:lnTo>
                    <a:pt x="480" y="384"/>
                  </a:lnTo>
                  <a:lnTo>
                    <a:pt x="486" y="382"/>
                  </a:lnTo>
                  <a:lnTo>
                    <a:pt x="502" y="376"/>
                  </a:lnTo>
                  <a:lnTo>
                    <a:pt x="520" y="366"/>
                  </a:lnTo>
                  <a:lnTo>
                    <a:pt x="528" y="360"/>
                  </a:lnTo>
                  <a:lnTo>
                    <a:pt x="532" y="354"/>
                  </a:lnTo>
                  <a:lnTo>
                    <a:pt x="532" y="354"/>
                  </a:lnTo>
                  <a:lnTo>
                    <a:pt x="546" y="340"/>
                  </a:lnTo>
                  <a:lnTo>
                    <a:pt x="564" y="322"/>
                  </a:lnTo>
                  <a:lnTo>
                    <a:pt x="588" y="298"/>
                  </a:lnTo>
                  <a:lnTo>
                    <a:pt x="588" y="298"/>
                  </a:lnTo>
                  <a:lnTo>
                    <a:pt x="582" y="290"/>
                  </a:lnTo>
                  <a:lnTo>
                    <a:pt x="574" y="274"/>
                  </a:lnTo>
                  <a:lnTo>
                    <a:pt x="574" y="274"/>
                  </a:lnTo>
                  <a:lnTo>
                    <a:pt x="568" y="262"/>
                  </a:lnTo>
                  <a:lnTo>
                    <a:pt x="558" y="248"/>
                  </a:lnTo>
                  <a:lnTo>
                    <a:pt x="540" y="220"/>
                  </a:lnTo>
                  <a:lnTo>
                    <a:pt x="540" y="220"/>
                  </a:lnTo>
                  <a:lnTo>
                    <a:pt x="532" y="206"/>
                  </a:lnTo>
                  <a:lnTo>
                    <a:pt x="528" y="188"/>
                  </a:lnTo>
                  <a:lnTo>
                    <a:pt x="520" y="154"/>
                  </a:lnTo>
                  <a:lnTo>
                    <a:pt x="520" y="154"/>
                  </a:lnTo>
                  <a:lnTo>
                    <a:pt x="514" y="138"/>
                  </a:lnTo>
                  <a:lnTo>
                    <a:pt x="508" y="120"/>
                  </a:lnTo>
                  <a:lnTo>
                    <a:pt x="498" y="100"/>
                  </a:lnTo>
                  <a:lnTo>
                    <a:pt x="498" y="100"/>
                  </a:lnTo>
                  <a:lnTo>
                    <a:pt x="480" y="98"/>
                  </a:lnTo>
                  <a:lnTo>
                    <a:pt x="466" y="96"/>
                  </a:lnTo>
                  <a:lnTo>
                    <a:pt x="454" y="96"/>
                  </a:lnTo>
                  <a:lnTo>
                    <a:pt x="454" y="96"/>
                  </a:lnTo>
                  <a:lnTo>
                    <a:pt x="444" y="98"/>
                  </a:lnTo>
                  <a:lnTo>
                    <a:pt x="432" y="104"/>
                  </a:lnTo>
                  <a:lnTo>
                    <a:pt x="422" y="106"/>
                  </a:lnTo>
                  <a:lnTo>
                    <a:pt x="418" y="106"/>
                  </a:lnTo>
                  <a:lnTo>
                    <a:pt x="414" y="104"/>
                  </a:lnTo>
                  <a:lnTo>
                    <a:pt x="414" y="104"/>
                  </a:lnTo>
                  <a:lnTo>
                    <a:pt x="408" y="100"/>
                  </a:lnTo>
                  <a:lnTo>
                    <a:pt x="400" y="92"/>
                  </a:lnTo>
                  <a:lnTo>
                    <a:pt x="388" y="82"/>
                  </a:lnTo>
                  <a:lnTo>
                    <a:pt x="388" y="82"/>
                  </a:lnTo>
                  <a:lnTo>
                    <a:pt x="380" y="74"/>
                  </a:lnTo>
                  <a:lnTo>
                    <a:pt x="368" y="62"/>
                  </a:lnTo>
                  <a:lnTo>
                    <a:pt x="358" y="50"/>
                  </a:lnTo>
                  <a:lnTo>
                    <a:pt x="352" y="44"/>
                  </a:lnTo>
                  <a:lnTo>
                    <a:pt x="348" y="42"/>
                  </a:lnTo>
                  <a:lnTo>
                    <a:pt x="348" y="42"/>
                  </a:lnTo>
                  <a:lnTo>
                    <a:pt x="322" y="36"/>
                  </a:lnTo>
                  <a:lnTo>
                    <a:pt x="308" y="30"/>
                  </a:lnTo>
                  <a:lnTo>
                    <a:pt x="298" y="26"/>
                  </a:lnTo>
                  <a:lnTo>
                    <a:pt x="298" y="26"/>
                  </a:lnTo>
                  <a:lnTo>
                    <a:pt x="286" y="14"/>
                  </a:lnTo>
                  <a:lnTo>
                    <a:pt x="280" y="8"/>
                  </a:lnTo>
                  <a:lnTo>
                    <a:pt x="272" y="4"/>
                  </a:lnTo>
                  <a:lnTo>
                    <a:pt x="272" y="4"/>
                  </a:lnTo>
                  <a:lnTo>
                    <a:pt x="262" y="2"/>
                  </a:lnTo>
                  <a:lnTo>
                    <a:pt x="250" y="0"/>
                  </a:lnTo>
                  <a:lnTo>
                    <a:pt x="240" y="0"/>
                  </a:lnTo>
                  <a:lnTo>
                    <a:pt x="238" y="2"/>
                  </a:lnTo>
                  <a:lnTo>
                    <a:pt x="238" y="4"/>
                  </a:lnTo>
                  <a:lnTo>
                    <a:pt x="238" y="4"/>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65" name="Freeform 32"/>
            <p:cNvSpPr>
              <a:spLocks/>
            </p:cNvSpPr>
            <p:nvPr/>
          </p:nvSpPr>
          <p:spPr bwMode="auto">
            <a:xfrm>
              <a:off x="4662283" y="2080153"/>
              <a:ext cx="507580" cy="1217886"/>
            </a:xfrm>
            <a:custGeom>
              <a:avLst/>
              <a:gdLst/>
              <a:ahLst/>
              <a:cxnLst>
                <a:cxn ang="0">
                  <a:pos x="424" y="1492"/>
                </a:cxn>
                <a:cxn ang="0">
                  <a:pos x="354" y="1512"/>
                </a:cxn>
                <a:cxn ang="0">
                  <a:pos x="290" y="1572"/>
                </a:cxn>
                <a:cxn ang="0">
                  <a:pos x="202" y="1596"/>
                </a:cxn>
                <a:cxn ang="0">
                  <a:pos x="138" y="1578"/>
                </a:cxn>
                <a:cxn ang="0">
                  <a:pos x="120" y="1560"/>
                </a:cxn>
                <a:cxn ang="0">
                  <a:pos x="64" y="1530"/>
                </a:cxn>
                <a:cxn ang="0">
                  <a:pos x="42" y="1534"/>
                </a:cxn>
                <a:cxn ang="0">
                  <a:pos x="28" y="1534"/>
                </a:cxn>
                <a:cxn ang="0">
                  <a:pos x="0" y="1508"/>
                </a:cxn>
                <a:cxn ang="0">
                  <a:pos x="6" y="1458"/>
                </a:cxn>
                <a:cxn ang="0">
                  <a:pos x="16" y="1318"/>
                </a:cxn>
                <a:cxn ang="0">
                  <a:pos x="8" y="1262"/>
                </a:cxn>
                <a:cxn ang="0">
                  <a:pos x="6" y="1182"/>
                </a:cxn>
                <a:cxn ang="0">
                  <a:pos x="6" y="1156"/>
                </a:cxn>
                <a:cxn ang="0">
                  <a:pos x="50" y="1100"/>
                </a:cxn>
                <a:cxn ang="0">
                  <a:pos x="122" y="1006"/>
                </a:cxn>
                <a:cxn ang="0">
                  <a:pos x="182" y="916"/>
                </a:cxn>
                <a:cxn ang="0">
                  <a:pos x="202" y="870"/>
                </a:cxn>
                <a:cxn ang="0">
                  <a:pos x="210" y="804"/>
                </a:cxn>
                <a:cxn ang="0">
                  <a:pos x="238" y="812"/>
                </a:cxn>
                <a:cxn ang="0">
                  <a:pos x="240" y="794"/>
                </a:cxn>
                <a:cxn ang="0">
                  <a:pos x="226" y="722"/>
                </a:cxn>
                <a:cxn ang="0">
                  <a:pos x="202" y="696"/>
                </a:cxn>
                <a:cxn ang="0">
                  <a:pos x="168" y="686"/>
                </a:cxn>
                <a:cxn ang="0">
                  <a:pos x="154" y="636"/>
                </a:cxn>
                <a:cxn ang="0">
                  <a:pos x="150" y="584"/>
                </a:cxn>
                <a:cxn ang="0">
                  <a:pos x="150" y="462"/>
                </a:cxn>
                <a:cxn ang="0">
                  <a:pos x="138" y="362"/>
                </a:cxn>
                <a:cxn ang="0">
                  <a:pos x="120" y="306"/>
                </a:cxn>
                <a:cxn ang="0">
                  <a:pos x="90" y="230"/>
                </a:cxn>
                <a:cxn ang="0">
                  <a:pos x="110" y="220"/>
                </a:cxn>
                <a:cxn ang="0">
                  <a:pos x="198" y="224"/>
                </a:cxn>
                <a:cxn ang="0">
                  <a:pos x="222" y="226"/>
                </a:cxn>
                <a:cxn ang="0">
                  <a:pos x="250" y="142"/>
                </a:cxn>
                <a:cxn ang="0">
                  <a:pos x="292" y="38"/>
                </a:cxn>
                <a:cxn ang="0">
                  <a:pos x="332" y="0"/>
                </a:cxn>
                <a:cxn ang="0">
                  <a:pos x="376" y="8"/>
                </a:cxn>
                <a:cxn ang="0">
                  <a:pos x="434" y="42"/>
                </a:cxn>
                <a:cxn ang="0">
                  <a:pos x="470" y="58"/>
                </a:cxn>
                <a:cxn ang="0">
                  <a:pos x="452" y="98"/>
                </a:cxn>
                <a:cxn ang="0">
                  <a:pos x="406" y="150"/>
                </a:cxn>
                <a:cxn ang="0">
                  <a:pos x="410" y="230"/>
                </a:cxn>
                <a:cxn ang="0">
                  <a:pos x="418" y="288"/>
                </a:cxn>
                <a:cxn ang="0">
                  <a:pos x="470" y="328"/>
                </a:cxn>
                <a:cxn ang="0">
                  <a:pos x="504" y="372"/>
                </a:cxn>
                <a:cxn ang="0">
                  <a:pos x="484" y="418"/>
                </a:cxn>
                <a:cxn ang="0">
                  <a:pos x="464" y="472"/>
                </a:cxn>
                <a:cxn ang="0">
                  <a:pos x="464" y="558"/>
                </a:cxn>
                <a:cxn ang="0">
                  <a:pos x="500" y="628"/>
                </a:cxn>
                <a:cxn ang="0">
                  <a:pos x="520" y="774"/>
                </a:cxn>
                <a:cxn ang="0">
                  <a:pos x="534" y="816"/>
                </a:cxn>
                <a:cxn ang="0">
                  <a:pos x="540" y="864"/>
                </a:cxn>
                <a:cxn ang="0">
                  <a:pos x="560" y="882"/>
                </a:cxn>
                <a:cxn ang="0">
                  <a:pos x="574" y="948"/>
                </a:cxn>
                <a:cxn ang="0">
                  <a:pos x="634" y="1046"/>
                </a:cxn>
                <a:cxn ang="0">
                  <a:pos x="666" y="1120"/>
                </a:cxn>
                <a:cxn ang="0">
                  <a:pos x="616" y="1220"/>
                </a:cxn>
                <a:cxn ang="0">
                  <a:pos x="612" y="1248"/>
                </a:cxn>
                <a:cxn ang="0">
                  <a:pos x="612" y="1282"/>
                </a:cxn>
              </a:cxnLst>
              <a:rect l="0" t="0" r="r" b="b"/>
              <a:pathLst>
                <a:path w="666" h="1598">
                  <a:moveTo>
                    <a:pt x="484" y="1460"/>
                  </a:moveTo>
                  <a:lnTo>
                    <a:pt x="484" y="1460"/>
                  </a:lnTo>
                  <a:lnTo>
                    <a:pt x="472" y="1468"/>
                  </a:lnTo>
                  <a:lnTo>
                    <a:pt x="450" y="1480"/>
                  </a:lnTo>
                  <a:lnTo>
                    <a:pt x="424" y="1492"/>
                  </a:lnTo>
                  <a:lnTo>
                    <a:pt x="396" y="1502"/>
                  </a:lnTo>
                  <a:lnTo>
                    <a:pt x="396" y="1502"/>
                  </a:lnTo>
                  <a:lnTo>
                    <a:pt x="374" y="1508"/>
                  </a:lnTo>
                  <a:lnTo>
                    <a:pt x="360" y="1510"/>
                  </a:lnTo>
                  <a:lnTo>
                    <a:pt x="354" y="1512"/>
                  </a:lnTo>
                  <a:lnTo>
                    <a:pt x="346" y="1518"/>
                  </a:lnTo>
                  <a:lnTo>
                    <a:pt x="328" y="1536"/>
                  </a:lnTo>
                  <a:lnTo>
                    <a:pt x="328" y="1536"/>
                  </a:lnTo>
                  <a:lnTo>
                    <a:pt x="302" y="1562"/>
                  </a:lnTo>
                  <a:lnTo>
                    <a:pt x="290" y="1572"/>
                  </a:lnTo>
                  <a:lnTo>
                    <a:pt x="276" y="1582"/>
                  </a:lnTo>
                  <a:lnTo>
                    <a:pt x="260" y="1590"/>
                  </a:lnTo>
                  <a:lnTo>
                    <a:pt x="244" y="1596"/>
                  </a:lnTo>
                  <a:lnTo>
                    <a:pt x="224" y="1598"/>
                  </a:lnTo>
                  <a:lnTo>
                    <a:pt x="202" y="1596"/>
                  </a:lnTo>
                  <a:lnTo>
                    <a:pt x="202" y="1596"/>
                  </a:lnTo>
                  <a:lnTo>
                    <a:pt x="180" y="1592"/>
                  </a:lnTo>
                  <a:lnTo>
                    <a:pt x="162" y="1588"/>
                  </a:lnTo>
                  <a:lnTo>
                    <a:pt x="148" y="1584"/>
                  </a:lnTo>
                  <a:lnTo>
                    <a:pt x="138" y="1578"/>
                  </a:lnTo>
                  <a:lnTo>
                    <a:pt x="130" y="1574"/>
                  </a:lnTo>
                  <a:lnTo>
                    <a:pt x="124" y="1568"/>
                  </a:lnTo>
                  <a:lnTo>
                    <a:pt x="120" y="1564"/>
                  </a:lnTo>
                  <a:lnTo>
                    <a:pt x="120" y="1560"/>
                  </a:lnTo>
                  <a:lnTo>
                    <a:pt x="120" y="1560"/>
                  </a:lnTo>
                  <a:lnTo>
                    <a:pt x="118" y="1556"/>
                  </a:lnTo>
                  <a:lnTo>
                    <a:pt x="114" y="1554"/>
                  </a:lnTo>
                  <a:lnTo>
                    <a:pt x="100" y="1546"/>
                  </a:lnTo>
                  <a:lnTo>
                    <a:pt x="82" y="1536"/>
                  </a:lnTo>
                  <a:lnTo>
                    <a:pt x="64" y="1530"/>
                  </a:lnTo>
                  <a:lnTo>
                    <a:pt x="64" y="1530"/>
                  </a:lnTo>
                  <a:lnTo>
                    <a:pt x="56" y="1528"/>
                  </a:lnTo>
                  <a:lnTo>
                    <a:pt x="50" y="1528"/>
                  </a:lnTo>
                  <a:lnTo>
                    <a:pt x="46" y="1532"/>
                  </a:lnTo>
                  <a:lnTo>
                    <a:pt x="42" y="1534"/>
                  </a:lnTo>
                  <a:lnTo>
                    <a:pt x="40" y="1538"/>
                  </a:lnTo>
                  <a:lnTo>
                    <a:pt x="36" y="1540"/>
                  </a:lnTo>
                  <a:lnTo>
                    <a:pt x="34" y="1538"/>
                  </a:lnTo>
                  <a:lnTo>
                    <a:pt x="28" y="1534"/>
                  </a:lnTo>
                  <a:lnTo>
                    <a:pt x="28" y="1534"/>
                  </a:lnTo>
                  <a:lnTo>
                    <a:pt x="24" y="1528"/>
                  </a:lnTo>
                  <a:lnTo>
                    <a:pt x="18" y="1524"/>
                  </a:lnTo>
                  <a:lnTo>
                    <a:pt x="8" y="1518"/>
                  </a:lnTo>
                  <a:lnTo>
                    <a:pt x="4" y="1514"/>
                  </a:lnTo>
                  <a:lnTo>
                    <a:pt x="0" y="1508"/>
                  </a:lnTo>
                  <a:lnTo>
                    <a:pt x="0" y="1500"/>
                  </a:lnTo>
                  <a:lnTo>
                    <a:pt x="0" y="1490"/>
                  </a:lnTo>
                  <a:lnTo>
                    <a:pt x="0" y="1490"/>
                  </a:lnTo>
                  <a:lnTo>
                    <a:pt x="2" y="1472"/>
                  </a:lnTo>
                  <a:lnTo>
                    <a:pt x="6" y="1458"/>
                  </a:lnTo>
                  <a:lnTo>
                    <a:pt x="8" y="1438"/>
                  </a:lnTo>
                  <a:lnTo>
                    <a:pt x="10" y="1398"/>
                  </a:lnTo>
                  <a:lnTo>
                    <a:pt x="10" y="1398"/>
                  </a:lnTo>
                  <a:lnTo>
                    <a:pt x="12" y="1352"/>
                  </a:lnTo>
                  <a:lnTo>
                    <a:pt x="16" y="1318"/>
                  </a:lnTo>
                  <a:lnTo>
                    <a:pt x="16" y="1302"/>
                  </a:lnTo>
                  <a:lnTo>
                    <a:pt x="16" y="1288"/>
                  </a:lnTo>
                  <a:lnTo>
                    <a:pt x="12" y="1276"/>
                  </a:lnTo>
                  <a:lnTo>
                    <a:pt x="8" y="1262"/>
                  </a:lnTo>
                  <a:lnTo>
                    <a:pt x="8" y="1262"/>
                  </a:lnTo>
                  <a:lnTo>
                    <a:pt x="2" y="1248"/>
                  </a:lnTo>
                  <a:lnTo>
                    <a:pt x="0" y="1234"/>
                  </a:lnTo>
                  <a:lnTo>
                    <a:pt x="0" y="1220"/>
                  </a:lnTo>
                  <a:lnTo>
                    <a:pt x="2" y="1204"/>
                  </a:lnTo>
                  <a:lnTo>
                    <a:pt x="6" y="1182"/>
                  </a:lnTo>
                  <a:lnTo>
                    <a:pt x="8" y="1172"/>
                  </a:lnTo>
                  <a:lnTo>
                    <a:pt x="8" y="1172"/>
                  </a:lnTo>
                  <a:lnTo>
                    <a:pt x="6" y="1170"/>
                  </a:lnTo>
                  <a:lnTo>
                    <a:pt x="6" y="1164"/>
                  </a:lnTo>
                  <a:lnTo>
                    <a:pt x="6" y="1156"/>
                  </a:lnTo>
                  <a:lnTo>
                    <a:pt x="10" y="1146"/>
                  </a:lnTo>
                  <a:lnTo>
                    <a:pt x="18" y="1134"/>
                  </a:lnTo>
                  <a:lnTo>
                    <a:pt x="32" y="1118"/>
                  </a:lnTo>
                  <a:lnTo>
                    <a:pt x="50" y="1100"/>
                  </a:lnTo>
                  <a:lnTo>
                    <a:pt x="50" y="1100"/>
                  </a:lnTo>
                  <a:lnTo>
                    <a:pt x="70" y="1080"/>
                  </a:lnTo>
                  <a:lnTo>
                    <a:pt x="84" y="1064"/>
                  </a:lnTo>
                  <a:lnTo>
                    <a:pt x="96" y="1048"/>
                  </a:lnTo>
                  <a:lnTo>
                    <a:pt x="106" y="1034"/>
                  </a:lnTo>
                  <a:lnTo>
                    <a:pt x="122" y="1006"/>
                  </a:lnTo>
                  <a:lnTo>
                    <a:pt x="138" y="974"/>
                  </a:lnTo>
                  <a:lnTo>
                    <a:pt x="138" y="974"/>
                  </a:lnTo>
                  <a:lnTo>
                    <a:pt x="150" y="956"/>
                  </a:lnTo>
                  <a:lnTo>
                    <a:pt x="162" y="942"/>
                  </a:lnTo>
                  <a:lnTo>
                    <a:pt x="182" y="916"/>
                  </a:lnTo>
                  <a:lnTo>
                    <a:pt x="192" y="904"/>
                  </a:lnTo>
                  <a:lnTo>
                    <a:pt x="198" y="892"/>
                  </a:lnTo>
                  <a:lnTo>
                    <a:pt x="202" y="882"/>
                  </a:lnTo>
                  <a:lnTo>
                    <a:pt x="202" y="870"/>
                  </a:lnTo>
                  <a:lnTo>
                    <a:pt x="202" y="870"/>
                  </a:lnTo>
                  <a:lnTo>
                    <a:pt x="200" y="846"/>
                  </a:lnTo>
                  <a:lnTo>
                    <a:pt x="202" y="824"/>
                  </a:lnTo>
                  <a:lnTo>
                    <a:pt x="202" y="816"/>
                  </a:lnTo>
                  <a:lnTo>
                    <a:pt x="206" y="808"/>
                  </a:lnTo>
                  <a:lnTo>
                    <a:pt x="210" y="804"/>
                  </a:lnTo>
                  <a:lnTo>
                    <a:pt x="214" y="802"/>
                  </a:lnTo>
                  <a:lnTo>
                    <a:pt x="214" y="802"/>
                  </a:lnTo>
                  <a:lnTo>
                    <a:pt x="220" y="802"/>
                  </a:lnTo>
                  <a:lnTo>
                    <a:pt x="226" y="804"/>
                  </a:lnTo>
                  <a:lnTo>
                    <a:pt x="238" y="812"/>
                  </a:lnTo>
                  <a:lnTo>
                    <a:pt x="242" y="814"/>
                  </a:lnTo>
                  <a:lnTo>
                    <a:pt x="244" y="814"/>
                  </a:lnTo>
                  <a:lnTo>
                    <a:pt x="244" y="812"/>
                  </a:lnTo>
                  <a:lnTo>
                    <a:pt x="244" y="806"/>
                  </a:lnTo>
                  <a:lnTo>
                    <a:pt x="240" y="794"/>
                  </a:lnTo>
                  <a:lnTo>
                    <a:pt x="240" y="794"/>
                  </a:lnTo>
                  <a:lnTo>
                    <a:pt x="234" y="778"/>
                  </a:lnTo>
                  <a:lnTo>
                    <a:pt x="232" y="762"/>
                  </a:lnTo>
                  <a:lnTo>
                    <a:pt x="228" y="734"/>
                  </a:lnTo>
                  <a:lnTo>
                    <a:pt x="226" y="722"/>
                  </a:lnTo>
                  <a:lnTo>
                    <a:pt x="224" y="710"/>
                  </a:lnTo>
                  <a:lnTo>
                    <a:pt x="220" y="702"/>
                  </a:lnTo>
                  <a:lnTo>
                    <a:pt x="212" y="698"/>
                  </a:lnTo>
                  <a:lnTo>
                    <a:pt x="212" y="698"/>
                  </a:lnTo>
                  <a:lnTo>
                    <a:pt x="202" y="696"/>
                  </a:lnTo>
                  <a:lnTo>
                    <a:pt x="194" y="696"/>
                  </a:lnTo>
                  <a:lnTo>
                    <a:pt x="182" y="696"/>
                  </a:lnTo>
                  <a:lnTo>
                    <a:pt x="176" y="694"/>
                  </a:lnTo>
                  <a:lnTo>
                    <a:pt x="172" y="692"/>
                  </a:lnTo>
                  <a:lnTo>
                    <a:pt x="168" y="686"/>
                  </a:lnTo>
                  <a:lnTo>
                    <a:pt x="166" y="676"/>
                  </a:lnTo>
                  <a:lnTo>
                    <a:pt x="166" y="676"/>
                  </a:lnTo>
                  <a:lnTo>
                    <a:pt x="164" y="664"/>
                  </a:lnTo>
                  <a:lnTo>
                    <a:pt x="160" y="654"/>
                  </a:lnTo>
                  <a:lnTo>
                    <a:pt x="154" y="636"/>
                  </a:lnTo>
                  <a:lnTo>
                    <a:pt x="150" y="626"/>
                  </a:lnTo>
                  <a:lnTo>
                    <a:pt x="148" y="614"/>
                  </a:lnTo>
                  <a:lnTo>
                    <a:pt x="148" y="600"/>
                  </a:lnTo>
                  <a:lnTo>
                    <a:pt x="150" y="584"/>
                  </a:lnTo>
                  <a:lnTo>
                    <a:pt x="150" y="584"/>
                  </a:lnTo>
                  <a:lnTo>
                    <a:pt x="154" y="550"/>
                  </a:lnTo>
                  <a:lnTo>
                    <a:pt x="156" y="520"/>
                  </a:lnTo>
                  <a:lnTo>
                    <a:pt x="156" y="492"/>
                  </a:lnTo>
                  <a:lnTo>
                    <a:pt x="154" y="478"/>
                  </a:lnTo>
                  <a:lnTo>
                    <a:pt x="150" y="462"/>
                  </a:lnTo>
                  <a:lnTo>
                    <a:pt x="150" y="462"/>
                  </a:lnTo>
                  <a:lnTo>
                    <a:pt x="146" y="448"/>
                  </a:lnTo>
                  <a:lnTo>
                    <a:pt x="144" y="430"/>
                  </a:lnTo>
                  <a:lnTo>
                    <a:pt x="142" y="394"/>
                  </a:lnTo>
                  <a:lnTo>
                    <a:pt x="138" y="362"/>
                  </a:lnTo>
                  <a:lnTo>
                    <a:pt x="136" y="350"/>
                  </a:lnTo>
                  <a:lnTo>
                    <a:pt x="134" y="340"/>
                  </a:lnTo>
                  <a:lnTo>
                    <a:pt x="134" y="340"/>
                  </a:lnTo>
                  <a:lnTo>
                    <a:pt x="126" y="324"/>
                  </a:lnTo>
                  <a:lnTo>
                    <a:pt x="120" y="306"/>
                  </a:lnTo>
                  <a:lnTo>
                    <a:pt x="106" y="266"/>
                  </a:lnTo>
                  <a:lnTo>
                    <a:pt x="106" y="266"/>
                  </a:lnTo>
                  <a:lnTo>
                    <a:pt x="102" y="254"/>
                  </a:lnTo>
                  <a:lnTo>
                    <a:pt x="98" y="244"/>
                  </a:lnTo>
                  <a:lnTo>
                    <a:pt x="90" y="230"/>
                  </a:lnTo>
                  <a:lnTo>
                    <a:pt x="90" y="226"/>
                  </a:lnTo>
                  <a:lnTo>
                    <a:pt x="92" y="224"/>
                  </a:lnTo>
                  <a:lnTo>
                    <a:pt x="98" y="222"/>
                  </a:lnTo>
                  <a:lnTo>
                    <a:pt x="110" y="220"/>
                  </a:lnTo>
                  <a:lnTo>
                    <a:pt x="110" y="220"/>
                  </a:lnTo>
                  <a:lnTo>
                    <a:pt x="138" y="220"/>
                  </a:lnTo>
                  <a:lnTo>
                    <a:pt x="160" y="218"/>
                  </a:lnTo>
                  <a:lnTo>
                    <a:pt x="180" y="218"/>
                  </a:lnTo>
                  <a:lnTo>
                    <a:pt x="188" y="220"/>
                  </a:lnTo>
                  <a:lnTo>
                    <a:pt x="198" y="224"/>
                  </a:lnTo>
                  <a:lnTo>
                    <a:pt x="198" y="224"/>
                  </a:lnTo>
                  <a:lnTo>
                    <a:pt x="204" y="228"/>
                  </a:lnTo>
                  <a:lnTo>
                    <a:pt x="212" y="230"/>
                  </a:lnTo>
                  <a:lnTo>
                    <a:pt x="218" y="230"/>
                  </a:lnTo>
                  <a:lnTo>
                    <a:pt x="222" y="226"/>
                  </a:lnTo>
                  <a:lnTo>
                    <a:pt x="228" y="220"/>
                  </a:lnTo>
                  <a:lnTo>
                    <a:pt x="232" y="212"/>
                  </a:lnTo>
                  <a:lnTo>
                    <a:pt x="240" y="186"/>
                  </a:lnTo>
                  <a:lnTo>
                    <a:pt x="240" y="186"/>
                  </a:lnTo>
                  <a:lnTo>
                    <a:pt x="250" y="142"/>
                  </a:lnTo>
                  <a:lnTo>
                    <a:pt x="256" y="112"/>
                  </a:lnTo>
                  <a:lnTo>
                    <a:pt x="256" y="112"/>
                  </a:lnTo>
                  <a:lnTo>
                    <a:pt x="266" y="88"/>
                  </a:lnTo>
                  <a:lnTo>
                    <a:pt x="282" y="54"/>
                  </a:lnTo>
                  <a:lnTo>
                    <a:pt x="292" y="38"/>
                  </a:lnTo>
                  <a:lnTo>
                    <a:pt x="302" y="22"/>
                  </a:lnTo>
                  <a:lnTo>
                    <a:pt x="312" y="10"/>
                  </a:lnTo>
                  <a:lnTo>
                    <a:pt x="322" y="4"/>
                  </a:lnTo>
                  <a:lnTo>
                    <a:pt x="322" y="4"/>
                  </a:lnTo>
                  <a:lnTo>
                    <a:pt x="332" y="0"/>
                  </a:lnTo>
                  <a:lnTo>
                    <a:pt x="340" y="0"/>
                  </a:lnTo>
                  <a:lnTo>
                    <a:pt x="350" y="0"/>
                  </a:lnTo>
                  <a:lnTo>
                    <a:pt x="358" y="2"/>
                  </a:lnTo>
                  <a:lnTo>
                    <a:pt x="368" y="4"/>
                  </a:lnTo>
                  <a:lnTo>
                    <a:pt x="376" y="8"/>
                  </a:lnTo>
                  <a:lnTo>
                    <a:pt x="392" y="20"/>
                  </a:lnTo>
                  <a:lnTo>
                    <a:pt x="392" y="20"/>
                  </a:lnTo>
                  <a:lnTo>
                    <a:pt x="402" y="28"/>
                  </a:lnTo>
                  <a:lnTo>
                    <a:pt x="412" y="32"/>
                  </a:lnTo>
                  <a:lnTo>
                    <a:pt x="434" y="42"/>
                  </a:lnTo>
                  <a:lnTo>
                    <a:pt x="452" y="48"/>
                  </a:lnTo>
                  <a:lnTo>
                    <a:pt x="464" y="54"/>
                  </a:lnTo>
                  <a:lnTo>
                    <a:pt x="464" y="54"/>
                  </a:lnTo>
                  <a:lnTo>
                    <a:pt x="468" y="56"/>
                  </a:lnTo>
                  <a:lnTo>
                    <a:pt x="470" y="58"/>
                  </a:lnTo>
                  <a:lnTo>
                    <a:pt x="470" y="66"/>
                  </a:lnTo>
                  <a:lnTo>
                    <a:pt x="468" y="76"/>
                  </a:lnTo>
                  <a:lnTo>
                    <a:pt x="468" y="76"/>
                  </a:lnTo>
                  <a:lnTo>
                    <a:pt x="462" y="88"/>
                  </a:lnTo>
                  <a:lnTo>
                    <a:pt x="452" y="98"/>
                  </a:lnTo>
                  <a:lnTo>
                    <a:pt x="440" y="108"/>
                  </a:lnTo>
                  <a:lnTo>
                    <a:pt x="440" y="108"/>
                  </a:lnTo>
                  <a:lnTo>
                    <a:pt x="426" y="120"/>
                  </a:lnTo>
                  <a:lnTo>
                    <a:pt x="414" y="134"/>
                  </a:lnTo>
                  <a:lnTo>
                    <a:pt x="406" y="150"/>
                  </a:lnTo>
                  <a:lnTo>
                    <a:pt x="404" y="156"/>
                  </a:lnTo>
                  <a:lnTo>
                    <a:pt x="402" y="164"/>
                  </a:lnTo>
                  <a:lnTo>
                    <a:pt x="402" y="164"/>
                  </a:lnTo>
                  <a:lnTo>
                    <a:pt x="406" y="196"/>
                  </a:lnTo>
                  <a:lnTo>
                    <a:pt x="410" y="230"/>
                  </a:lnTo>
                  <a:lnTo>
                    <a:pt x="410" y="230"/>
                  </a:lnTo>
                  <a:lnTo>
                    <a:pt x="410" y="260"/>
                  </a:lnTo>
                  <a:lnTo>
                    <a:pt x="414" y="276"/>
                  </a:lnTo>
                  <a:lnTo>
                    <a:pt x="418" y="288"/>
                  </a:lnTo>
                  <a:lnTo>
                    <a:pt x="418" y="288"/>
                  </a:lnTo>
                  <a:lnTo>
                    <a:pt x="422" y="294"/>
                  </a:lnTo>
                  <a:lnTo>
                    <a:pt x="430" y="298"/>
                  </a:lnTo>
                  <a:lnTo>
                    <a:pt x="446" y="310"/>
                  </a:lnTo>
                  <a:lnTo>
                    <a:pt x="462" y="322"/>
                  </a:lnTo>
                  <a:lnTo>
                    <a:pt x="470" y="328"/>
                  </a:lnTo>
                  <a:lnTo>
                    <a:pt x="474" y="334"/>
                  </a:lnTo>
                  <a:lnTo>
                    <a:pt x="474" y="334"/>
                  </a:lnTo>
                  <a:lnTo>
                    <a:pt x="498" y="360"/>
                  </a:lnTo>
                  <a:lnTo>
                    <a:pt x="502" y="366"/>
                  </a:lnTo>
                  <a:lnTo>
                    <a:pt x="504" y="372"/>
                  </a:lnTo>
                  <a:lnTo>
                    <a:pt x="506" y="378"/>
                  </a:lnTo>
                  <a:lnTo>
                    <a:pt x="504" y="386"/>
                  </a:lnTo>
                  <a:lnTo>
                    <a:pt x="504" y="386"/>
                  </a:lnTo>
                  <a:lnTo>
                    <a:pt x="496" y="400"/>
                  </a:lnTo>
                  <a:lnTo>
                    <a:pt x="484" y="418"/>
                  </a:lnTo>
                  <a:lnTo>
                    <a:pt x="472" y="436"/>
                  </a:lnTo>
                  <a:lnTo>
                    <a:pt x="468" y="446"/>
                  </a:lnTo>
                  <a:lnTo>
                    <a:pt x="468" y="454"/>
                  </a:lnTo>
                  <a:lnTo>
                    <a:pt x="468" y="454"/>
                  </a:lnTo>
                  <a:lnTo>
                    <a:pt x="464" y="472"/>
                  </a:lnTo>
                  <a:lnTo>
                    <a:pt x="458" y="492"/>
                  </a:lnTo>
                  <a:lnTo>
                    <a:pt x="458" y="506"/>
                  </a:lnTo>
                  <a:lnTo>
                    <a:pt x="458" y="522"/>
                  </a:lnTo>
                  <a:lnTo>
                    <a:pt x="460" y="538"/>
                  </a:lnTo>
                  <a:lnTo>
                    <a:pt x="464" y="558"/>
                  </a:lnTo>
                  <a:lnTo>
                    <a:pt x="464" y="558"/>
                  </a:lnTo>
                  <a:lnTo>
                    <a:pt x="480" y="584"/>
                  </a:lnTo>
                  <a:lnTo>
                    <a:pt x="492" y="608"/>
                  </a:lnTo>
                  <a:lnTo>
                    <a:pt x="500" y="628"/>
                  </a:lnTo>
                  <a:lnTo>
                    <a:pt x="500" y="628"/>
                  </a:lnTo>
                  <a:lnTo>
                    <a:pt x="524" y="712"/>
                  </a:lnTo>
                  <a:lnTo>
                    <a:pt x="524" y="712"/>
                  </a:lnTo>
                  <a:lnTo>
                    <a:pt x="524" y="726"/>
                  </a:lnTo>
                  <a:lnTo>
                    <a:pt x="522" y="750"/>
                  </a:lnTo>
                  <a:lnTo>
                    <a:pt x="520" y="774"/>
                  </a:lnTo>
                  <a:lnTo>
                    <a:pt x="520" y="788"/>
                  </a:lnTo>
                  <a:lnTo>
                    <a:pt x="520" y="788"/>
                  </a:lnTo>
                  <a:lnTo>
                    <a:pt x="522" y="796"/>
                  </a:lnTo>
                  <a:lnTo>
                    <a:pt x="528" y="806"/>
                  </a:lnTo>
                  <a:lnTo>
                    <a:pt x="534" y="816"/>
                  </a:lnTo>
                  <a:lnTo>
                    <a:pt x="538" y="826"/>
                  </a:lnTo>
                  <a:lnTo>
                    <a:pt x="538" y="826"/>
                  </a:lnTo>
                  <a:lnTo>
                    <a:pt x="540" y="838"/>
                  </a:lnTo>
                  <a:lnTo>
                    <a:pt x="538" y="852"/>
                  </a:lnTo>
                  <a:lnTo>
                    <a:pt x="540" y="864"/>
                  </a:lnTo>
                  <a:lnTo>
                    <a:pt x="542" y="870"/>
                  </a:lnTo>
                  <a:lnTo>
                    <a:pt x="546" y="874"/>
                  </a:lnTo>
                  <a:lnTo>
                    <a:pt x="546" y="874"/>
                  </a:lnTo>
                  <a:lnTo>
                    <a:pt x="554" y="878"/>
                  </a:lnTo>
                  <a:lnTo>
                    <a:pt x="560" y="882"/>
                  </a:lnTo>
                  <a:lnTo>
                    <a:pt x="564" y="888"/>
                  </a:lnTo>
                  <a:lnTo>
                    <a:pt x="568" y="900"/>
                  </a:lnTo>
                  <a:lnTo>
                    <a:pt x="568" y="900"/>
                  </a:lnTo>
                  <a:lnTo>
                    <a:pt x="572" y="938"/>
                  </a:lnTo>
                  <a:lnTo>
                    <a:pt x="574" y="948"/>
                  </a:lnTo>
                  <a:lnTo>
                    <a:pt x="578" y="960"/>
                  </a:lnTo>
                  <a:lnTo>
                    <a:pt x="584" y="972"/>
                  </a:lnTo>
                  <a:lnTo>
                    <a:pt x="592" y="986"/>
                  </a:lnTo>
                  <a:lnTo>
                    <a:pt x="592" y="986"/>
                  </a:lnTo>
                  <a:lnTo>
                    <a:pt x="634" y="1046"/>
                  </a:lnTo>
                  <a:lnTo>
                    <a:pt x="652" y="1072"/>
                  </a:lnTo>
                  <a:lnTo>
                    <a:pt x="664" y="1090"/>
                  </a:lnTo>
                  <a:lnTo>
                    <a:pt x="664" y="1090"/>
                  </a:lnTo>
                  <a:lnTo>
                    <a:pt x="666" y="1104"/>
                  </a:lnTo>
                  <a:lnTo>
                    <a:pt x="666" y="1120"/>
                  </a:lnTo>
                  <a:lnTo>
                    <a:pt x="662" y="1140"/>
                  </a:lnTo>
                  <a:lnTo>
                    <a:pt x="652" y="1160"/>
                  </a:lnTo>
                  <a:lnTo>
                    <a:pt x="652" y="1160"/>
                  </a:lnTo>
                  <a:lnTo>
                    <a:pt x="626" y="1202"/>
                  </a:lnTo>
                  <a:lnTo>
                    <a:pt x="616" y="1220"/>
                  </a:lnTo>
                  <a:lnTo>
                    <a:pt x="614" y="1228"/>
                  </a:lnTo>
                  <a:lnTo>
                    <a:pt x="612" y="1236"/>
                  </a:lnTo>
                  <a:lnTo>
                    <a:pt x="612" y="1236"/>
                  </a:lnTo>
                  <a:lnTo>
                    <a:pt x="612" y="1242"/>
                  </a:lnTo>
                  <a:lnTo>
                    <a:pt x="612" y="1248"/>
                  </a:lnTo>
                  <a:lnTo>
                    <a:pt x="616" y="1260"/>
                  </a:lnTo>
                  <a:lnTo>
                    <a:pt x="618" y="1270"/>
                  </a:lnTo>
                  <a:lnTo>
                    <a:pt x="616" y="1276"/>
                  </a:lnTo>
                  <a:lnTo>
                    <a:pt x="612" y="1282"/>
                  </a:lnTo>
                  <a:lnTo>
                    <a:pt x="612" y="1282"/>
                  </a:lnTo>
                  <a:lnTo>
                    <a:pt x="574" y="1340"/>
                  </a:lnTo>
                  <a:lnTo>
                    <a:pt x="546" y="1382"/>
                  </a:lnTo>
                  <a:lnTo>
                    <a:pt x="484" y="1460"/>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66" name="Freeform 33"/>
            <p:cNvSpPr>
              <a:spLocks/>
            </p:cNvSpPr>
            <p:nvPr/>
          </p:nvSpPr>
          <p:spPr bwMode="auto">
            <a:xfrm>
              <a:off x="4087635" y="2148745"/>
              <a:ext cx="698113" cy="1690409"/>
            </a:xfrm>
            <a:custGeom>
              <a:avLst/>
              <a:gdLst/>
              <a:ahLst/>
              <a:cxnLst>
                <a:cxn ang="0">
                  <a:pos x="868" y="600"/>
                </a:cxn>
                <a:cxn ang="0">
                  <a:pos x="848" y="576"/>
                </a:cxn>
                <a:cxn ang="0">
                  <a:pos x="758" y="724"/>
                </a:cxn>
                <a:cxn ang="0">
                  <a:pos x="766" y="768"/>
                </a:cxn>
                <a:cxn ang="0">
                  <a:pos x="730" y="870"/>
                </a:cxn>
                <a:cxn ang="0">
                  <a:pos x="640" y="940"/>
                </a:cxn>
                <a:cxn ang="0">
                  <a:pos x="588" y="986"/>
                </a:cxn>
                <a:cxn ang="0">
                  <a:pos x="554" y="1044"/>
                </a:cxn>
                <a:cxn ang="0">
                  <a:pos x="534" y="1046"/>
                </a:cxn>
                <a:cxn ang="0">
                  <a:pos x="518" y="1098"/>
                </a:cxn>
                <a:cxn ang="0">
                  <a:pos x="480" y="1126"/>
                </a:cxn>
                <a:cxn ang="0">
                  <a:pos x="488" y="1190"/>
                </a:cxn>
                <a:cxn ang="0">
                  <a:pos x="450" y="1266"/>
                </a:cxn>
                <a:cxn ang="0">
                  <a:pos x="452" y="1370"/>
                </a:cxn>
                <a:cxn ang="0">
                  <a:pos x="522" y="1426"/>
                </a:cxn>
                <a:cxn ang="0">
                  <a:pos x="574" y="1486"/>
                </a:cxn>
                <a:cxn ang="0">
                  <a:pos x="576" y="1590"/>
                </a:cxn>
                <a:cxn ang="0">
                  <a:pos x="512" y="1670"/>
                </a:cxn>
                <a:cxn ang="0">
                  <a:pos x="434" y="1722"/>
                </a:cxn>
                <a:cxn ang="0">
                  <a:pos x="400" y="1848"/>
                </a:cxn>
                <a:cxn ang="0">
                  <a:pos x="384" y="1980"/>
                </a:cxn>
                <a:cxn ang="0">
                  <a:pos x="410" y="1964"/>
                </a:cxn>
                <a:cxn ang="0">
                  <a:pos x="392" y="2040"/>
                </a:cxn>
                <a:cxn ang="0">
                  <a:pos x="372" y="2026"/>
                </a:cxn>
                <a:cxn ang="0">
                  <a:pos x="360" y="2084"/>
                </a:cxn>
                <a:cxn ang="0">
                  <a:pos x="282" y="2088"/>
                </a:cxn>
                <a:cxn ang="0">
                  <a:pos x="194" y="2112"/>
                </a:cxn>
                <a:cxn ang="0">
                  <a:pos x="212" y="2180"/>
                </a:cxn>
                <a:cxn ang="0">
                  <a:pos x="144" y="2188"/>
                </a:cxn>
                <a:cxn ang="0">
                  <a:pos x="86" y="2200"/>
                </a:cxn>
                <a:cxn ang="0">
                  <a:pos x="76" y="2074"/>
                </a:cxn>
                <a:cxn ang="0">
                  <a:pos x="96" y="2014"/>
                </a:cxn>
                <a:cxn ang="0">
                  <a:pos x="60" y="1948"/>
                </a:cxn>
                <a:cxn ang="0">
                  <a:pos x="30" y="1788"/>
                </a:cxn>
                <a:cxn ang="0">
                  <a:pos x="26" y="1702"/>
                </a:cxn>
                <a:cxn ang="0">
                  <a:pos x="0" y="1716"/>
                </a:cxn>
                <a:cxn ang="0">
                  <a:pos x="28" y="1620"/>
                </a:cxn>
                <a:cxn ang="0">
                  <a:pos x="40" y="1578"/>
                </a:cxn>
                <a:cxn ang="0">
                  <a:pos x="46" y="1504"/>
                </a:cxn>
                <a:cxn ang="0">
                  <a:pos x="112" y="1446"/>
                </a:cxn>
                <a:cxn ang="0">
                  <a:pos x="122" y="1322"/>
                </a:cxn>
                <a:cxn ang="0">
                  <a:pos x="144" y="1176"/>
                </a:cxn>
                <a:cxn ang="0">
                  <a:pos x="160" y="962"/>
                </a:cxn>
                <a:cxn ang="0">
                  <a:pos x="142" y="942"/>
                </a:cxn>
                <a:cxn ang="0">
                  <a:pos x="242" y="814"/>
                </a:cxn>
                <a:cxn ang="0">
                  <a:pos x="318" y="796"/>
                </a:cxn>
                <a:cxn ang="0">
                  <a:pos x="370" y="610"/>
                </a:cxn>
                <a:cxn ang="0">
                  <a:pos x="372" y="496"/>
                </a:cxn>
                <a:cxn ang="0">
                  <a:pos x="414" y="488"/>
                </a:cxn>
                <a:cxn ang="0">
                  <a:pos x="460" y="416"/>
                </a:cxn>
                <a:cxn ang="0">
                  <a:pos x="500" y="376"/>
                </a:cxn>
                <a:cxn ang="0">
                  <a:pos x="488" y="338"/>
                </a:cxn>
                <a:cxn ang="0">
                  <a:pos x="590" y="226"/>
                </a:cxn>
                <a:cxn ang="0">
                  <a:pos x="596" y="176"/>
                </a:cxn>
                <a:cxn ang="0">
                  <a:pos x="676" y="160"/>
                </a:cxn>
                <a:cxn ang="0">
                  <a:pos x="758" y="134"/>
                </a:cxn>
                <a:cxn ang="0">
                  <a:pos x="722" y="106"/>
                </a:cxn>
                <a:cxn ang="0">
                  <a:pos x="790" y="4"/>
                </a:cxn>
                <a:cxn ang="0">
                  <a:pos x="832" y="76"/>
                </a:cxn>
                <a:cxn ang="0">
                  <a:pos x="878" y="220"/>
                </a:cxn>
                <a:cxn ang="0">
                  <a:pos x="902" y="346"/>
                </a:cxn>
                <a:cxn ang="0">
                  <a:pos x="904" y="480"/>
                </a:cxn>
                <a:cxn ang="0">
                  <a:pos x="916" y="576"/>
                </a:cxn>
              </a:cxnLst>
              <a:rect l="0" t="0" r="r" b="b"/>
              <a:pathLst>
                <a:path w="916" h="2218">
                  <a:moveTo>
                    <a:pt x="912" y="592"/>
                  </a:moveTo>
                  <a:lnTo>
                    <a:pt x="890" y="588"/>
                  </a:lnTo>
                  <a:lnTo>
                    <a:pt x="890" y="588"/>
                  </a:lnTo>
                  <a:lnTo>
                    <a:pt x="888" y="590"/>
                  </a:lnTo>
                  <a:lnTo>
                    <a:pt x="882" y="596"/>
                  </a:lnTo>
                  <a:lnTo>
                    <a:pt x="878" y="600"/>
                  </a:lnTo>
                  <a:lnTo>
                    <a:pt x="874" y="600"/>
                  </a:lnTo>
                  <a:lnTo>
                    <a:pt x="868" y="600"/>
                  </a:lnTo>
                  <a:lnTo>
                    <a:pt x="864" y="598"/>
                  </a:lnTo>
                  <a:lnTo>
                    <a:pt x="864" y="598"/>
                  </a:lnTo>
                  <a:lnTo>
                    <a:pt x="858" y="594"/>
                  </a:lnTo>
                  <a:lnTo>
                    <a:pt x="856" y="588"/>
                  </a:lnTo>
                  <a:lnTo>
                    <a:pt x="854" y="576"/>
                  </a:lnTo>
                  <a:lnTo>
                    <a:pt x="854" y="572"/>
                  </a:lnTo>
                  <a:lnTo>
                    <a:pt x="852" y="572"/>
                  </a:lnTo>
                  <a:lnTo>
                    <a:pt x="848" y="576"/>
                  </a:lnTo>
                  <a:lnTo>
                    <a:pt x="842" y="586"/>
                  </a:lnTo>
                  <a:lnTo>
                    <a:pt x="842" y="586"/>
                  </a:lnTo>
                  <a:lnTo>
                    <a:pt x="824" y="616"/>
                  </a:lnTo>
                  <a:lnTo>
                    <a:pt x="804" y="646"/>
                  </a:lnTo>
                  <a:lnTo>
                    <a:pt x="782" y="680"/>
                  </a:lnTo>
                  <a:lnTo>
                    <a:pt x="782" y="680"/>
                  </a:lnTo>
                  <a:lnTo>
                    <a:pt x="768" y="704"/>
                  </a:lnTo>
                  <a:lnTo>
                    <a:pt x="758" y="724"/>
                  </a:lnTo>
                  <a:lnTo>
                    <a:pt x="754" y="732"/>
                  </a:lnTo>
                  <a:lnTo>
                    <a:pt x="754" y="740"/>
                  </a:lnTo>
                  <a:lnTo>
                    <a:pt x="754" y="740"/>
                  </a:lnTo>
                  <a:lnTo>
                    <a:pt x="754" y="744"/>
                  </a:lnTo>
                  <a:lnTo>
                    <a:pt x="756" y="748"/>
                  </a:lnTo>
                  <a:lnTo>
                    <a:pt x="762" y="758"/>
                  </a:lnTo>
                  <a:lnTo>
                    <a:pt x="764" y="762"/>
                  </a:lnTo>
                  <a:lnTo>
                    <a:pt x="766" y="768"/>
                  </a:lnTo>
                  <a:lnTo>
                    <a:pt x="766" y="776"/>
                  </a:lnTo>
                  <a:lnTo>
                    <a:pt x="764" y="784"/>
                  </a:lnTo>
                  <a:lnTo>
                    <a:pt x="764" y="784"/>
                  </a:lnTo>
                  <a:lnTo>
                    <a:pt x="758" y="806"/>
                  </a:lnTo>
                  <a:lnTo>
                    <a:pt x="750" y="828"/>
                  </a:lnTo>
                  <a:lnTo>
                    <a:pt x="740" y="850"/>
                  </a:lnTo>
                  <a:lnTo>
                    <a:pt x="730" y="870"/>
                  </a:lnTo>
                  <a:lnTo>
                    <a:pt x="730" y="870"/>
                  </a:lnTo>
                  <a:lnTo>
                    <a:pt x="710" y="900"/>
                  </a:lnTo>
                  <a:lnTo>
                    <a:pt x="702" y="910"/>
                  </a:lnTo>
                  <a:lnTo>
                    <a:pt x="696" y="914"/>
                  </a:lnTo>
                  <a:lnTo>
                    <a:pt x="692" y="916"/>
                  </a:lnTo>
                  <a:lnTo>
                    <a:pt x="692" y="916"/>
                  </a:lnTo>
                  <a:lnTo>
                    <a:pt x="670" y="922"/>
                  </a:lnTo>
                  <a:lnTo>
                    <a:pt x="656" y="928"/>
                  </a:lnTo>
                  <a:lnTo>
                    <a:pt x="640" y="940"/>
                  </a:lnTo>
                  <a:lnTo>
                    <a:pt x="640" y="940"/>
                  </a:lnTo>
                  <a:lnTo>
                    <a:pt x="622" y="954"/>
                  </a:lnTo>
                  <a:lnTo>
                    <a:pt x="612" y="966"/>
                  </a:lnTo>
                  <a:lnTo>
                    <a:pt x="600" y="982"/>
                  </a:lnTo>
                  <a:lnTo>
                    <a:pt x="600" y="982"/>
                  </a:lnTo>
                  <a:lnTo>
                    <a:pt x="598" y="984"/>
                  </a:lnTo>
                  <a:lnTo>
                    <a:pt x="592" y="984"/>
                  </a:lnTo>
                  <a:lnTo>
                    <a:pt x="588" y="986"/>
                  </a:lnTo>
                  <a:lnTo>
                    <a:pt x="584" y="988"/>
                  </a:lnTo>
                  <a:lnTo>
                    <a:pt x="584" y="988"/>
                  </a:lnTo>
                  <a:lnTo>
                    <a:pt x="566" y="1010"/>
                  </a:lnTo>
                  <a:lnTo>
                    <a:pt x="556" y="1024"/>
                  </a:lnTo>
                  <a:lnTo>
                    <a:pt x="554" y="1032"/>
                  </a:lnTo>
                  <a:lnTo>
                    <a:pt x="554" y="1036"/>
                  </a:lnTo>
                  <a:lnTo>
                    <a:pt x="554" y="1036"/>
                  </a:lnTo>
                  <a:lnTo>
                    <a:pt x="554" y="1044"/>
                  </a:lnTo>
                  <a:lnTo>
                    <a:pt x="552" y="1052"/>
                  </a:lnTo>
                  <a:lnTo>
                    <a:pt x="550" y="1054"/>
                  </a:lnTo>
                  <a:lnTo>
                    <a:pt x="546" y="1056"/>
                  </a:lnTo>
                  <a:lnTo>
                    <a:pt x="544" y="1056"/>
                  </a:lnTo>
                  <a:lnTo>
                    <a:pt x="540" y="1054"/>
                  </a:lnTo>
                  <a:lnTo>
                    <a:pt x="540" y="1054"/>
                  </a:lnTo>
                  <a:lnTo>
                    <a:pt x="536" y="1052"/>
                  </a:lnTo>
                  <a:lnTo>
                    <a:pt x="534" y="1046"/>
                  </a:lnTo>
                  <a:lnTo>
                    <a:pt x="530" y="1038"/>
                  </a:lnTo>
                  <a:lnTo>
                    <a:pt x="530" y="1034"/>
                  </a:lnTo>
                  <a:lnTo>
                    <a:pt x="528" y="1036"/>
                  </a:lnTo>
                  <a:lnTo>
                    <a:pt x="528" y="1048"/>
                  </a:lnTo>
                  <a:lnTo>
                    <a:pt x="528" y="1048"/>
                  </a:lnTo>
                  <a:lnTo>
                    <a:pt x="526" y="1068"/>
                  </a:lnTo>
                  <a:lnTo>
                    <a:pt x="522" y="1084"/>
                  </a:lnTo>
                  <a:lnTo>
                    <a:pt x="518" y="1098"/>
                  </a:lnTo>
                  <a:lnTo>
                    <a:pt x="512" y="1106"/>
                  </a:lnTo>
                  <a:lnTo>
                    <a:pt x="512" y="1106"/>
                  </a:lnTo>
                  <a:lnTo>
                    <a:pt x="508" y="1108"/>
                  </a:lnTo>
                  <a:lnTo>
                    <a:pt x="502" y="1108"/>
                  </a:lnTo>
                  <a:lnTo>
                    <a:pt x="494" y="1108"/>
                  </a:lnTo>
                  <a:lnTo>
                    <a:pt x="488" y="1110"/>
                  </a:lnTo>
                  <a:lnTo>
                    <a:pt x="484" y="1116"/>
                  </a:lnTo>
                  <a:lnTo>
                    <a:pt x="480" y="1126"/>
                  </a:lnTo>
                  <a:lnTo>
                    <a:pt x="476" y="1142"/>
                  </a:lnTo>
                  <a:lnTo>
                    <a:pt x="476" y="1142"/>
                  </a:lnTo>
                  <a:lnTo>
                    <a:pt x="476" y="1158"/>
                  </a:lnTo>
                  <a:lnTo>
                    <a:pt x="476" y="1170"/>
                  </a:lnTo>
                  <a:lnTo>
                    <a:pt x="480" y="1176"/>
                  </a:lnTo>
                  <a:lnTo>
                    <a:pt x="482" y="1182"/>
                  </a:lnTo>
                  <a:lnTo>
                    <a:pt x="486" y="1186"/>
                  </a:lnTo>
                  <a:lnTo>
                    <a:pt x="488" y="1190"/>
                  </a:lnTo>
                  <a:lnTo>
                    <a:pt x="488" y="1196"/>
                  </a:lnTo>
                  <a:lnTo>
                    <a:pt x="486" y="1206"/>
                  </a:lnTo>
                  <a:lnTo>
                    <a:pt x="486" y="1206"/>
                  </a:lnTo>
                  <a:lnTo>
                    <a:pt x="480" y="1216"/>
                  </a:lnTo>
                  <a:lnTo>
                    <a:pt x="476" y="1226"/>
                  </a:lnTo>
                  <a:lnTo>
                    <a:pt x="464" y="1242"/>
                  </a:lnTo>
                  <a:lnTo>
                    <a:pt x="454" y="1258"/>
                  </a:lnTo>
                  <a:lnTo>
                    <a:pt x="450" y="1266"/>
                  </a:lnTo>
                  <a:lnTo>
                    <a:pt x="448" y="1276"/>
                  </a:lnTo>
                  <a:lnTo>
                    <a:pt x="448" y="1276"/>
                  </a:lnTo>
                  <a:lnTo>
                    <a:pt x="444" y="1300"/>
                  </a:lnTo>
                  <a:lnTo>
                    <a:pt x="442" y="1330"/>
                  </a:lnTo>
                  <a:lnTo>
                    <a:pt x="442" y="1342"/>
                  </a:lnTo>
                  <a:lnTo>
                    <a:pt x="444" y="1354"/>
                  </a:lnTo>
                  <a:lnTo>
                    <a:pt x="448" y="1364"/>
                  </a:lnTo>
                  <a:lnTo>
                    <a:pt x="452" y="1370"/>
                  </a:lnTo>
                  <a:lnTo>
                    <a:pt x="452" y="1370"/>
                  </a:lnTo>
                  <a:lnTo>
                    <a:pt x="470" y="1378"/>
                  </a:lnTo>
                  <a:lnTo>
                    <a:pt x="490" y="1386"/>
                  </a:lnTo>
                  <a:lnTo>
                    <a:pt x="506" y="1394"/>
                  </a:lnTo>
                  <a:lnTo>
                    <a:pt x="512" y="1398"/>
                  </a:lnTo>
                  <a:lnTo>
                    <a:pt x="516" y="1402"/>
                  </a:lnTo>
                  <a:lnTo>
                    <a:pt x="516" y="1402"/>
                  </a:lnTo>
                  <a:lnTo>
                    <a:pt x="522" y="1426"/>
                  </a:lnTo>
                  <a:lnTo>
                    <a:pt x="534" y="1448"/>
                  </a:lnTo>
                  <a:lnTo>
                    <a:pt x="534" y="1448"/>
                  </a:lnTo>
                  <a:lnTo>
                    <a:pt x="538" y="1454"/>
                  </a:lnTo>
                  <a:lnTo>
                    <a:pt x="544" y="1458"/>
                  </a:lnTo>
                  <a:lnTo>
                    <a:pt x="556" y="1466"/>
                  </a:lnTo>
                  <a:lnTo>
                    <a:pt x="562" y="1470"/>
                  </a:lnTo>
                  <a:lnTo>
                    <a:pt x="568" y="1478"/>
                  </a:lnTo>
                  <a:lnTo>
                    <a:pt x="574" y="1486"/>
                  </a:lnTo>
                  <a:lnTo>
                    <a:pt x="576" y="1498"/>
                  </a:lnTo>
                  <a:lnTo>
                    <a:pt x="576" y="1498"/>
                  </a:lnTo>
                  <a:lnTo>
                    <a:pt x="580" y="1522"/>
                  </a:lnTo>
                  <a:lnTo>
                    <a:pt x="580" y="1540"/>
                  </a:lnTo>
                  <a:lnTo>
                    <a:pt x="578" y="1564"/>
                  </a:lnTo>
                  <a:lnTo>
                    <a:pt x="578" y="1564"/>
                  </a:lnTo>
                  <a:lnTo>
                    <a:pt x="578" y="1574"/>
                  </a:lnTo>
                  <a:lnTo>
                    <a:pt x="576" y="1590"/>
                  </a:lnTo>
                  <a:lnTo>
                    <a:pt x="570" y="1606"/>
                  </a:lnTo>
                  <a:lnTo>
                    <a:pt x="566" y="1612"/>
                  </a:lnTo>
                  <a:lnTo>
                    <a:pt x="562" y="1616"/>
                  </a:lnTo>
                  <a:lnTo>
                    <a:pt x="562" y="1616"/>
                  </a:lnTo>
                  <a:lnTo>
                    <a:pt x="548" y="1628"/>
                  </a:lnTo>
                  <a:lnTo>
                    <a:pt x="532" y="1646"/>
                  </a:lnTo>
                  <a:lnTo>
                    <a:pt x="512" y="1670"/>
                  </a:lnTo>
                  <a:lnTo>
                    <a:pt x="512" y="1670"/>
                  </a:lnTo>
                  <a:lnTo>
                    <a:pt x="506" y="1670"/>
                  </a:lnTo>
                  <a:lnTo>
                    <a:pt x="492" y="1672"/>
                  </a:lnTo>
                  <a:lnTo>
                    <a:pt x="476" y="1676"/>
                  </a:lnTo>
                  <a:lnTo>
                    <a:pt x="468" y="1680"/>
                  </a:lnTo>
                  <a:lnTo>
                    <a:pt x="462" y="1686"/>
                  </a:lnTo>
                  <a:lnTo>
                    <a:pt x="462" y="1686"/>
                  </a:lnTo>
                  <a:lnTo>
                    <a:pt x="442" y="1710"/>
                  </a:lnTo>
                  <a:lnTo>
                    <a:pt x="434" y="1722"/>
                  </a:lnTo>
                  <a:lnTo>
                    <a:pt x="428" y="1732"/>
                  </a:lnTo>
                  <a:lnTo>
                    <a:pt x="428" y="1732"/>
                  </a:lnTo>
                  <a:lnTo>
                    <a:pt x="420" y="1750"/>
                  </a:lnTo>
                  <a:lnTo>
                    <a:pt x="418" y="1758"/>
                  </a:lnTo>
                  <a:lnTo>
                    <a:pt x="418" y="1758"/>
                  </a:lnTo>
                  <a:lnTo>
                    <a:pt x="402" y="1832"/>
                  </a:lnTo>
                  <a:lnTo>
                    <a:pt x="402" y="1832"/>
                  </a:lnTo>
                  <a:lnTo>
                    <a:pt x="400" y="1848"/>
                  </a:lnTo>
                  <a:lnTo>
                    <a:pt x="400" y="1860"/>
                  </a:lnTo>
                  <a:lnTo>
                    <a:pt x="402" y="1876"/>
                  </a:lnTo>
                  <a:lnTo>
                    <a:pt x="402" y="1898"/>
                  </a:lnTo>
                  <a:lnTo>
                    <a:pt x="402" y="1898"/>
                  </a:lnTo>
                  <a:lnTo>
                    <a:pt x="398" y="1928"/>
                  </a:lnTo>
                  <a:lnTo>
                    <a:pt x="392" y="1952"/>
                  </a:lnTo>
                  <a:lnTo>
                    <a:pt x="384" y="1980"/>
                  </a:lnTo>
                  <a:lnTo>
                    <a:pt x="384" y="1980"/>
                  </a:lnTo>
                  <a:lnTo>
                    <a:pt x="382" y="1992"/>
                  </a:lnTo>
                  <a:lnTo>
                    <a:pt x="382" y="1994"/>
                  </a:lnTo>
                  <a:lnTo>
                    <a:pt x="382" y="1994"/>
                  </a:lnTo>
                  <a:lnTo>
                    <a:pt x="390" y="1988"/>
                  </a:lnTo>
                  <a:lnTo>
                    <a:pt x="390" y="1988"/>
                  </a:lnTo>
                  <a:lnTo>
                    <a:pt x="400" y="1978"/>
                  </a:lnTo>
                  <a:lnTo>
                    <a:pt x="406" y="1968"/>
                  </a:lnTo>
                  <a:lnTo>
                    <a:pt x="410" y="1964"/>
                  </a:lnTo>
                  <a:lnTo>
                    <a:pt x="410" y="1970"/>
                  </a:lnTo>
                  <a:lnTo>
                    <a:pt x="410" y="1970"/>
                  </a:lnTo>
                  <a:lnTo>
                    <a:pt x="408" y="1982"/>
                  </a:lnTo>
                  <a:lnTo>
                    <a:pt x="404" y="1994"/>
                  </a:lnTo>
                  <a:lnTo>
                    <a:pt x="394" y="2014"/>
                  </a:lnTo>
                  <a:lnTo>
                    <a:pt x="394" y="2014"/>
                  </a:lnTo>
                  <a:lnTo>
                    <a:pt x="392" y="2026"/>
                  </a:lnTo>
                  <a:lnTo>
                    <a:pt x="392" y="2040"/>
                  </a:lnTo>
                  <a:lnTo>
                    <a:pt x="394" y="2054"/>
                  </a:lnTo>
                  <a:lnTo>
                    <a:pt x="394" y="2054"/>
                  </a:lnTo>
                  <a:lnTo>
                    <a:pt x="386" y="2054"/>
                  </a:lnTo>
                  <a:lnTo>
                    <a:pt x="382" y="2054"/>
                  </a:lnTo>
                  <a:lnTo>
                    <a:pt x="378" y="2048"/>
                  </a:lnTo>
                  <a:lnTo>
                    <a:pt x="378" y="2048"/>
                  </a:lnTo>
                  <a:lnTo>
                    <a:pt x="374" y="2030"/>
                  </a:lnTo>
                  <a:lnTo>
                    <a:pt x="372" y="2026"/>
                  </a:lnTo>
                  <a:lnTo>
                    <a:pt x="370" y="2026"/>
                  </a:lnTo>
                  <a:lnTo>
                    <a:pt x="368" y="2030"/>
                  </a:lnTo>
                  <a:lnTo>
                    <a:pt x="366" y="2038"/>
                  </a:lnTo>
                  <a:lnTo>
                    <a:pt x="366" y="2038"/>
                  </a:lnTo>
                  <a:lnTo>
                    <a:pt x="364" y="2058"/>
                  </a:lnTo>
                  <a:lnTo>
                    <a:pt x="362" y="2074"/>
                  </a:lnTo>
                  <a:lnTo>
                    <a:pt x="362" y="2080"/>
                  </a:lnTo>
                  <a:lnTo>
                    <a:pt x="360" y="2084"/>
                  </a:lnTo>
                  <a:lnTo>
                    <a:pt x="358" y="2090"/>
                  </a:lnTo>
                  <a:lnTo>
                    <a:pt x="352" y="2094"/>
                  </a:lnTo>
                  <a:lnTo>
                    <a:pt x="352" y="2094"/>
                  </a:lnTo>
                  <a:lnTo>
                    <a:pt x="346" y="2096"/>
                  </a:lnTo>
                  <a:lnTo>
                    <a:pt x="338" y="2096"/>
                  </a:lnTo>
                  <a:lnTo>
                    <a:pt x="318" y="2094"/>
                  </a:lnTo>
                  <a:lnTo>
                    <a:pt x="296" y="2088"/>
                  </a:lnTo>
                  <a:lnTo>
                    <a:pt x="282" y="2088"/>
                  </a:lnTo>
                  <a:lnTo>
                    <a:pt x="268" y="2088"/>
                  </a:lnTo>
                  <a:lnTo>
                    <a:pt x="268" y="2088"/>
                  </a:lnTo>
                  <a:lnTo>
                    <a:pt x="240" y="2092"/>
                  </a:lnTo>
                  <a:lnTo>
                    <a:pt x="226" y="2094"/>
                  </a:lnTo>
                  <a:lnTo>
                    <a:pt x="214" y="2096"/>
                  </a:lnTo>
                  <a:lnTo>
                    <a:pt x="204" y="2100"/>
                  </a:lnTo>
                  <a:lnTo>
                    <a:pt x="198" y="2104"/>
                  </a:lnTo>
                  <a:lnTo>
                    <a:pt x="194" y="2112"/>
                  </a:lnTo>
                  <a:lnTo>
                    <a:pt x="196" y="2124"/>
                  </a:lnTo>
                  <a:lnTo>
                    <a:pt x="196" y="2124"/>
                  </a:lnTo>
                  <a:lnTo>
                    <a:pt x="200" y="2136"/>
                  </a:lnTo>
                  <a:lnTo>
                    <a:pt x="204" y="2146"/>
                  </a:lnTo>
                  <a:lnTo>
                    <a:pt x="214" y="2164"/>
                  </a:lnTo>
                  <a:lnTo>
                    <a:pt x="216" y="2170"/>
                  </a:lnTo>
                  <a:lnTo>
                    <a:pt x="216" y="2176"/>
                  </a:lnTo>
                  <a:lnTo>
                    <a:pt x="212" y="2180"/>
                  </a:lnTo>
                  <a:lnTo>
                    <a:pt x="202" y="2184"/>
                  </a:lnTo>
                  <a:lnTo>
                    <a:pt x="202" y="2184"/>
                  </a:lnTo>
                  <a:lnTo>
                    <a:pt x="192" y="2186"/>
                  </a:lnTo>
                  <a:lnTo>
                    <a:pt x="182" y="2186"/>
                  </a:lnTo>
                  <a:lnTo>
                    <a:pt x="168" y="2184"/>
                  </a:lnTo>
                  <a:lnTo>
                    <a:pt x="162" y="2184"/>
                  </a:lnTo>
                  <a:lnTo>
                    <a:pt x="154" y="2184"/>
                  </a:lnTo>
                  <a:lnTo>
                    <a:pt x="144" y="2188"/>
                  </a:lnTo>
                  <a:lnTo>
                    <a:pt x="132" y="2194"/>
                  </a:lnTo>
                  <a:lnTo>
                    <a:pt x="132" y="2194"/>
                  </a:lnTo>
                  <a:lnTo>
                    <a:pt x="110" y="2208"/>
                  </a:lnTo>
                  <a:lnTo>
                    <a:pt x="94" y="2216"/>
                  </a:lnTo>
                  <a:lnTo>
                    <a:pt x="90" y="2218"/>
                  </a:lnTo>
                  <a:lnTo>
                    <a:pt x="86" y="2214"/>
                  </a:lnTo>
                  <a:lnTo>
                    <a:pt x="84" y="2210"/>
                  </a:lnTo>
                  <a:lnTo>
                    <a:pt x="86" y="2200"/>
                  </a:lnTo>
                  <a:lnTo>
                    <a:pt x="86" y="2200"/>
                  </a:lnTo>
                  <a:lnTo>
                    <a:pt x="88" y="2170"/>
                  </a:lnTo>
                  <a:lnTo>
                    <a:pt x="88" y="2138"/>
                  </a:lnTo>
                  <a:lnTo>
                    <a:pt x="88" y="2138"/>
                  </a:lnTo>
                  <a:lnTo>
                    <a:pt x="86" y="2126"/>
                  </a:lnTo>
                  <a:lnTo>
                    <a:pt x="84" y="2112"/>
                  </a:lnTo>
                  <a:lnTo>
                    <a:pt x="78" y="2086"/>
                  </a:lnTo>
                  <a:lnTo>
                    <a:pt x="76" y="2074"/>
                  </a:lnTo>
                  <a:lnTo>
                    <a:pt x="74" y="2064"/>
                  </a:lnTo>
                  <a:lnTo>
                    <a:pt x="76" y="2054"/>
                  </a:lnTo>
                  <a:lnTo>
                    <a:pt x="80" y="2046"/>
                  </a:lnTo>
                  <a:lnTo>
                    <a:pt x="80" y="2046"/>
                  </a:lnTo>
                  <a:lnTo>
                    <a:pt x="90" y="2036"/>
                  </a:lnTo>
                  <a:lnTo>
                    <a:pt x="96" y="2026"/>
                  </a:lnTo>
                  <a:lnTo>
                    <a:pt x="96" y="2020"/>
                  </a:lnTo>
                  <a:lnTo>
                    <a:pt x="96" y="2014"/>
                  </a:lnTo>
                  <a:lnTo>
                    <a:pt x="90" y="1998"/>
                  </a:lnTo>
                  <a:lnTo>
                    <a:pt x="90" y="1998"/>
                  </a:lnTo>
                  <a:lnTo>
                    <a:pt x="86" y="1990"/>
                  </a:lnTo>
                  <a:lnTo>
                    <a:pt x="82" y="1986"/>
                  </a:lnTo>
                  <a:lnTo>
                    <a:pt x="74" y="1980"/>
                  </a:lnTo>
                  <a:lnTo>
                    <a:pt x="70" y="1974"/>
                  </a:lnTo>
                  <a:lnTo>
                    <a:pt x="66" y="1964"/>
                  </a:lnTo>
                  <a:lnTo>
                    <a:pt x="60" y="1948"/>
                  </a:lnTo>
                  <a:lnTo>
                    <a:pt x="54" y="1926"/>
                  </a:lnTo>
                  <a:lnTo>
                    <a:pt x="54" y="1926"/>
                  </a:lnTo>
                  <a:lnTo>
                    <a:pt x="34" y="1842"/>
                  </a:lnTo>
                  <a:lnTo>
                    <a:pt x="28" y="1818"/>
                  </a:lnTo>
                  <a:lnTo>
                    <a:pt x="26" y="1806"/>
                  </a:lnTo>
                  <a:lnTo>
                    <a:pt x="26" y="1806"/>
                  </a:lnTo>
                  <a:lnTo>
                    <a:pt x="26" y="1798"/>
                  </a:lnTo>
                  <a:lnTo>
                    <a:pt x="30" y="1788"/>
                  </a:lnTo>
                  <a:lnTo>
                    <a:pt x="32" y="1774"/>
                  </a:lnTo>
                  <a:lnTo>
                    <a:pt x="36" y="1760"/>
                  </a:lnTo>
                  <a:lnTo>
                    <a:pt x="36" y="1760"/>
                  </a:lnTo>
                  <a:lnTo>
                    <a:pt x="36" y="1742"/>
                  </a:lnTo>
                  <a:lnTo>
                    <a:pt x="36" y="1726"/>
                  </a:lnTo>
                  <a:lnTo>
                    <a:pt x="32" y="1712"/>
                  </a:lnTo>
                  <a:lnTo>
                    <a:pt x="30" y="1708"/>
                  </a:lnTo>
                  <a:lnTo>
                    <a:pt x="26" y="1702"/>
                  </a:lnTo>
                  <a:lnTo>
                    <a:pt x="26" y="1702"/>
                  </a:lnTo>
                  <a:lnTo>
                    <a:pt x="24" y="1702"/>
                  </a:lnTo>
                  <a:lnTo>
                    <a:pt x="22" y="1702"/>
                  </a:lnTo>
                  <a:lnTo>
                    <a:pt x="16" y="1704"/>
                  </a:lnTo>
                  <a:lnTo>
                    <a:pt x="6" y="1716"/>
                  </a:lnTo>
                  <a:lnTo>
                    <a:pt x="4" y="1718"/>
                  </a:lnTo>
                  <a:lnTo>
                    <a:pt x="2" y="1718"/>
                  </a:lnTo>
                  <a:lnTo>
                    <a:pt x="0" y="1716"/>
                  </a:lnTo>
                  <a:lnTo>
                    <a:pt x="0" y="1708"/>
                  </a:lnTo>
                  <a:lnTo>
                    <a:pt x="0" y="1690"/>
                  </a:lnTo>
                  <a:lnTo>
                    <a:pt x="0" y="1690"/>
                  </a:lnTo>
                  <a:lnTo>
                    <a:pt x="2" y="1670"/>
                  </a:lnTo>
                  <a:lnTo>
                    <a:pt x="6" y="1654"/>
                  </a:lnTo>
                  <a:lnTo>
                    <a:pt x="12" y="1642"/>
                  </a:lnTo>
                  <a:lnTo>
                    <a:pt x="18" y="1632"/>
                  </a:lnTo>
                  <a:lnTo>
                    <a:pt x="28" y="1620"/>
                  </a:lnTo>
                  <a:lnTo>
                    <a:pt x="36" y="1614"/>
                  </a:lnTo>
                  <a:lnTo>
                    <a:pt x="36" y="1614"/>
                  </a:lnTo>
                  <a:lnTo>
                    <a:pt x="36" y="1610"/>
                  </a:lnTo>
                  <a:lnTo>
                    <a:pt x="36" y="1604"/>
                  </a:lnTo>
                  <a:lnTo>
                    <a:pt x="36" y="1596"/>
                  </a:lnTo>
                  <a:lnTo>
                    <a:pt x="38" y="1584"/>
                  </a:lnTo>
                  <a:lnTo>
                    <a:pt x="38" y="1584"/>
                  </a:lnTo>
                  <a:lnTo>
                    <a:pt x="40" y="1578"/>
                  </a:lnTo>
                  <a:lnTo>
                    <a:pt x="40" y="1574"/>
                  </a:lnTo>
                  <a:lnTo>
                    <a:pt x="38" y="1564"/>
                  </a:lnTo>
                  <a:lnTo>
                    <a:pt x="36" y="1552"/>
                  </a:lnTo>
                  <a:lnTo>
                    <a:pt x="36" y="1542"/>
                  </a:lnTo>
                  <a:lnTo>
                    <a:pt x="40" y="1528"/>
                  </a:lnTo>
                  <a:lnTo>
                    <a:pt x="40" y="1528"/>
                  </a:lnTo>
                  <a:lnTo>
                    <a:pt x="42" y="1516"/>
                  </a:lnTo>
                  <a:lnTo>
                    <a:pt x="46" y="1504"/>
                  </a:lnTo>
                  <a:lnTo>
                    <a:pt x="52" y="1494"/>
                  </a:lnTo>
                  <a:lnTo>
                    <a:pt x="56" y="1486"/>
                  </a:lnTo>
                  <a:lnTo>
                    <a:pt x="62" y="1480"/>
                  </a:lnTo>
                  <a:lnTo>
                    <a:pt x="70" y="1476"/>
                  </a:lnTo>
                  <a:lnTo>
                    <a:pt x="84" y="1468"/>
                  </a:lnTo>
                  <a:lnTo>
                    <a:pt x="84" y="1468"/>
                  </a:lnTo>
                  <a:lnTo>
                    <a:pt x="100" y="1458"/>
                  </a:lnTo>
                  <a:lnTo>
                    <a:pt x="112" y="1446"/>
                  </a:lnTo>
                  <a:lnTo>
                    <a:pt x="120" y="1428"/>
                  </a:lnTo>
                  <a:lnTo>
                    <a:pt x="126" y="1410"/>
                  </a:lnTo>
                  <a:lnTo>
                    <a:pt x="126" y="1410"/>
                  </a:lnTo>
                  <a:lnTo>
                    <a:pt x="126" y="1398"/>
                  </a:lnTo>
                  <a:lnTo>
                    <a:pt x="126" y="1386"/>
                  </a:lnTo>
                  <a:lnTo>
                    <a:pt x="122" y="1356"/>
                  </a:lnTo>
                  <a:lnTo>
                    <a:pt x="122" y="1340"/>
                  </a:lnTo>
                  <a:lnTo>
                    <a:pt x="122" y="1322"/>
                  </a:lnTo>
                  <a:lnTo>
                    <a:pt x="124" y="1304"/>
                  </a:lnTo>
                  <a:lnTo>
                    <a:pt x="128" y="1284"/>
                  </a:lnTo>
                  <a:lnTo>
                    <a:pt x="128" y="1284"/>
                  </a:lnTo>
                  <a:lnTo>
                    <a:pt x="138" y="1250"/>
                  </a:lnTo>
                  <a:lnTo>
                    <a:pt x="144" y="1224"/>
                  </a:lnTo>
                  <a:lnTo>
                    <a:pt x="146" y="1202"/>
                  </a:lnTo>
                  <a:lnTo>
                    <a:pt x="144" y="1176"/>
                  </a:lnTo>
                  <a:lnTo>
                    <a:pt x="144" y="1176"/>
                  </a:lnTo>
                  <a:lnTo>
                    <a:pt x="138" y="1144"/>
                  </a:lnTo>
                  <a:lnTo>
                    <a:pt x="132" y="1102"/>
                  </a:lnTo>
                  <a:lnTo>
                    <a:pt x="130" y="1080"/>
                  </a:lnTo>
                  <a:lnTo>
                    <a:pt x="130" y="1058"/>
                  </a:lnTo>
                  <a:lnTo>
                    <a:pt x="132" y="1036"/>
                  </a:lnTo>
                  <a:lnTo>
                    <a:pt x="138" y="1016"/>
                  </a:lnTo>
                  <a:lnTo>
                    <a:pt x="138" y="1016"/>
                  </a:lnTo>
                  <a:lnTo>
                    <a:pt x="160" y="962"/>
                  </a:lnTo>
                  <a:lnTo>
                    <a:pt x="164" y="950"/>
                  </a:lnTo>
                  <a:lnTo>
                    <a:pt x="164" y="946"/>
                  </a:lnTo>
                  <a:lnTo>
                    <a:pt x="162" y="944"/>
                  </a:lnTo>
                  <a:lnTo>
                    <a:pt x="162" y="944"/>
                  </a:lnTo>
                  <a:lnTo>
                    <a:pt x="160" y="942"/>
                  </a:lnTo>
                  <a:lnTo>
                    <a:pt x="154" y="942"/>
                  </a:lnTo>
                  <a:lnTo>
                    <a:pt x="144" y="944"/>
                  </a:lnTo>
                  <a:lnTo>
                    <a:pt x="142" y="942"/>
                  </a:lnTo>
                  <a:lnTo>
                    <a:pt x="142" y="936"/>
                  </a:lnTo>
                  <a:lnTo>
                    <a:pt x="146" y="926"/>
                  </a:lnTo>
                  <a:lnTo>
                    <a:pt x="158" y="910"/>
                  </a:lnTo>
                  <a:lnTo>
                    <a:pt x="158" y="910"/>
                  </a:lnTo>
                  <a:lnTo>
                    <a:pt x="206" y="840"/>
                  </a:lnTo>
                  <a:lnTo>
                    <a:pt x="226" y="812"/>
                  </a:lnTo>
                  <a:lnTo>
                    <a:pt x="226" y="812"/>
                  </a:lnTo>
                  <a:lnTo>
                    <a:pt x="242" y="814"/>
                  </a:lnTo>
                  <a:lnTo>
                    <a:pt x="272" y="818"/>
                  </a:lnTo>
                  <a:lnTo>
                    <a:pt x="272" y="818"/>
                  </a:lnTo>
                  <a:lnTo>
                    <a:pt x="280" y="818"/>
                  </a:lnTo>
                  <a:lnTo>
                    <a:pt x="290" y="818"/>
                  </a:lnTo>
                  <a:lnTo>
                    <a:pt x="298" y="814"/>
                  </a:lnTo>
                  <a:lnTo>
                    <a:pt x="308" y="810"/>
                  </a:lnTo>
                  <a:lnTo>
                    <a:pt x="314" y="804"/>
                  </a:lnTo>
                  <a:lnTo>
                    <a:pt x="318" y="796"/>
                  </a:lnTo>
                  <a:lnTo>
                    <a:pt x="320" y="786"/>
                  </a:lnTo>
                  <a:lnTo>
                    <a:pt x="316" y="776"/>
                  </a:lnTo>
                  <a:lnTo>
                    <a:pt x="316" y="776"/>
                  </a:lnTo>
                  <a:lnTo>
                    <a:pt x="304" y="754"/>
                  </a:lnTo>
                  <a:lnTo>
                    <a:pt x="292" y="740"/>
                  </a:lnTo>
                  <a:lnTo>
                    <a:pt x="280" y="730"/>
                  </a:lnTo>
                  <a:lnTo>
                    <a:pt x="370" y="610"/>
                  </a:lnTo>
                  <a:lnTo>
                    <a:pt x="370" y="610"/>
                  </a:lnTo>
                  <a:lnTo>
                    <a:pt x="370" y="588"/>
                  </a:lnTo>
                  <a:lnTo>
                    <a:pt x="370" y="568"/>
                  </a:lnTo>
                  <a:lnTo>
                    <a:pt x="368" y="550"/>
                  </a:lnTo>
                  <a:lnTo>
                    <a:pt x="368" y="550"/>
                  </a:lnTo>
                  <a:lnTo>
                    <a:pt x="366" y="534"/>
                  </a:lnTo>
                  <a:lnTo>
                    <a:pt x="368" y="514"/>
                  </a:lnTo>
                  <a:lnTo>
                    <a:pt x="370" y="504"/>
                  </a:lnTo>
                  <a:lnTo>
                    <a:pt x="372" y="496"/>
                  </a:lnTo>
                  <a:lnTo>
                    <a:pt x="378" y="488"/>
                  </a:lnTo>
                  <a:lnTo>
                    <a:pt x="384" y="486"/>
                  </a:lnTo>
                  <a:lnTo>
                    <a:pt x="384" y="486"/>
                  </a:lnTo>
                  <a:lnTo>
                    <a:pt x="390" y="484"/>
                  </a:lnTo>
                  <a:lnTo>
                    <a:pt x="396" y="484"/>
                  </a:lnTo>
                  <a:lnTo>
                    <a:pt x="404" y="486"/>
                  </a:lnTo>
                  <a:lnTo>
                    <a:pt x="408" y="488"/>
                  </a:lnTo>
                  <a:lnTo>
                    <a:pt x="414" y="488"/>
                  </a:lnTo>
                  <a:lnTo>
                    <a:pt x="418" y="486"/>
                  </a:lnTo>
                  <a:lnTo>
                    <a:pt x="424" y="480"/>
                  </a:lnTo>
                  <a:lnTo>
                    <a:pt x="424" y="480"/>
                  </a:lnTo>
                  <a:lnTo>
                    <a:pt x="430" y="474"/>
                  </a:lnTo>
                  <a:lnTo>
                    <a:pt x="434" y="468"/>
                  </a:lnTo>
                  <a:lnTo>
                    <a:pt x="442" y="452"/>
                  </a:lnTo>
                  <a:lnTo>
                    <a:pt x="448" y="436"/>
                  </a:lnTo>
                  <a:lnTo>
                    <a:pt x="460" y="416"/>
                  </a:lnTo>
                  <a:lnTo>
                    <a:pt x="460" y="416"/>
                  </a:lnTo>
                  <a:lnTo>
                    <a:pt x="468" y="406"/>
                  </a:lnTo>
                  <a:lnTo>
                    <a:pt x="474" y="398"/>
                  </a:lnTo>
                  <a:lnTo>
                    <a:pt x="486" y="388"/>
                  </a:lnTo>
                  <a:lnTo>
                    <a:pt x="496" y="382"/>
                  </a:lnTo>
                  <a:lnTo>
                    <a:pt x="498" y="378"/>
                  </a:lnTo>
                  <a:lnTo>
                    <a:pt x="500" y="376"/>
                  </a:lnTo>
                  <a:lnTo>
                    <a:pt x="500" y="376"/>
                  </a:lnTo>
                  <a:lnTo>
                    <a:pt x="500" y="372"/>
                  </a:lnTo>
                  <a:lnTo>
                    <a:pt x="498" y="370"/>
                  </a:lnTo>
                  <a:lnTo>
                    <a:pt x="492" y="364"/>
                  </a:lnTo>
                  <a:lnTo>
                    <a:pt x="490" y="358"/>
                  </a:lnTo>
                  <a:lnTo>
                    <a:pt x="488" y="354"/>
                  </a:lnTo>
                  <a:lnTo>
                    <a:pt x="486" y="346"/>
                  </a:lnTo>
                  <a:lnTo>
                    <a:pt x="488" y="338"/>
                  </a:lnTo>
                  <a:lnTo>
                    <a:pt x="488" y="338"/>
                  </a:lnTo>
                  <a:lnTo>
                    <a:pt x="492" y="326"/>
                  </a:lnTo>
                  <a:lnTo>
                    <a:pt x="504" y="308"/>
                  </a:lnTo>
                  <a:lnTo>
                    <a:pt x="534" y="268"/>
                  </a:lnTo>
                  <a:lnTo>
                    <a:pt x="578" y="214"/>
                  </a:lnTo>
                  <a:lnTo>
                    <a:pt x="578" y="214"/>
                  </a:lnTo>
                  <a:lnTo>
                    <a:pt x="580" y="218"/>
                  </a:lnTo>
                  <a:lnTo>
                    <a:pt x="586" y="224"/>
                  </a:lnTo>
                  <a:lnTo>
                    <a:pt x="590" y="226"/>
                  </a:lnTo>
                  <a:lnTo>
                    <a:pt x="594" y="224"/>
                  </a:lnTo>
                  <a:lnTo>
                    <a:pt x="598" y="220"/>
                  </a:lnTo>
                  <a:lnTo>
                    <a:pt x="602" y="212"/>
                  </a:lnTo>
                  <a:lnTo>
                    <a:pt x="602" y="212"/>
                  </a:lnTo>
                  <a:lnTo>
                    <a:pt x="604" y="204"/>
                  </a:lnTo>
                  <a:lnTo>
                    <a:pt x="602" y="194"/>
                  </a:lnTo>
                  <a:lnTo>
                    <a:pt x="598" y="182"/>
                  </a:lnTo>
                  <a:lnTo>
                    <a:pt x="596" y="176"/>
                  </a:lnTo>
                  <a:lnTo>
                    <a:pt x="596" y="172"/>
                  </a:lnTo>
                  <a:lnTo>
                    <a:pt x="600" y="168"/>
                  </a:lnTo>
                  <a:lnTo>
                    <a:pt x="610" y="164"/>
                  </a:lnTo>
                  <a:lnTo>
                    <a:pt x="610" y="164"/>
                  </a:lnTo>
                  <a:lnTo>
                    <a:pt x="626" y="160"/>
                  </a:lnTo>
                  <a:lnTo>
                    <a:pt x="638" y="160"/>
                  </a:lnTo>
                  <a:lnTo>
                    <a:pt x="650" y="160"/>
                  </a:lnTo>
                  <a:lnTo>
                    <a:pt x="676" y="160"/>
                  </a:lnTo>
                  <a:lnTo>
                    <a:pt x="676" y="160"/>
                  </a:lnTo>
                  <a:lnTo>
                    <a:pt x="708" y="156"/>
                  </a:lnTo>
                  <a:lnTo>
                    <a:pt x="734" y="150"/>
                  </a:lnTo>
                  <a:lnTo>
                    <a:pt x="744" y="146"/>
                  </a:lnTo>
                  <a:lnTo>
                    <a:pt x="752" y="144"/>
                  </a:lnTo>
                  <a:lnTo>
                    <a:pt x="758" y="138"/>
                  </a:lnTo>
                  <a:lnTo>
                    <a:pt x="758" y="134"/>
                  </a:lnTo>
                  <a:lnTo>
                    <a:pt x="758" y="134"/>
                  </a:lnTo>
                  <a:lnTo>
                    <a:pt x="758" y="132"/>
                  </a:lnTo>
                  <a:lnTo>
                    <a:pt x="756" y="130"/>
                  </a:lnTo>
                  <a:lnTo>
                    <a:pt x="748" y="126"/>
                  </a:lnTo>
                  <a:lnTo>
                    <a:pt x="732" y="122"/>
                  </a:lnTo>
                  <a:lnTo>
                    <a:pt x="724" y="118"/>
                  </a:lnTo>
                  <a:lnTo>
                    <a:pt x="722" y="114"/>
                  </a:lnTo>
                  <a:lnTo>
                    <a:pt x="722" y="112"/>
                  </a:lnTo>
                  <a:lnTo>
                    <a:pt x="722" y="106"/>
                  </a:lnTo>
                  <a:lnTo>
                    <a:pt x="724" y="102"/>
                  </a:lnTo>
                  <a:lnTo>
                    <a:pt x="734" y="88"/>
                  </a:lnTo>
                  <a:lnTo>
                    <a:pt x="734" y="88"/>
                  </a:lnTo>
                  <a:lnTo>
                    <a:pt x="746" y="70"/>
                  </a:lnTo>
                  <a:lnTo>
                    <a:pt x="758" y="50"/>
                  </a:lnTo>
                  <a:lnTo>
                    <a:pt x="770" y="30"/>
                  </a:lnTo>
                  <a:lnTo>
                    <a:pt x="780" y="14"/>
                  </a:lnTo>
                  <a:lnTo>
                    <a:pt x="790" y="4"/>
                  </a:lnTo>
                  <a:lnTo>
                    <a:pt x="796" y="0"/>
                  </a:lnTo>
                  <a:lnTo>
                    <a:pt x="800" y="0"/>
                  </a:lnTo>
                  <a:lnTo>
                    <a:pt x="804" y="2"/>
                  </a:lnTo>
                  <a:lnTo>
                    <a:pt x="810" y="8"/>
                  </a:lnTo>
                  <a:lnTo>
                    <a:pt x="814" y="16"/>
                  </a:lnTo>
                  <a:lnTo>
                    <a:pt x="818" y="30"/>
                  </a:lnTo>
                  <a:lnTo>
                    <a:pt x="818" y="30"/>
                  </a:lnTo>
                  <a:lnTo>
                    <a:pt x="832" y="76"/>
                  </a:lnTo>
                  <a:lnTo>
                    <a:pt x="840" y="108"/>
                  </a:lnTo>
                  <a:lnTo>
                    <a:pt x="846" y="130"/>
                  </a:lnTo>
                  <a:lnTo>
                    <a:pt x="846" y="130"/>
                  </a:lnTo>
                  <a:lnTo>
                    <a:pt x="850" y="146"/>
                  </a:lnTo>
                  <a:lnTo>
                    <a:pt x="860" y="176"/>
                  </a:lnTo>
                  <a:lnTo>
                    <a:pt x="860" y="176"/>
                  </a:lnTo>
                  <a:lnTo>
                    <a:pt x="868" y="196"/>
                  </a:lnTo>
                  <a:lnTo>
                    <a:pt x="878" y="220"/>
                  </a:lnTo>
                  <a:lnTo>
                    <a:pt x="890" y="248"/>
                  </a:lnTo>
                  <a:lnTo>
                    <a:pt x="890" y="248"/>
                  </a:lnTo>
                  <a:lnTo>
                    <a:pt x="894" y="268"/>
                  </a:lnTo>
                  <a:lnTo>
                    <a:pt x="896" y="286"/>
                  </a:lnTo>
                  <a:lnTo>
                    <a:pt x="896" y="302"/>
                  </a:lnTo>
                  <a:lnTo>
                    <a:pt x="896" y="302"/>
                  </a:lnTo>
                  <a:lnTo>
                    <a:pt x="898" y="320"/>
                  </a:lnTo>
                  <a:lnTo>
                    <a:pt x="902" y="346"/>
                  </a:lnTo>
                  <a:lnTo>
                    <a:pt x="908" y="372"/>
                  </a:lnTo>
                  <a:lnTo>
                    <a:pt x="910" y="388"/>
                  </a:lnTo>
                  <a:lnTo>
                    <a:pt x="910" y="388"/>
                  </a:lnTo>
                  <a:lnTo>
                    <a:pt x="910" y="420"/>
                  </a:lnTo>
                  <a:lnTo>
                    <a:pt x="910" y="442"/>
                  </a:lnTo>
                  <a:lnTo>
                    <a:pt x="908" y="462"/>
                  </a:lnTo>
                  <a:lnTo>
                    <a:pt x="908" y="462"/>
                  </a:lnTo>
                  <a:lnTo>
                    <a:pt x="904" y="480"/>
                  </a:lnTo>
                  <a:lnTo>
                    <a:pt x="904" y="502"/>
                  </a:lnTo>
                  <a:lnTo>
                    <a:pt x="904" y="522"/>
                  </a:lnTo>
                  <a:lnTo>
                    <a:pt x="906" y="540"/>
                  </a:lnTo>
                  <a:lnTo>
                    <a:pt x="906" y="540"/>
                  </a:lnTo>
                  <a:lnTo>
                    <a:pt x="910" y="552"/>
                  </a:lnTo>
                  <a:lnTo>
                    <a:pt x="914" y="564"/>
                  </a:lnTo>
                  <a:lnTo>
                    <a:pt x="916" y="570"/>
                  </a:lnTo>
                  <a:lnTo>
                    <a:pt x="916" y="576"/>
                  </a:lnTo>
                  <a:lnTo>
                    <a:pt x="914" y="584"/>
                  </a:lnTo>
                  <a:lnTo>
                    <a:pt x="912" y="592"/>
                  </a:lnTo>
                  <a:lnTo>
                    <a:pt x="912" y="592"/>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67" name="Freeform 34"/>
            <p:cNvSpPr>
              <a:spLocks/>
            </p:cNvSpPr>
            <p:nvPr/>
          </p:nvSpPr>
          <p:spPr bwMode="auto">
            <a:xfrm>
              <a:off x="3761443" y="1959736"/>
              <a:ext cx="1295625" cy="1481584"/>
            </a:xfrm>
            <a:custGeom>
              <a:avLst/>
              <a:gdLst/>
              <a:ahLst/>
              <a:cxnLst>
                <a:cxn ang="0">
                  <a:pos x="398" y="1772"/>
                </a:cxn>
                <a:cxn ang="0">
                  <a:pos x="248" y="1882"/>
                </a:cxn>
                <a:cxn ang="0">
                  <a:pos x="66" y="1898"/>
                </a:cxn>
                <a:cxn ang="0">
                  <a:pos x="12" y="1776"/>
                </a:cxn>
                <a:cxn ang="0">
                  <a:pos x="32" y="1718"/>
                </a:cxn>
                <a:cxn ang="0">
                  <a:pos x="18" y="1704"/>
                </a:cxn>
                <a:cxn ang="0">
                  <a:pos x="4" y="1668"/>
                </a:cxn>
                <a:cxn ang="0">
                  <a:pos x="14" y="1570"/>
                </a:cxn>
                <a:cxn ang="0">
                  <a:pos x="40" y="1518"/>
                </a:cxn>
                <a:cxn ang="0">
                  <a:pos x="72" y="1460"/>
                </a:cxn>
                <a:cxn ang="0">
                  <a:pos x="42" y="1398"/>
                </a:cxn>
                <a:cxn ang="0">
                  <a:pos x="98" y="1322"/>
                </a:cxn>
                <a:cxn ang="0">
                  <a:pos x="118" y="1234"/>
                </a:cxn>
                <a:cxn ang="0">
                  <a:pos x="220" y="1184"/>
                </a:cxn>
                <a:cxn ang="0">
                  <a:pos x="304" y="1176"/>
                </a:cxn>
                <a:cxn ang="0">
                  <a:pos x="390" y="1080"/>
                </a:cxn>
                <a:cxn ang="0">
                  <a:pos x="444" y="1110"/>
                </a:cxn>
                <a:cxn ang="0">
                  <a:pos x="470" y="1030"/>
                </a:cxn>
                <a:cxn ang="0">
                  <a:pos x="580" y="942"/>
                </a:cxn>
                <a:cxn ang="0">
                  <a:pos x="682" y="872"/>
                </a:cxn>
                <a:cxn ang="0">
                  <a:pos x="712" y="770"/>
                </a:cxn>
                <a:cxn ang="0">
                  <a:pos x="764" y="718"/>
                </a:cxn>
                <a:cxn ang="0">
                  <a:pos x="750" y="648"/>
                </a:cxn>
                <a:cxn ang="0">
                  <a:pos x="884" y="602"/>
                </a:cxn>
                <a:cxn ang="0">
                  <a:pos x="882" y="512"/>
                </a:cxn>
                <a:cxn ang="0">
                  <a:pos x="882" y="478"/>
                </a:cxn>
                <a:cxn ang="0">
                  <a:pos x="928" y="406"/>
                </a:cxn>
                <a:cxn ang="0">
                  <a:pos x="820" y="412"/>
                </a:cxn>
                <a:cxn ang="0">
                  <a:pos x="874" y="352"/>
                </a:cxn>
                <a:cxn ang="0">
                  <a:pos x="930" y="276"/>
                </a:cxn>
                <a:cxn ang="0">
                  <a:pos x="1044" y="318"/>
                </a:cxn>
                <a:cxn ang="0">
                  <a:pos x="1008" y="244"/>
                </a:cxn>
                <a:cxn ang="0">
                  <a:pos x="1080" y="268"/>
                </a:cxn>
                <a:cxn ang="0">
                  <a:pos x="1160" y="184"/>
                </a:cxn>
                <a:cxn ang="0">
                  <a:pos x="1164" y="256"/>
                </a:cxn>
                <a:cxn ang="0">
                  <a:pos x="1234" y="180"/>
                </a:cxn>
                <a:cxn ang="0">
                  <a:pos x="1242" y="170"/>
                </a:cxn>
                <a:cxn ang="0">
                  <a:pos x="1292" y="156"/>
                </a:cxn>
                <a:cxn ang="0">
                  <a:pos x="1310" y="156"/>
                </a:cxn>
                <a:cxn ang="0">
                  <a:pos x="1368" y="66"/>
                </a:cxn>
                <a:cxn ang="0">
                  <a:pos x="1402" y="108"/>
                </a:cxn>
                <a:cxn ang="0">
                  <a:pos x="1428" y="158"/>
                </a:cxn>
                <a:cxn ang="0">
                  <a:pos x="1496" y="50"/>
                </a:cxn>
                <a:cxn ang="0">
                  <a:pos x="1520" y="6"/>
                </a:cxn>
                <a:cxn ang="0">
                  <a:pos x="1534" y="86"/>
                </a:cxn>
                <a:cxn ang="0">
                  <a:pos x="1578" y="78"/>
                </a:cxn>
                <a:cxn ang="0">
                  <a:pos x="1654" y="72"/>
                </a:cxn>
                <a:cxn ang="0">
                  <a:pos x="1604" y="152"/>
                </a:cxn>
                <a:cxn ang="0">
                  <a:pos x="1548" y="164"/>
                </a:cxn>
                <a:cxn ang="0">
                  <a:pos x="1434" y="286"/>
                </a:cxn>
                <a:cxn ang="0">
                  <a:pos x="1350" y="378"/>
                </a:cxn>
                <a:cxn ang="0">
                  <a:pos x="1238" y="260"/>
                </a:cxn>
                <a:cxn ang="0">
                  <a:pos x="1148" y="362"/>
                </a:cxn>
                <a:cxn ang="0">
                  <a:pos x="1092" y="410"/>
                </a:cxn>
                <a:cxn ang="0">
                  <a:pos x="1028" y="466"/>
                </a:cxn>
                <a:cxn ang="0">
                  <a:pos x="918" y="608"/>
                </a:cxn>
                <a:cxn ang="0">
                  <a:pos x="866" y="704"/>
                </a:cxn>
                <a:cxn ang="0">
                  <a:pos x="794" y="770"/>
                </a:cxn>
                <a:cxn ang="0">
                  <a:pos x="748" y="1034"/>
                </a:cxn>
                <a:cxn ang="0">
                  <a:pos x="568" y="1190"/>
                </a:cxn>
                <a:cxn ang="0">
                  <a:pos x="570" y="1418"/>
                </a:cxn>
                <a:cxn ang="0">
                  <a:pos x="558" y="1656"/>
                </a:cxn>
                <a:cxn ang="0">
                  <a:pos x="470" y="1760"/>
                </a:cxn>
              </a:cxnLst>
              <a:rect l="0" t="0" r="r" b="b"/>
              <a:pathLst>
                <a:path w="1700" h="1944">
                  <a:moveTo>
                    <a:pt x="454" y="1854"/>
                  </a:moveTo>
                  <a:lnTo>
                    <a:pt x="454" y="1854"/>
                  </a:lnTo>
                  <a:lnTo>
                    <a:pt x="444" y="1848"/>
                  </a:lnTo>
                  <a:lnTo>
                    <a:pt x="436" y="1840"/>
                  </a:lnTo>
                  <a:lnTo>
                    <a:pt x="432" y="1830"/>
                  </a:lnTo>
                  <a:lnTo>
                    <a:pt x="426" y="1820"/>
                  </a:lnTo>
                  <a:lnTo>
                    <a:pt x="426" y="1820"/>
                  </a:lnTo>
                  <a:lnTo>
                    <a:pt x="424" y="1810"/>
                  </a:lnTo>
                  <a:lnTo>
                    <a:pt x="422" y="1798"/>
                  </a:lnTo>
                  <a:lnTo>
                    <a:pt x="418" y="1788"/>
                  </a:lnTo>
                  <a:lnTo>
                    <a:pt x="414" y="1782"/>
                  </a:lnTo>
                  <a:lnTo>
                    <a:pt x="410" y="1776"/>
                  </a:lnTo>
                  <a:lnTo>
                    <a:pt x="410" y="1776"/>
                  </a:lnTo>
                  <a:lnTo>
                    <a:pt x="404" y="1774"/>
                  </a:lnTo>
                  <a:lnTo>
                    <a:pt x="398" y="1772"/>
                  </a:lnTo>
                  <a:lnTo>
                    <a:pt x="392" y="1774"/>
                  </a:lnTo>
                  <a:lnTo>
                    <a:pt x="388" y="1778"/>
                  </a:lnTo>
                  <a:lnTo>
                    <a:pt x="376" y="1788"/>
                  </a:lnTo>
                  <a:lnTo>
                    <a:pt x="366" y="1802"/>
                  </a:lnTo>
                  <a:lnTo>
                    <a:pt x="366" y="1802"/>
                  </a:lnTo>
                  <a:lnTo>
                    <a:pt x="362" y="1810"/>
                  </a:lnTo>
                  <a:lnTo>
                    <a:pt x="362" y="1810"/>
                  </a:lnTo>
                  <a:lnTo>
                    <a:pt x="354" y="1812"/>
                  </a:lnTo>
                  <a:lnTo>
                    <a:pt x="326" y="1828"/>
                  </a:lnTo>
                  <a:lnTo>
                    <a:pt x="326" y="1828"/>
                  </a:lnTo>
                  <a:lnTo>
                    <a:pt x="290" y="1848"/>
                  </a:lnTo>
                  <a:lnTo>
                    <a:pt x="272" y="1862"/>
                  </a:lnTo>
                  <a:lnTo>
                    <a:pt x="254" y="1876"/>
                  </a:lnTo>
                  <a:lnTo>
                    <a:pt x="254" y="1876"/>
                  </a:lnTo>
                  <a:lnTo>
                    <a:pt x="248" y="1882"/>
                  </a:lnTo>
                  <a:lnTo>
                    <a:pt x="240" y="1890"/>
                  </a:lnTo>
                  <a:lnTo>
                    <a:pt x="228" y="1902"/>
                  </a:lnTo>
                  <a:lnTo>
                    <a:pt x="212" y="1914"/>
                  </a:lnTo>
                  <a:lnTo>
                    <a:pt x="212" y="1914"/>
                  </a:lnTo>
                  <a:lnTo>
                    <a:pt x="202" y="1920"/>
                  </a:lnTo>
                  <a:lnTo>
                    <a:pt x="196" y="1928"/>
                  </a:lnTo>
                  <a:lnTo>
                    <a:pt x="186" y="1938"/>
                  </a:lnTo>
                  <a:lnTo>
                    <a:pt x="182" y="1942"/>
                  </a:lnTo>
                  <a:lnTo>
                    <a:pt x="174" y="1944"/>
                  </a:lnTo>
                  <a:lnTo>
                    <a:pt x="164" y="1942"/>
                  </a:lnTo>
                  <a:lnTo>
                    <a:pt x="150" y="1938"/>
                  </a:lnTo>
                  <a:lnTo>
                    <a:pt x="150" y="1938"/>
                  </a:lnTo>
                  <a:lnTo>
                    <a:pt x="118" y="1924"/>
                  </a:lnTo>
                  <a:lnTo>
                    <a:pt x="94" y="1912"/>
                  </a:lnTo>
                  <a:lnTo>
                    <a:pt x="66" y="1898"/>
                  </a:lnTo>
                  <a:lnTo>
                    <a:pt x="66" y="1898"/>
                  </a:lnTo>
                  <a:lnTo>
                    <a:pt x="64" y="1894"/>
                  </a:lnTo>
                  <a:lnTo>
                    <a:pt x="60" y="1890"/>
                  </a:lnTo>
                  <a:lnTo>
                    <a:pt x="52" y="1878"/>
                  </a:lnTo>
                  <a:lnTo>
                    <a:pt x="38" y="1850"/>
                  </a:lnTo>
                  <a:lnTo>
                    <a:pt x="38" y="1850"/>
                  </a:lnTo>
                  <a:lnTo>
                    <a:pt x="26" y="1822"/>
                  </a:lnTo>
                  <a:lnTo>
                    <a:pt x="26" y="1822"/>
                  </a:lnTo>
                  <a:lnTo>
                    <a:pt x="16" y="1808"/>
                  </a:lnTo>
                  <a:lnTo>
                    <a:pt x="8" y="1798"/>
                  </a:lnTo>
                  <a:lnTo>
                    <a:pt x="4" y="1790"/>
                  </a:lnTo>
                  <a:lnTo>
                    <a:pt x="4" y="1790"/>
                  </a:lnTo>
                  <a:lnTo>
                    <a:pt x="4" y="1788"/>
                  </a:lnTo>
                  <a:lnTo>
                    <a:pt x="6" y="1784"/>
                  </a:lnTo>
                  <a:lnTo>
                    <a:pt x="12" y="1776"/>
                  </a:lnTo>
                  <a:lnTo>
                    <a:pt x="22" y="1766"/>
                  </a:lnTo>
                  <a:lnTo>
                    <a:pt x="22" y="1766"/>
                  </a:lnTo>
                  <a:lnTo>
                    <a:pt x="16" y="1766"/>
                  </a:lnTo>
                  <a:lnTo>
                    <a:pt x="8" y="1764"/>
                  </a:lnTo>
                  <a:lnTo>
                    <a:pt x="4" y="1762"/>
                  </a:lnTo>
                  <a:lnTo>
                    <a:pt x="4" y="1760"/>
                  </a:lnTo>
                  <a:lnTo>
                    <a:pt x="6" y="1758"/>
                  </a:lnTo>
                  <a:lnTo>
                    <a:pt x="12" y="1754"/>
                  </a:lnTo>
                  <a:lnTo>
                    <a:pt x="12" y="1754"/>
                  </a:lnTo>
                  <a:lnTo>
                    <a:pt x="20" y="1748"/>
                  </a:lnTo>
                  <a:lnTo>
                    <a:pt x="26" y="1742"/>
                  </a:lnTo>
                  <a:lnTo>
                    <a:pt x="30" y="1736"/>
                  </a:lnTo>
                  <a:lnTo>
                    <a:pt x="32" y="1730"/>
                  </a:lnTo>
                  <a:lnTo>
                    <a:pt x="32" y="1722"/>
                  </a:lnTo>
                  <a:lnTo>
                    <a:pt x="32" y="1718"/>
                  </a:lnTo>
                  <a:lnTo>
                    <a:pt x="32" y="1718"/>
                  </a:lnTo>
                  <a:lnTo>
                    <a:pt x="36" y="1722"/>
                  </a:lnTo>
                  <a:lnTo>
                    <a:pt x="44" y="1724"/>
                  </a:lnTo>
                  <a:lnTo>
                    <a:pt x="54" y="1726"/>
                  </a:lnTo>
                  <a:lnTo>
                    <a:pt x="54" y="1726"/>
                  </a:lnTo>
                  <a:lnTo>
                    <a:pt x="60" y="1726"/>
                  </a:lnTo>
                  <a:lnTo>
                    <a:pt x="62" y="1724"/>
                  </a:lnTo>
                  <a:lnTo>
                    <a:pt x="60" y="1720"/>
                  </a:lnTo>
                  <a:lnTo>
                    <a:pt x="58" y="1714"/>
                  </a:lnTo>
                  <a:lnTo>
                    <a:pt x="54" y="1710"/>
                  </a:lnTo>
                  <a:lnTo>
                    <a:pt x="48" y="1706"/>
                  </a:lnTo>
                  <a:lnTo>
                    <a:pt x="42" y="1704"/>
                  </a:lnTo>
                  <a:lnTo>
                    <a:pt x="34" y="1702"/>
                  </a:lnTo>
                  <a:lnTo>
                    <a:pt x="34" y="1702"/>
                  </a:lnTo>
                  <a:lnTo>
                    <a:pt x="18" y="1704"/>
                  </a:lnTo>
                  <a:lnTo>
                    <a:pt x="8" y="1706"/>
                  </a:lnTo>
                  <a:lnTo>
                    <a:pt x="2" y="1704"/>
                  </a:lnTo>
                  <a:lnTo>
                    <a:pt x="0" y="1704"/>
                  </a:lnTo>
                  <a:lnTo>
                    <a:pt x="0" y="1700"/>
                  </a:lnTo>
                  <a:lnTo>
                    <a:pt x="0" y="1700"/>
                  </a:lnTo>
                  <a:lnTo>
                    <a:pt x="0" y="1692"/>
                  </a:lnTo>
                  <a:lnTo>
                    <a:pt x="0" y="1684"/>
                  </a:lnTo>
                  <a:lnTo>
                    <a:pt x="0" y="1682"/>
                  </a:lnTo>
                  <a:lnTo>
                    <a:pt x="2" y="1678"/>
                  </a:lnTo>
                  <a:lnTo>
                    <a:pt x="6" y="1676"/>
                  </a:lnTo>
                  <a:lnTo>
                    <a:pt x="10" y="1674"/>
                  </a:lnTo>
                  <a:lnTo>
                    <a:pt x="10" y="1674"/>
                  </a:lnTo>
                  <a:lnTo>
                    <a:pt x="16" y="1674"/>
                  </a:lnTo>
                  <a:lnTo>
                    <a:pt x="12" y="1670"/>
                  </a:lnTo>
                  <a:lnTo>
                    <a:pt x="4" y="1668"/>
                  </a:lnTo>
                  <a:lnTo>
                    <a:pt x="4" y="1664"/>
                  </a:lnTo>
                  <a:lnTo>
                    <a:pt x="6" y="1660"/>
                  </a:lnTo>
                  <a:lnTo>
                    <a:pt x="6" y="1660"/>
                  </a:lnTo>
                  <a:lnTo>
                    <a:pt x="16" y="1648"/>
                  </a:lnTo>
                  <a:lnTo>
                    <a:pt x="32" y="1638"/>
                  </a:lnTo>
                  <a:lnTo>
                    <a:pt x="32" y="1638"/>
                  </a:lnTo>
                  <a:lnTo>
                    <a:pt x="42" y="1630"/>
                  </a:lnTo>
                  <a:lnTo>
                    <a:pt x="44" y="1626"/>
                  </a:lnTo>
                  <a:lnTo>
                    <a:pt x="46" y="1622"/>
                  </a:lnTo>
                  <a:lnTo>
                    <a:pt x="42" y="1612"/>
                  </a:lnTo>
                  <a:lnTo>
                    <a:pt x="36" y="1598"/>
                  </a:lnTo>
                  <a:lnTo>
                    <a:pt x="36" y="1598"/>
                  </a:lnTo>
                  <a:lnTo>
                    <a:pt x="26" y="1584"/>
                  </a:lnTo>
                  <a:lnTo>
                    <a:pt x="18" y="1576"/>
                  </a:lnTo>
                  <a:lnTo>
                    <a:pt x="14" y="1570"/>
                  </a:lnTo>
                  <a:lnTo>
                    <a:pt x="16" y="1568"/>
                  </a:lnTo>
                  <a:lnTo>
                    <a:pt x="18" y="1566"/>
                  </a:lnTo>
                  <a:lnTo>
                    <a:pt x="18" y="1566"/>
                  </a:lnTo>
                  <a:lnTo>
                    <a:pt x="44" y="1550"/>
                  </a:lnTo>
                  <a:lnTo>
                    <a:pt x="44" y="1550"/>
                  </a:lnTo>
                  <a:lnTo>
                    <a:pt x="56" y="1544"/>
                  </a:lnTo>
                  <a:lnTo>
                    <a:pt x="66" y="1538"/>
                  </a:lnTo>
                  <a:lnTo>
                    <a:pt x="70" y="1536"/>
                  </a:lnTo>
                  <a:lnTo>
                    <a:pt x="72" y="1534"/>
                  </a:lnTo>
                  <a:lnTo>
                    <a:pt x="72" y="1532"/>
                  </a:lnTo>
                  <a:lnTo>
                    <a:pt x="68" y="1528"/>
                  </a:lnTo>
                  <a:lnTo>
                    <a:pt x="68" y="1528"/>
                  </a:lnTo>
                  <a:lnTo>
                    <a:pt x="62" y="1524"/>
                  </a:lnTo>
                  <a:lnTo>
                    <a:pt x="56" y="1522"/>
                  </a:lnTo>
                  <a:lnTo>
                    <a:pt x="40" y="1518"/>
                  </a:lnTo>
                  <a:lnTo>
                    <a:pt x="28" y="1514"/>
                  </a:lnTo>
                  <a:lnTo>
                    <a:pt x="24" y="1510"/>
                  </a:lnTo>
                  <a:lnTo>
                    <a:pt x="22" y="1508"/>
                  </a:lnTo>
                  <a:lnTo>
                    <a:pt x="22" y="1508"/>
                  </a:lnTo>
                  <a:lnTo>
                    <a:pt x="26" y="1502"/>
                  </a:lnTo>
                  <a:lnTo>
                    <a:pt x="34" y="1496"/>
                  </a:lnTo>
                  <a:lnTo>
                    <a:pt x="44" y="1490"/>
                  </a:lnTo>
                  <a:lnTo>
                    <a:pt x="54" y="1486"/>
                  </a:lnTo>
                  <a:lnTo>
                    <a:pt x="54" y="1486"/>
                  </a:lnTo>
                  <a:lnTo>
                    <a:pt x="64" y="1484"/>
                  </a:lnTo>
                  <a:lnTo>
                    <a:pt x="70" y="1480"/>
                  </a:lnTo>
                  <a:lnTo>
                    <a:pt x="72" y="1476"/>
                  </a:lnTo>
                  <a:lnTo>
                    <a:pt x="72" y="1472"/>
                  </a:lnTo>
                  <a:lnTo>
                    <a:pt x="72" y="1460"/>
                  </a:lnTo>
                  <a:lnTo>
                    <a:pt x="72" y="1460"/>
                  </a:lnTo>
                  <a:lnTo>
                    <a:pt x="70" y="1450"/>
                  </a:lnTo>
                  <a:lnTo>
                    <a:pt x="68" y="1448"/>
                  </a:lnTo>
                  <a:lnTo>
                    <a:pt x="68" y="1440"/>
                  </a:lnTo>
                  <a:lnTo>
                    <a:pt x="68" y="1440"/>
                  </a:lnTo>
                  <a:lnTo>
                    <a:pt x="70" y="1434"/>
                  </a:lnTo>
                  <a:lnTo>
                    <a:pt x="72" y="1432"/>
                  </a:lnTo>
                  <a:lnTo>
                    <a:pt x="74" y="1428"/>
                  </a:lnTo>
                  <a:lnTo>
                    <a:pt x="76" y="1426"/>
                  </a:lnTo>
                  <a:lnTo>
                    <a:pt x="74" y="1422"/>
                  </a:lnTo>
                  <a:lnTo>
                    <a:pt x="68" y="1410"/>
                  </a:lnTo>
                  <a:lnTo>
                    <a:pt x="68" y="1410"/>
                  </a:lnTo>
                  <a:lnTo>
                    <a:pt x="60" y="1402"/>
                  </a:lnTo>
                  <a:lnTo>
                    <a:pt x="54" y="1398"/>
                  </a:lnTo>
                  <a:lnTo>
                    <a:pt x="48" y="1398"/>
                  </a:lnTo>
                  <a:lnTo>
                    <a:pt x="42" y="1398"/>
                  </a:lnTo>
                  <a:lnTo>
                    <a:pt x="38" y="1398"/>
                  </a:lnTo>
                  <a:lnTo>
                    <a:pt x="38" y="1396"/>
                  </a:lnTo>
                  <a:lnTo>
                    <a:pt x="52" y="1382"/>
                  </a:lnTo>
                  <a:lnTo>
                    <a:pt x="52" y="1382"/>
                  </a:lnTo>
                  <a:lnTo>
                    <a:pt x="70" y="1368"/>
                  </a:lnTo>
                  <a:lnTo>
                    <a:pt x="78" y="1362"/>
                  </a:lnTo>
                  <a:lnTo>
                    <a:pt x="84" y="1360"/>
                  </a:lnTo>
                  <a:lnTo>
                    <a:pt x="94" y="1354"/>
                  </a:lnTo>
                  <a:lnTo>
                    <a:pt x="94" y="1354"/>
                  </a:lnTo>
                  <a:lnTo>
                    <a:pt x="104" y="1344"/>
                  </a:lnTo>
                  <a:lnTo>
                    <a:pt x="108" y="1336"/>
                  </a:lnTo>
                  <a:lnTo>
                    <a:pt x="108" y="1334"/>
                  </a:lnTo>
                  <a:lnTo>
                    <a:pt x="106" y="1330"/>
                  </a:lnTo>
                  <a:lnTo>
                    <a:pt x="98" y="1322"/>
                  </a:lnTo>
                  <a:lnTo>
                    <a:pt x="98" y="1322"/>
                  </a:lnTo>
                  <a:lnTo>
                    <a:pt x="92" y="1318"/>
                  </a:lnTo>
                  <a:lnTo>
                    <a:pt x="86" y="1316"/>
                  </a:lnTo>
                  <a:lnTo>
                    <a:pt x="74" y="1314"/>
                  </a:lnTo>
                  <a:lnTo>
                    <a:pt x="70" y="1314"/>
                  </a:lnTo>
                  <a:lnTo>
                    <a:pt x="70" y="1310"/>
                  </a:lnTo>
                  <a:lnTo>
                    <a:pt x="72" y="1304"/>
                  </a:lnTo>
                  <a:lnTo>
                    <a:pt x="78" y="1296"/>
                  </a:lnTo>
                  <a:lnTo>
                    <a:pt x="78" y="1296"/>
                  </a:lnTo>
                  <a:lnTo>
                    <a:pt x="100" y="1274"/>
                  </a:lnTo>
                  <a:lnTo>
                    <a:pt x="104" y="1268"/>
                  </a:lnTo>
                  <a:lnTo>
                    <a:pt x="110" y="1260"/>
                  </a:lnTo>
                  <a:lnTo>
                    <a:pt x="110" y="1260"/>
                  </a:lnTo>
                  <a:lnTo>
                    <a:pt x="114" y="1254"/>
                  </a:lnTo>
                  <a:lnTo>
                    <a:pt x="114" y="1248"/>
                  </a:lnTo>
                  <a:lnTo>
                    <a:pt x="118" y="1234"/>
                  </a:lnTo>
                  <a:lnTo>
                    <a:pt x="122" y="1228"/>
                  </a:lnTo>
                  <a:lnTo>
                    <a:pt x="126" y="1224"/>
                  </a:lnTo>
                  <a:lnTo>
                    <a:pt x="134" y="1220"/>
                  </a:lnTo>
                  <a:lnTo>
                    <a:pt x="146" y="1218"/>
                  </a:lnTo>
                  <a:lnTo>
                    <a:pt x="146" y="1218"/>
                  </a:lnTo>
                  <a:lnTo>
                    <a:pt x="170" y="1216"/>
                  </a:lnTo>
                  <a:lnTo>
                    <a:pt x="192" y="1214"/>
                  </a:lnTo>
                  <a:lnTo>
                    <a:pt x="206" y="1210"/>
                  </a:lnTo>
                  <a:lnTo>
                    <a:pt x="214" y="1208"/>
                  </a:lnTo>
                  <a:lnTo>
                    <a:pt x="214" y="1208"/>
                  </a:lnTo>
                  <a:lnTo>
                    <a:pt x="214" y="1206"/>
                  </a:lnTo>
                  <a:lnTo>
                    <a:pt x="212" y="1202"/>
                  </a:lnTo>
                  <a:lnTo>
                    <a:pt x="214" y="1196"/>
                  </a:lnTo>
                  <a:lnTo>
                    <a:pt x="220" y="1184"/>
                  </a:lnTo>
                  <a:lnTo>
                    <a:pt x="220" y="1184"/>
                  </a:lnTo>
                  <a:lnTo>
                    <a:pt x="234" y="1168"/>
                  </a:lnTo>
                  <a:lnTo>
                    <a:pt x="236" y="1166"/>
                  </a:lnTo>
                  <a:lnTo>
                    <a:pt x="238" y="1166"/>
                  </a:lnTo>
                  <a:lnTo>
                    <a:pt x="246" y="1168"/>
                  </a:lnTo>
                  <a:lnTo>
                    <a:pt x="246" y="1168"/>
                  </a:lnTo>
                  <a:lnTo>
                    <a:pt x="254" y="1176"/>
                  </a:lnTo>
                  <a:lnTo>
                    <a:pt x="258" y="1180"/>
                  </a:lnTo>
                  <a:lnTo>
                    <a:pt x="262" y="1182"/>
                  </a:lnTo>
                  <a:lnTo>
                    <a:pt x="266" y="1182"/>
                  </a:lnTo>
                  <a:lnTo>
                    <a:pt x="272" y="1182"/>
                  </a:lnTo>
                  <a:lnTo>
                    <a:pt x="280" y="1178"/>
                  </a:lnTo>
                  <a:lnTo>
                    <a:pt x="280" y="1178"/>
                  </a:lnTo>
                  <a:lnTo>
                    <a:pt x="288" y="1176"/>
                  </a:lnTo>
                  <a:lnTo>
                    <a:pt x="296" y="1174"/>
                  </a:lnTo>
                  <a:lnTo>
                    <a:pt x="304" y="1176"/>
                  </a:lnTo>
                  <a:lnTo>
                    <a:pt x="312" y="1178"/>
                  </a:lnTo>
                  <a:lnTo>
                    <a:pt x="322" y="1182"/>
                  </a:lnTo>
                  <a:lnTo>
                    <a:pt x="326" y="1182"/>
                  </a:lnTo>
                  <a:lnTo>
                    <a:pt x="330" y="1182"/>
                  </a:lnTo>
                  <a:lnTo>
                    <a:pt x="330" y="1182"/>
                  </a:lnTo>
                  <a:lnTo>
                    <a:pt x="334" y="1170"/>
                  </a:lnTo>
                  <a:lnTo>
                    <a:pt x="342" y="1136"/>
                  </a:lnTo>
                  <a:lnTo>
                    <a:pt x="342" y="1136"/>
                  </a:lnTo>
                  <a:lnTo>
                    <a:pt x="350" y="1112"/>
                  </a:lnTo>
                  <a:lnTo>
                    <a:pt x="358" y="1094"/>
                  </a:lnTo>
                  <a:lnTo>
                    <a:pt x="366" y="1084"/>
                  </a:lnTo>
                  <a:lnTo>
                    <a:pt x="374" y="1078"/>
                  </a:lnTo>
                  <a:lnTo>
                    <a:pt x="374" y="1078"/>
                  </a:lnTo>
                  <a:lnTo>
                    <a:pt x="382" y="1078"/>
                  </a:lnTo>
                  <a:lnTo>
                    <a:pt x="390" y="1080"/>
                  </a:lnTo>
                  <a:lnTo>
                    <a:pt x="400" y="1082"/>
                  </a:lnTo>
                  <a:lnTo>
                    <a:pt x="408" y="1084"/>
                  </a:lnTo>
                  <a:lnTo>
                    <a:pt x="408" y="1084"/>
                  </a:lnTo>
                  <a:lnTo>
                    <a:pt x="412" y="1084"/>
                  </a:lnTo>
                  <a:lnTo>
                    <a:pt x="416" y="1082"/>
                  </a:lnTo>
                  <a:lnTo>
                    <a:pt x="422" y="1076"/>
                  </a:lnTo>
                  <a:lnTo>
                    <a:pt x="426" y="1074"/>
                  </a:lnTo>
                  <a:lnTo>
                    <a:pt x="430" y="1074"/>
                  </a:lnTo>
                  <a:lnTo>
                    <a:pt x="432" y="1074"/>
                  </a:lnTo>
                  <a:lnTo>
                    <a:pt x="436" y="1078"/>
                  </a:lnTo>
                  <a:lnTo>
                    <a:pt x="436" y="1078"/>
                  </a:lnTo>
                  <a:lnTo>
                    <a:pt x="438" y="1084"/>
                  </a:lnTo>
                  <a:lnTo>
                    <a:pt x="440" y="1090"/>
                  </a:lnTo>
                  <a:lnTo>
                    <a:pt x="442" y="1106"/>
                  </a:lnTo>
                  <a:lnTo>
                    <a:pt x="444" y="1110"/>
                  </a:lnTo>
                  <a:lnTo>
                    <a:pt x="446" y="1112"/>
                  </a:lnTo>
                  <a:lnTo>
                    <a:pt x="450" y="1110"/>
                  </a:lnTo>
                  <a:lnTo>
                    <a:pt x="456" y="1104"/>
                  </a:lnTo>
                  <a:lnTo>
                    <a:pt x="456" y="1104"/>
                  </a:lnTo>
                  <a:lnTo>
                    <a:pt x="460" y="1096"/>
                  </a:lnTo>
                  <a:lnTo>
                    <a:pt x="462" y="1090"/>
                  </a:lnTo>
                  <a:lnTo>
                    <a:pt x="460" y="1088"/>
                  </a:lnTo>
                  <a:lnTo>
                    <a:pt x="458" y="1086"/>
                  </a:lnTo>
                  <a:lnTo>
                    <a:pt x="456" y="1082"/>
                  </a:lnTo>
                  <a:lnTo>
                    <a:pt x="456" y="1078"/>
                  </a:lnTo>
                  <a:lnTo>
                    <a:pt x="456" y="1070"/>
                  </a:lnTo>
                  <a:lnTo>
                    <a:pt x="460" y="1058"/>
                  </a:lnTo>
                  <a:lnTo>
                    <a:pt x="460" y="1058"/>
                  </a:lnTo>
                  <a:lnTo>
                    <a:pt x="466" y="1038"/>
                  </a:lnTo>
                  <a:lnTo>
                    <a:pt x="470" y="1030"/>
                  </a:lnTo>
                  <a:lnTo>
                    <a:pt x="476" y="1026"/>
                  </a:lnTo>
                  <a:lnTo>
                    <a:pt x="490" y="1014"/>
                  </a:lnTo>
                  <a:lnTo>
                    <a:pt x="490" y="1014"/>
                  </a:lnTo>
                  <a:lnTo>
                    <a:pt x="500" y="1006"/>
                  </a:lnTo>
                  <a:lnTo>
                    <a:pt x="510" y="1000"/>
                  </a:lnTo>
                  <a:lnTo>
                    <a:pt x="530" y="994"/>
                  </a:lnTo>
                  <a:lnTo>
                    <a:pt x="546" y="988"/>
                  </a:lnTo>
                  <a:lnTo>
                    <a:pt x="552" y="984"/>
                  </a:lnTo>
                  <a:lnTo>
                    <a:pt x="560" y="978"/>
                  </a:lnTo>
                  <a:lnTo>
                    <a:pt x="560" y="978"/>
                  </a:lnTo>
                  <a:lnTo>
                    <a:pt x="570" y="968"/>
                  </a:lnTo>
                  <a:lnTo>
                    <a:pt x="578" y="958"/>
                  </a:lnTo>
                  <a:lnTo>
                    <a:pt x="582" y="950"/>
                  </a:lnTo>
                  <a:lnTo>
                    <a:pt x="582" y="946"/>
                  </a:lnTo>
                  <a:lnTo>
                    <a:pt x="580" y="942"/>
                  </a:lnTo>
                  <a:lnTo>
                    <a:pt x="580" y="942"/>
                  </a:lnTo>
                  <a:lnTo>
                    <a:pt x="578" y="940"/>
                  </a:lnTo>
                  <a:lnTo>
                    <a:pt x="580" y="936"/>
                  </a:lnTo>
                  <a:lnTo>
                    <a:pt x="586" y="930"/>
                  </a:lnTo>
                  <a:lnTo>
                    <a:pt x="596" y="924"/>
                  </a:lnTo>
                  <a:lnTo>
                    <a:pt x="606" y="920"/>
                  </a:lnTo>
                  <a:lnTo>
                    <a:pt x="606" y="920"/>
                  </a:lnTo>
                  <a:lnTo>
                    <a:pt x="644" y="910"/>
                  </a:lnTo>
                  <a:lnTo>
                    <a:pt x="664" y="902"/>
                  </a:lnTo>
                  <a:lnTo>
                    <a:pt x="672" y="898"/>
                  </a:lnTo>
                  <a:lnTo>
                    <a:pt x="676" y="894"/>
                  </a:lnTo>
                  <a:lnTo>
                    <a:pt x="676" y="894"/>
                  </a:lnTo>
                  <a:lnTo>
                    <a:pt x="680" y="888"/>
                  </a:lnTo>
                  <a:lnTo>
                    <a:pt x="682" y="880"/>
                  </a:lnTo>
                  <a:lnTo>
                    <a:pt x="682" y="872"/>
                  </a:lnTo>
                  <a:lnTo>
                    <a:pt x="678" y="858"/>
                  </a:lnTo>
                  <a:lnTo>
                    <a:pt x="678" y="858"/>
                  </a:lnTo>
                  <a:lnTo>
                    <a:pt x="670" y="836"/>
                  </a:lnTo>
                  <a:lnTo>
                    <a:pt x="668" y="828"/>
                  </a:lnTo>
                  <a:lnTo>
                    <a:pt x="670" y="822"/>
                  </a:lnTo>
                  <a:lnTo>
                    <a:pt x="670" y="822"/>
                  </a:lnTo>
                  <a:lnTo>
                    <a:pt x="672" y="818"/>
                  </a:lnTo>
                  <a:lnTo>
                    <a:pt x="672" y="814"/>
                  </a:lnTo>
                  <a:lnTo>
                    <a:pt x="676" y="808"/>
                  </a:lnTo>
                  <a:lnTo>
                    <a:pt x="686" y="796"/>
                  </a:lnTo>
                  <a:lnTo>
                    <a:pt x="686" y="796"/>
                  </a:lnTo>
                  <a:lnTo>
                    <a:pt x="700" y="784"/>
                  </a:lnTo>
                  <a:lnTo>
                    <a:pt x="708" y="780"/>
                  </a:lnTo>
                  <a:lnTo>
                    <a:pt x="712" y="776"/>
                  </a:lnTo>
                  <a:lnTo>
                    <a:pt x="712" y="770"/>
                  </a:lnTo>
                  <a:lnTo>
                    <a:pt x="712" y="770"/>
                  </a:lnTo>
                  <a:lnTo>
                    <a:pt x="710" y="762"/>
                  </a:lnTo>
                  <a:lnTo>
                    <a:pt x="708" y="758"/>
                  </a:lnTo>
                  <a:lnTo>
                    <a:pt x="706" y="754"/>
                  </a:lnTo>
                  <a:lnTo>
                    <a:pt x="710" y="746"/>
                  </a:lnTo>
                  <a:lnTo>
                    <a:pt x="710" y="746"/>
                  </a:lnTo>
                  <a:lnTo>
                    <a:pt x="714" y="736"/>
                  </a:lnTo>
                  <a:lnTo>
                    <a:pt x="718" y="726"/>
                  </a:lnTo>
                  <a:lnTo>
                    <a:pt x="720" y="722"/>
                  </a:lnTo>
                  <a:lnTo>
                    <a:pt x="724" y="720"/>
                  </a:lnTo>
                  <a:lnTo>
                    <a:pt x="738" y="716"/>
                  </a:lnTo>
                  <a:lnTo>
                    <a:pt x="738" y="716"/>
                  </a:lnTo>
                  <a:lnTo>
                    <a:pt x="746" y="714"/>
                  </a:lnTo>
                  <a:lnTo>
                    <a:pt x="754" y="714"/>
                  </a:lnTo>
                  <a:lnTo>
                    <a:pt x="764" y="718"/>
                  </a:lnTo>
                  <a:lnTo>
                    <a:pt x="766" y="718"/>
                  </a:lnTo>
                  <a:lnTo>
                    <a:pt x="766" y="718"/>
                  </a:lnTo>
                  <a:lnTo>
                    <a:pt x="760" y="710"/>
                  </a:lnTo>
                  <a:lnTo>
                    <a:pt x="760" y="710"/>
                  </a:lnTo>
                  <a:lnTo>
                    <a:pt x="756" y="704"/>
                  </a:lnTo>
                  <a:lnTo>
                    <a:pt x="750" y="698"/>
                  </a:lnTo>
                  <a:lnTo>
                    <a:pt x="738" y="692"/>
                  </a:lnTo>
                  <a:lnTo>
                    <a:pt x="734" y="690"/>
                  </a:lnTo>
                  <a:lnTo>
                    <a:pt x="732" y="688"/>
                  </a:lnTo>
                  <a:lnTo>
                    <a:pt x="732" y="684"/>
                  </a:lnTo>
                  <a:lnTo>
                    <a:pt x="734" y="678"/>
                  </a:lnTo>
                  <a:lnTo>
                    <a:pt x="734" y="678"/>
                  </a:lnTo>
                  <a:lnTo>
                    <a:pt x="738" y="664"/>
                  </a:lnTo>
                  <a:lnTo>
                    <a:pt x="746" y="654"/>
                  </a:lnTo>
                  <a:lnTo>
                    <a:pt x="750" y="648"/>
                  </a:lnTo>
                  <a:lnTo>
                    <a:pt x="756" y="644"/>
                  </a:lnTo>
                  <a:lnTo>
                    <a:pt x="766" y="640"/>
                  </a:lnTo>
                  <a:lnTo>
                    <a:pt x="776" y="636"/>
                  </a:lnTo>
                  <a:lnTo>
                    <a:pt x="776" y="636"/>
                  </a:lnTo>
                  <a:lnTo>
                    <a:pt x="786" y="632"/>
                  </a:lnTo>
                  <a:lnTo>
                    <a:pt x="788" y="630"/>
                  </a:lnTo>
                  <a:lnTo>
                    <a:pt x="788" y="628"/>
                  </a:lnTo>
                  <a:lnTo>
                    <a:pt x="788" y="628"/>
                  </a:lnTo>
                  <a:lnTo>
                    <a:pt x="788" y="626"/>
                  </a:lnTo>
                  <a:lnTo>
                    <a:pt x="792" y="624"/>
                  </a:lnTo>
                  <a:lnTo>
                    <a:pt x="818" y="616"/>
                  </a:lnTo>
                  <a:lnTo>
                    <a:pt x="818" y="616"/>
                  </a:lnTo>
                  <a:lnTo>
                    <a:pt x="878" y="606"/>
                  </a:lnTo>
                  <a:lnTo>
                    <a:pt x="884" y="604"/>
                  </a:lnTo>
                  <a:lnTo>
                    <a:pt x="884" y="602"/>
                  </a:lnTo>
                  <a:lnTo>
                    <a:pt x="884" y="602"/>
                  </a:lnTo>
                  <a:lnTo>
                    <a:pt x="868" y="598"/>
                  </a:lnTo>
                  <a:lnTo>
                    <a:pt x="868" y="598"/>
                  </a:lnTo>
                  <a:lnTo>
                    <a:pt x="816" y="586"/>
                  </a:lnTo>
                  <a:lnTo>
                    <a:pt x="816" y="586"/>
                  </a:lnTo>
                  <a:lnTo>
                    <a:pt x="814" y="580"/>
                  </a:lnTo>
                  <a:lnTo>
                    <a:pt x="812" y="568"/>
                  </a:lnTo>
                  <a:lnTo>
                    <a:pt x="814" y="558"/>
                  </a:lnTo>
                  <a:lnTo>
                    <a:pt x="818" y="550"/>
                  </a:lnTo>
                  <a:lnTo>
                    <a:pt x="824" y="542"/>
                  </a:lnTo>
                  <a:lnTo>
                    <a:pt x="834" y="534"/>
                  </a:lnTo>
                  <a:lnTo>
                    <a:pt x="834" y="534"/>
                  </a:lnTo>
                  <a:lnTo>
                    <a:pt x="856" y="524"/>
                  </a:lnTo>
                  <a:lnTo>
                    <a:pt x="870" y="518"/>
                  </a:lnTo>
                  <a:lnTo>
                    <a:pt x="882" y="512"/>
                  </a:lnTo>
                  <a:lnTo>
                    <a:pt x="892" y="508"/>
                  </a:lnTo>
                  <a:lnTo>
                    <a:pt x="892" y="508"/>
                  </a:lnTo>
                  <a:lnTo>
                    <a:pt x="904" y="500"/>
                  </a:lnTo>
                  <a:lnTo>
                    <a:pt x="914" y="494"/>
                  </a:lnTo>
                  <a:lnTo>
                    <a:pt x="918" y="490"/>
                  </a:lnTo>
                  <a:lnTo>
                    <a:pt x="918" y="486"/>
                  </a:lnTo>
                  <a:lnTo>
                    <a:pt x="918" y="484"/>
                  </a:lnTo>
                  <a:lnTo>
                    <a:pt x="914" y="480"/>
                  </a:lnTo>
                  <a:lnTo>
                    <a:pt x="914" y="480"/>
                  </a:lnTo>
                  <a:lnTo>
                    <a:pt x="910" y="478"/>
                  </a:lnTo>
                  <a:lnTo>
                    <a:pt x="902" y="478"/>
                  </a:lnTo>
                  <a:lnTo>
                    <a:pt x="888" y="482"/>
                  </a:lnTo>
                  <a:lnTo>
                    <a:pt x="882" y="482"/>
                  </a:lnTo>
                  <a:lnTo>
                    <a:pt x="882" y="480"/>
                  </a:lnTo>
                  <a:lnTo>
                    <a:pt x="882" y="478"/>
                  </a:lnTo>
                  <a:lnTo>
                    <a:pt x="886" y="470"/>
                  </a:lnTo>
                  <a:lnTo>
                    <a:pt x="894" y="458"/>
                  </a:lnTo>
                  <a:lnTo>
                    <a:pt x="894" y="458"/>
                  </a:lnTo>
                  <a:lnTo>
                    <a:pt x="914" y="434"/>
                  </a:lnTo>
                  <a:lnTo>
                    <a:pt x="924" y="424"/>
                  </a:lnTo>
                  <a:lnTo>
                    <a:pt x="930" y="420"/>
                  </a:lnTo>
                  <a:lnTo>
                    <a:pt x="936" y="418"/>
                  </a:lnTo>
                  <a:lnTo>
                    <a:pt x="936" y="418"/>
                  </a:lnTo>
                  <a:lnTo>
                    <a:pt x="956" y="414"/>
                  </a:lnTo>
                  <a:lnTo>
                    <a:pt x="958" y="412"/>
                  </a:lnTo>
                  <a:lnTo>
                    <a:pt x="958" y="412"/>
                  </a:lnTo>
                  <a:lnTo>
                    <a:pt x="948" y="406"/>
                  </a:lnTo>
                  <a:lnTo>
                    <a:pt x="948" y="406"/>
                  </a:lnTo>
                  <a:lnTo>
                    <a:pt x="938" y="406"/>
                  </a:lnTo>
                  <a:lnTo>
                    <a:pt x="928" y="406"/>
                  </a:lnTo>
                  <a:lnTo>
                    <a:pt x="912" y="410"/>
                  </a:lnTo>
                  <a:lnTo>
                    <a:pt x="906" y="412"/>
                  </a:lnTo>
                  <a:lnTo>
                    <a:pt x="902" y="410"/>
                  </a:lnTo>
                  <a:lnTo>
                    <a:pt x="904" y="406"/>
                  </a:lnTo>
                  <a:lnTo>
                    <a:pt x="908" y="396"/>
                  </a:lnTo>
                  <a:lnTo>
                    <a:pt x="908" y="396"/>
                  </a:lnTo>
                  <a:lnTo>
                    <a:pt x="916" y="382"/>
                  </a:lnTo>
                  <a:lnTo>
                    <a:pt x="916" y="378"/>
                  </a:lnTo>
                  <a:lnTo>
                    <a:pt x="914" y="380"/>
                  </a:lnTo>
                  <a:lnTo>
                    <a:pt x="902" y="384"/>
                  </a:lnTo>
                  <a:lnTo>
                    <a:pt x="880" y="394"/>
                  </a:lnTo>
                  <a:lnTo>
                    <a:pt x="880" y="394"/>
                  </a:lnTo>
                  <a:lnTo>
                    <a:pt x="842" y="406"/>
                  </a:lnTo>
                  <a:lnTo>
                    <a:pt x="820" y="412"/>
                  </a:lnTo>
                  <a:lnTo>
                    <a:pt x="820" y="412"/>
                  </a:lnTo>
                  <a:lnTo>
                    <a:pt x="792" y="420"/>
                  </a:lnTo>
                  <a:lnTo>
                    <a:pt x="788" y="420"/>
                  </a:lnTo>
                  <a:lnTo>
                    <a:pt x="788" y="418"/>
                  </a:lnTo>
                  <a:lnTo>
                    <a:pt x="808" y="404"/>
                  </a:lnTo>
                  <a:lnTo>
                    <a:pt x="808" y="404"/>
                  </a:lnTo>
                  <a:lnTo>
                    <a:pt x="840" y="386"/>
                  </a:lnTo>
                  <a:lnTo>
                    <a:pt x="862" y="374"/>
                  </a:lnTo>
                  <a:lnTo>
                    <a:pt x="886" y="362"/>
                  </a:lnTo>
                  <a:lnTo>
                    <a:pt x="886" y="362"/>
                  </a:lnTo>
                  <a:lnTo>
                    <a:pt x="886" y="360"/>
                  </a:lnTo>
                  <a:lnTo>
                    <a:pt x="884" y="360"/>
                  </a:lnTo>
                  <a:lnTo>
                    <a:pt x="876" y="360"/>
                  </a:lnTo>
                  <a:lnTo>
                    <a:pt x="872" y="360"/>
                  </a:lnTo>
                  <a:lnTo>
                    <a:pt x="872" y="358"/>
                  </a:lnTo>
                  <a:lnTo>
                    <a:pt x="874" y="352"/>
                  </a:lnTo>
                  <a:lnTo>
                    <a:pt x="882" y="344"/>
                  </a:lnTo>
                  <a:lnTo>
                    <a:pt x="882" y="344"/>
                  </a:lnTo>
                  <a:lnTo>
                    <a:pt x="892" y="336"/>
                  </a:lnTo>
                  <a:lnTo>
                    <a:pt x="900" y="332"/>
                  </a:lnTo>
                  <a:lnTo>
                    <a:pt x="906" y="330"/>
                  </a:lnTo>
                  <a:lnTo>
                    <a:pt x="908" y="330"/>
                  </a:lnTo>
                  <a:lnTo>
                    <a:pt x="910" y="328"/>
                  </a:lnTo>
                  <a:lnTo>
                    <a:pt x="912" y="318"/>
                  </a:lnTo>
                  <a:lnTo>
                    <a:pt x="912" y="318"/>
                  </a:lnTo>
                  <a:lnTo>
                    <a:pt x="916" y="302"/>
                  </a:lnTo>
                  <a:lnTo>
                    <a:pt x="918" y="290"/>
                  </a:lnTo>
                  <a:lnTo>
                    <a:pt x="918" y="286"/>
                  </a:lnTo>
                  <a:lnTo>
                    <a:pt x="920" y="282"/>
                  </a:lnTo>
                  <a:lnTo>
                    <a:pt x="924" y="278"/>
                  </a:lnTo>
                  <a:lnTo>
                    <a:pt x="930" y="276"/>
                  </a:lnTo>
                  <a:lnTo>
                    <a:pt x="930" y="276"/>
                  </a:lnTo>
                  <a:lnTo>
                    <a:pt x="940" y="272"/>
                  </a:lnTo>
                  <a:lnTo>
                    <a:pt x="944" y="272"/>
                  </a:lnTo>
                  <a:lnTo>
                    <a:pt x="948" y="276"/>
                  </a:lnTo>
                  <a:lnTo>
                    <a:pt x="956" y="288"/>
                  </a:lnTo>
                  <a:lnTo>
                    <a:pt x="956" y="288"/>
                  </a:lnTo>
                  <a:lnTo>
                    <a:pt x="966" y="306"/>
                  </a:lnTo>
                  <a:lnTo>
                    <a:pt x="974" y="318"/>
                  </a:lnTo>
                  <a:lnTo>
                    <a:pt x="978" y="324"/>
                  </a:lnTo>
                  <a:lnTo>
                    <a:pt x="984" y="326"/>
                  </a:lnTo>
                  <a:lnTo>
                    <a:pt x="992" y="328"/>
                  </a:lnTo>
                  <a:lnTo>
                    <a:pt x="1004" y="328"/>
                  </a:lnTo>
                  <a:lnTo>
                    <a:pt x="1004" y="328"/>
                  </a:lnTo>
                  <a:lnTo>
                    <a:pt x="1028" y="322"/>
                  </a:lnTo>
                  <a:lnTo>
                    <a:pt x="1044" y="318"/>
                  </a:lnTo>
                  <a:lnTo>
                    <a:pt x="1046" y="316"/>
                  </a:lnTo>
                  <a:lnTo>
                    <a:pt x="1046" y="314"/>
                  </a:lnTo>
                  <a:lnTo>
                    <a:pt x="1040" y="312"/>
                  </a:lnTo>
                  <a:lnTo>
                    <a:pt x="1030" y="308"/>
                  </a:lnTo>
                  <a:lnTo>
                    <a:pt x="1030" y="308"/>
                  </a:lnTo>
                  <a:lnTo>
                    <a:pt x="1024" y="306"/>
                  </a:lnTo>
                  <a:lnTo>
                    <a:pt x="1018" y="302"/>
                  </a:lnTo>
                  <a:lnTo>
                    <a:pt x="1010" y="294"/>
                  </a:lnTo>
                  <a:lnTo>
                    <a:pt x="1004" y="284"/>
                  </a:lnTo>
                  <a:lnTo>
                    <a:pt x="1002" y="272"/>
                  </a:lnTo>
                  <a:lnTo>
                    <a:pt x="1002" y="262"/>
                  </a:lnTo>
                  <a:lnTo>
                    <a:pt x="1004" y="254"/>
                  </a:lnTo>
                  <a:lnTo>
                    <a:pt x="1006" y="248"/>
                  </a:lnTo>
                  <a:lnTo>
                    <a:pt x="1008" y="244"/>
                  </a:lnTo>
                  <a:lnTo>
                    <a:pt x="1008" y="244"/>
                  </a:lnTo>
                  <a:lnTo>
                    <a:pt x="1012" y="244"/>
                  </a:lnTo>
                  <a:lnTo>
                    <a:pt x="1012" y="246"/>
                  </a:lnTo>
                  <a:lnTo>
                    <a:pt x="1016" y="250"/>
                  </a:lnTo>
                  <a:lnTo>
                    <a:pt x="1020" y="256"/>
                  </a:lnTo>
                  <a:lnTo>
                    <a:pt x="1028" y="262"/>
                  </a:lnTo>
                  <a:lnTo>
                    <a:pt x="1028" y="262"/>
                  </a:lnTo>
                  <a:lnTo>
                    <a:pt x="1038" y="266"/>
                  </a:lnTo>
                  <a:lnTo>
                    <a:pt x="1050" y="268"/>
                  </a:lnTo>
                  <a:lnTo>
                    <a:pt x="1060" y="266"/>
                  </a:lnTo>
                  <a:lnTo>
                    <a:pt x="1064" y="264"/>
                  </a:lnTo>
                  <a:lnTo>
                    <a:pt x="1068" y="260"/>
                  </a:lnTo>
                  <a:lnTo>
                    <a:pt x="1068" y="260"/>
                  </a:lnTo>
                  <a:lnTo>
                    <a:pt x="1072" y="258"/>
                  </a:lnTo>
                  <a:lnTo>
                    <a:pt x="1074" y="260"/>
                  </a:lnTo>
                  <a:lnTo>
                    <a:pt x="1080" y="268"/>
                  </a:lnTo>
                  <a:lnTo>
                    <a:pt x="1082" y="272"/>
                  </a:lnTo>
                  <a:lnTo>
                    <a:pt x="1084" y="274"/>
                  </a:lnTo>
                  <a:lnTo>
                    <a:pt x="1084" y="272"/>
                  </a:lnTo>
                  <a:lnTo>
                    <a:pt x="1086" y="264"/>
                  </a:lnTo>
                  <a:lnTo>
                    <a:pt x="1086" y="264"/>
                  </a:lnTo>
                  <a:lnTo>
                    <a:pt x="1088" y="244"/>
                  </a:lnTo>
                  <a:lnTo>
                    <a:pt x="1092" y="234"/>
                  </a:lnTo>
                  <a:lnTo>
                    <a:pt x="1094" y="226"/>
                  </a:lnTo>
                  <a:lnTo>
                    <a:pt x="1100" y="216"/>
                  </a:lnTo>
                  <a:lnTo>
                    <a:pt x="1108" y="210"/>
                  </a:lnTo>
                  <a:lnTo>
                    <a:pt x="1118" y="202"/>
                  </a:lnTo>
                  <a:lnTo>
                    <a:pt x="1130" y="196"/>
                  </a:lnTo>
                  <a:lnTo>
                    <a:pt x="1130" y="196"/>
                  </a:lnTo>
                  <a:lnTo>
                    <a:pt x="1152" y="186"/>
                  </a:lnTo>
                  <a:lnTo>
                    <a:pt x="1160" y="184"/>
                  </a:lnTo>
                  <a:lnTo>
                    <a:pt x="1164" y="184"/>
                  </a:lnTo>
                  <a:lnTo>
                    <a:pt x="1168" y="184"/>
                  </a:lnTo>
                  <a:lnTo>
                    <a:pt x="1172" y="188"/>
                  </a:lnTo>
                  <a:lnTo>
                    <a:pt x="1172" y="196"/>
                  </a:lnTo>
                  <a:lnTo>
                    <a:pt x="1174" y="206"/>
                  </a:lnTo>
                  <a:lnTo>
                    <a:pt x="1174" y="206"/>
                  </a:lnTo>
                  <a:lnTo>
                    <a:pt x="1172" y="216"/>
                  </a:lnTo>
                  <a:lnTo>
                    <a:pt x="1170" y="226"/>
                  </a:lnTo>
                  <a:lnTo>
                    <a:pt x="1162" y="242"/>
                  </a:lnTo>
                  <a:lnTo>
                    <a:pt x="1156" y="254"/>
                  </a:lnTo>
                  <a:lnTo>
                    <a:pt x="1156" y="256"/>
                  </a:lnTo>
                  <a:lnTo>
                    <a:pt x="1156" y="260"/>
                  </a:lnTo>
                  <a:lnTo>
                    <a:pt x="1156" y="260"/>
                  </a:lnTo>
                  <a:lnTo>
                    <a:pt x="1160" y="258"/>
                  </a:lnTo>
                  <a:lnTo>
                    <a:pt x="1164" y="256"/>
                  </a:lnTo>
                  <a:lnTo>
                    <a:pt x="1176" y="242"/>
                  </a:lnTo>
                  <a:lnTo>
                    <a:pt x="1186" y="226"/>
                  </a:lnTo>
                  <a:lnTo>
                    <a:pt x="1188" y="218"/>
                  </a:lnTo>
                  <a:lnTo>
                    <a:pt x="1190" y="210"/>
                  </a:lnTo>
                  <a:lnTo>
                    <a:pt x="1190" y="210"/>
                  </a:lnTo>
                  <a:lnTo>
                    <a:pt x="1192" y="196"/>
                  </a:lnTo>
                  <a:lnTo>
                    <a:pt x="1194" y="180"/>
                  </a:lnTo>
                  <a:lnTo>
                    <a:pt x="1196" y="174"/>
                  </a:lnTo>
                  <a:lnTo>
                    <a:pt x="1200" y="170"/>
                  </a:lnTo>
                  <a:lnTo>
                    <a:pt x="1204" y="170"/>
                  </a:lnTo>
                  <a:lnTo>
                    <a:pt x="1210" y="172"/>
                  </a:lnTo>
                  <a:lnTo>
                    <a:pt x="1210" y="172"/>
                  </a:lnTo>
                  <a:lnTo>
                    <a:pt x="1220" y="176"/>
                  </a:lnTo>
                  <a:lnTo>
                    <a:pt x="1228" y="178"/>
                  </a:lnTo>
                  <a:lnTo>
                    <a:pt x="1234" y="180"/>
                  </a:lnTo>
                  <a:lnTo>
                    <a:pt x="1242" y="190"/>
                  </a:lnTo>
                  <a:lnTo>
                    <a:pt x="1242" y="190"/>
                  </a:lnTo>
                  <a:lnTo>
                    <a:pt x="1256" y="218"/>
                  </a:lnTo>
                  <a:lnTo>
                    <a:pt x="1260" y="224"/>
                  </a:lnTo>
                  <a:lnTo>
                    <a:pt x="1260" y="226"/>
                  </a:lnTo>
                  <a:lnTo>
                    <a:pt x="1260" y="224"/>
                  </a:lnTo>
                  <a:lnTo>
                    <a:pt x="1260" y="224"/>
                  </a:lnTo>
                  <a:lnTo>
                    <a:pt x="1260" y="200"/>
                  </a:lnTo>
                  <a:lnTo>
                    <a:pt x="1258" y="184"/>
                  </a:lnTo>
                  <a:lnTo>
                    <a:pt x="1254" y="172"/>
                  </a:lnTo>
                  <a:lnTo>
                    <a:pt x="1254" y="172"/>
                  </a:lnTo>
                  <a:lnTo>
                    <a:pt x="1252" y="170"/>
                  </a:lnTo>
                  <a:lnTo>
                    <a:pt x="1250" y="170"/>
                  </a:lnTo>
                  <a:lnTo>
                    <a:pt x="1244" y="170"/>
                  </a:lnTo>
                  <a:lnTo>
                    <a:pt x="1242" y="170"/>
                  </a:lnTo>
                  <a:lnTo>
                    <a:pt x="1242" y="166"/>
                  </a:lnTo>
                  <a:lnTo>
                    <a:pt x="1252" y="152"/>
                  </a:lnTo>
                  <a:lnTo>
                    <a:pt x="1252" y="152"/>
                  </a:lnTo>
                  <a:lnTo>
                    <a:pt x="1258" y="142"/>
                  </a:lnTo>
                  <a:lnTo>
                    <a:pt x="1266" y="134"/>
                  </a:lnTo>
                  <a:lnTo>
                    <a:pt x="1274" y="130"/>
                  </a:lnTo>
                  <a:lnTo>
                    <a:pt x="1282" y="128"/>
                  </a:lnTo>
                  <a:lnTo>
                    <a:pt x="1290" y="126"/>
                  </a:lnTo>
                  <a:lnTo>
                    <a:pt x="1294" y="128"/>
                  </a:lnTo>
                  <a:lnTo>
                    <a:pt x="1298" y="130"/>
                  </a:lnTo>
                  <a:lnTo>
                    <a:pt x="1300" y="132"/>
                  </a:lnTo>
                  <a:lnTo>
                    <a:pt x="1300" y="132"/>
                  </a:lnTo>
                  <a:lnTo>
                    <a:pt x="1298" y="138"/>
                  </a:lnTo>
                  <a:lnTo>
                    <a:pt x="1294" y="150"/>
                  </a:lnTo>
                  <a:lnTo>
                    <a:pt x="1292" y="156"/>
                  </a:lnTo>
                  <a:lnTo>
                    <a:pt x="1292" y="162"/>
                  </a:lnTo>
                  <a:lnTo>
                    <a:pt x="1296" y="170"/>
                  </a:lnTo>
                  <a:lnTo>
                    <a:pt x="1300" y="178"/>
                  </a:lnTo>
                  <a:lnTo>
                    <a:pt x="1300" y="178"/>
                  </a:lnTo>
                  <a:lnTo>
                    <a:pt x="1308" y="184"/>
                  </a:lnTo>
                  <a:lnTo>
                    <a:pt x="1312" y="184"/>
                  </a:lnTo>
                  <a:lnTo>
                    <a:pt x="1316" y="182"/>
                  </a:lnTo>
                  <a:lnTo>
                    <a:pt x="1320" y="176"/>
                  </a:lnTo>
                  <a:lnTo>
                    <a:pt x="1324" y="164"/>
                  </a:lnTo>
                  <a:lnTo>
                    <a:pt x="1324" y="158"/>
                  </a:lnTo>
                  <a:lnTo>
                    <a:pt x="1324" y="158"/>
                  </a:lnTo>
                  <a:lnTo>
                    <a:pt x="1320" y="160"/>
                  </a:lnTo>
                  <a:lnTo>
                    <a:pt x="1316" y="160"/>
                  </a:lnTo>
                  <a:lnTo>
                    <a:pt x="1314" y="158"/>
                  </a:lnTo>
                  <a:lnTo>
                    <a:pt x="1310" y="156"/>
                  </a:lnTo>
                  <a:lnTo>
                    <a:pt x="1310" y="152"/>
                  </a:lnTo>
                  <a:lnTo>
                    <a:pt x="1310" y="144"/>
                  </a:lnTo>
                  <a:lnTo>
                    <a:pt x="1316" y="134"/>
                  </a:lnTo>
                  <a:lnTo>
                    <a:pt x="1316" y="134"/>
                  </a:lnTo>
                  <a:lnTo>
                    <a:pt x="1326" y="114"/>
                  </a:lnTo>
                  <a:lnTo>
                    <a:pt x="1328" y="104"/>
                  </a:lnTo>
                  <a:lnTo>
                    <a:pt x="1328" y="102"/>
                  </a:lnTo>
                  <a:lnTo>
                    <a:pt x="1326" y="100"/>
                  </a:lnTo>
                  <a:lnTo>
                    <a:pt x="1326" y="100"/>
                  </a:lnTo>
                  <a:lnTo>
                    <a:pt x="1328" y="96"/>
                  </a:lnTo>
                  <a:lnTo>
                    <a:pt x="1334" y="86"/>
                  </a:lnTo>
                  <a:lnTo>
                    <a:pt x="1340" y="80"/>
                  </a:lnTo>
                  <a:lnTo>
                    <a:pt x="1346" y="74"/>
                  </a:lnTo>
                  <a:lnTo>
                    <a:pt x="1356" y="70"/>
                  </a:lnTo>
                  <a:lnTo>
                    <a:pt x="1368" y="66"/>
                  </a:lnTo>
                  <a:lnTo>
                    <a:pt x="1368" y="66"/>
                  </a:lnTo>
                  <a:lnTo>
                    <a:pt x="1378" y="62"/>
                  </a:lnTo>
                  <a:lnTo>
                    <a:pt x="1386" y="60"/>
                  </a:lnTo>
                  <a:lnTo>
                    <a:pt x="1398" y="52"/>
                  </a:lnTo>
                  <a:lnTo>
                    <a:pt x="1406" y="48"/>
                  </a:lnTo>
                  <a:lnTo>
                    <a:pt x="1410" y="48"/>
                  </a:lnTo>
                  <a:lnTo>
                    <a:pt x="1414" y="50"/>
                  </a:lnTo>
                  <a:lnTo>
                    <a:pt x="1414" y="50"/>
                  </a:lnTo>
                  <a:lnTo>
                    <a:pt x="1418" y="54"/>
                  </a:lnTo>
                  <a:lnTo>
                    <a:pt x="1420" y="60"/>
                  </a:lnTo>
                  <a:lnTo>
                    <a:pt x="1420" y="68"/>
                  </a:lnTo>
                  <a:lnTo>
                    <a:pt x="1418" y="76"/>
                  </a:lnTo>
                  <a:lnTo>
                    <a:pt x="1410" y="92"/>
                  </a:lnTo>
                  <a:lnTo>
                    <a:pt x="1402" y="108"/>
                  </a:lnTo>
                  <a:lnTo>
                    <a:pt x="1402" y="108"/>
                  </a:lnTo>
                  <a:lnTo>
                    <a:pt x="1396" y="120"/>
                  </a:lnTo>
                  <a:lnTo>
                    <a:pt x="1394" y="132"/>
                  </a:lnTo>
                  <a:lnTo>
                    <a:pt x="1394" y="142"/>
                  </a:lnTo>
                  <a:lnTo>
                    <a:pt x="1398" y="152"/>
                  </a:lnTo>
                  <a:lnTo>
                    <a:pt x="1398" y="152"/>
                  </a:lnTo>
                  <a:lnTo>
                    <a:pt x="1398" y="160"/>
                  </a:lnTo>
                  <a:lnTo>
                    <a:pt x="1398" y="170"/>
                  </a:lnTo>
                  <a:lnTo>
                    <a:pt x="1392" y="190"/>
                  </a:lnTo>
                  <a:lnTo>
                    <a:pt x="1392" y="198"/>
                  </a:lnTo>
                  <a:lnTo>
                    <a:pt x="1392" y="200"/>
                  </a:lnTo>
                  <a:lnTo>
                    <a:pt x="1394" y="200"/>
                  </a:lnTo>
                  <a:lnTo>
                    <a:pt x="1398" y="196"/>
                  </a:lnTo>
                  <a:lnTo>
                    <a:pt x="1408" y="184"/>
                  </a:lnTo>
                  <a:lnTo>
                    <a:pt x="1408" y="184"/>
                  </a:lnTo>
                  <a:lnTo>
                    <a:pt x="1428" y="158"/>
                  </a:lnTo>
                  <a:lnTo>
                    <a:pt x="1436" y="142"/>
                  </a:lnTo>
                  <a:lnTo>
                    <a:pt x="1442" y="126"/>
                  </a:lnTo>
                  <a:lnTo>
                    <a:pt x="1446" y="106"/>
                  </a:lnTo>
                  <a:lnTo>
                    <a:pt x="1446" y="106"/>
                  </a:lnTo>
                  <a:lnTo>
                    <a:pt x="1454" y="80"/>
                  </a:lnTo>
                  <a:lnTo>
                    <a:pt x="1464" y="58"/>
                  </a:lnTo>
                  <a:lnTo>
                    <a:pt x="1470" y="50"/>
                  </a:lnTo>
                  <a:lnTo>
                    <a:pt x="1476" y="44"/>
                  </a:lnTo>
                  <a:lnTo>
                    <a:pt x="1482" y="38"/>
                  </a:lnTo>
                  <a:lnTo>
                    <a:pt x="1488" y="36"/>
                  </a:lnTo>
                  <a:lnTo>
                    <a:pt x="1488" y="36"/>
                  </a:lnTo>
                  <a:lnTo>
                    <a:pt x="1492" y="38"/>
                  </a:lnTo>
                  <a:lnTo>
                    <a:pt x="1496" y="40"/>
                  </a:lnTo>
                  <a:lnTo>
                    <a:pt x="1496" y="44"/>
                  </a:lnTo>
                  <a:lnTo>
                    <a:pt x="1496" y="50"/>
                  </a:lnTo>
                  <a:lnTo>
                    <a:pt x="1494" y="64"/>
                  </a:lnTo>
                  <a:lnTo>
                    <a:pt x="1490" y="72"/>
                  </a:lnTo>
                  <a:lnTo>
                    <a:pt x="1490" y="72"/>
                  </a:lnTo>
                  <a:lnTo>
                    <a:pt x="1488" y="78"/>
                  </a:lnTo>
                  <a:lnTo>
                    <a:pt x="1488" y="80"/>
                  </a:lnTo>
                  <a:lnTo>
                    <a:pt x="1488" y="82"/>
                  </a:lnTo>
                  <a:lnTo>
                    <a:pt x="1494" y="76"/>
                  </a:lnTo>
                  <a:lnTo>
                    <a:pt x="1502" y="62"/>
                  </a:lnTo>
                  <a:lnTo>
                    <a:pt x="1502" y="62"/>
                  </a:lnTo>
                  <a:lnTo>
                    <a:pt x="1506" y="50"/>
                  </a:lnTo>
                  <a:lnTo>
                    <a:pt x="1508" y="40"/>
                  </a:lnTo>
                  <a:lnTo>
                    <a:pt x="1508" y="24"/>
                  </a:lnTo>
                  <a:lnTo>
                    <a:pt x="1510" y="16"/>
                  </a:lnTo>
                  <a:lnTo>
                    <a:pt x="1512" y="12"/>
                  </a:lnTo>
                  <a:lnTo>
                    <a:pt x="1520" y="6"/>
                  </a:lnTo>
                  <a:lnTo>
                    <a:pt x="1530" y="2"/>
                  </a:lnTo>
                  <a:lnTo>
                    <a:pt x="1530" y="2"/>
                  </a:lnTo>
                  <a:lnTo>
                    <a:pt x="1542" y="0"/>
                  </a:lnTo>
                  <a:lnTo>
                    <a:pt x="1552" y="2"/>
                  </a:lnTo>
                  <a:lnTo>
                    <a:pt x="1560" y="6"/>
                  </a:lnTo>
                  <a:lnTo>
                    <a:pt x="1564" y="12"/>
                  </a:lnTo>
                  <a:lnTo>
                    <a:pt x="1566" y="18"/>
                  </a:lnTo>
                  <a:lnTo>
                    <a:pt x="1564" y="26"/>
                  </a:lnTo>
                  <a:lnTo>
                    <a:pt x="1562" y="34"/>
                  </a:lnTo>
                  <a:lnTo>
                    <a:pt x="1556" y="44"/>
                  </a:lnTo>
                  <a:lnTo>
                    <a:pt x="1556" y="44"/>
                  </a:lnTo>
                  <a:lnTo>
                    <a:pt x="1546" y="60"/>
                  </a:lnTo>
                  <a:lnTo>
                    <a:pt x="1536" y="74"/>
                  </a:lnTo>
                  <a:lnTo>
                    <a:pt x="1534" y="80"/>
                  </a:lnTo>
                  <a:lnTo>
                    <a:pt x="1534" y="86"/>
                  </a:lnTo>
                  <a:lnTo>
                    <a:pt x="1536" y="92"/>
                  </a:lnTo>
                  <a:lnTo>
                    <a:pt x="1540" y="98"/>
                  </a:lnTo>
                  <a:lnTo>
                    <a:pt x="1540" y="98"/>
                  </a:lnTo>
                  <a:lnTo>
                    <a:pt x="1544" y="106"/>
                  </a:lnTo>
                  <a:lnTo>
                    <a:pt x="1548" y="116"/>
                  </a:lnTo>
                  <a:lnTo>
                    <a:pt x="1554" y="138"/>
                  </a:lnTo>
                  <a:lnTo>
                    <a:pt x="1558" y="144"/>
                  </a:lnTo>
                  <a:lnTo>
                    <a:pt x="1560" y="148"/>
                  </a:lnTo>
                  <a:lnTo>
                    <a:pt x="1562" y="146"/>
                  </a:lnTo>
                  <a:lnTo>
                    <a:pt x="1564" y="144"/>
                  </a:lnTo>
                  <a:lnTo>
                    <a:pt x="1568" y="134"/>
                  </a:lnTo>
                  <a:lnTo>
                    <a:pt x="1568" y="134"/>
                  </a:lnTo>
                  <a:lnTo>
                    <a:pt x="1572" y="106"/>
                  </a:lnTo>
                  <a:lnTo>
                    <a:pt x="1576" y="86"/>
                  </a:lnTo>
                  <a:lnTo>
                    <a:pt x="1578" y="78"/>
                  </a:lnTo>
                  <a:lnTo>
                    <a:pt x="1582" y="70"/>
                  </a:lnTo>
                  <a:lnTo>
                    <a:pt x="1586" y="62"/>
                  </a:lnTo>
                  <a:lnTo>
                    <a:pt x="1594" y="54"/>
                  </a:lnTo>
                  <a:lnTo>
                    <a:pt x="1594" y="54"/>
                  </a:lnTo>
                  <a:lnTo>
                    <a:pt x="1602" y="48"/>
                  </a:lnTo>
                  <a:lnTo>
                    <a:pt x="1610" y="46"/>
                  </a:lnTo>
                  <a:lnTo>
                    <a:pt x="1618" y="44"/>
                  </a:lnTo>
                  <a:lnTo>
                    <a:pt x="1624" y="46"/>
                  </a:lnTo>
                  <a:lnTo>
                    <a:pt x="1630" y="48"/>
                  </a:lnTo>
                  <a:lnTo>
                    <a:pt x="1636" y="50"/>
                  </a:lnTo>
                  <a:lnTo>
                    <a:pt x="1640" y="56"/>
                  </a:lnTo>
                  <a:lnTo>
                    <a:pt x="1642" y="60"/>
                  </a:lnTo>
                  <a:lnTo>
                    <a:pt x="1642" y="60"/>
                  </a:lnTo>
                  <a:lnTo>
                    <a:pt x="1646" y="66"/>
                  </a:lnTo>
                  <a:lnTo>
                    <a:pt x="1654" y="72"/>
                  </a:lnTo>
                  <a:lnTo>
                    <a:pt x="1678" y="82"/>
                  </a:lnTo>
                  <a:lnTo>
                    <a:pt x="1688" y="88"/>
                  </a:lnTo>
                  <a:lnTo>
                    <a:pt x="1696" y="94"/>
                  </a:lnTo>
                  <a:lnTo>
                    <a:pt x="1698" y="98"/>
                  </a:lnTo>
                  <a:lnTo>
                    <a:pt x="1700" y="100"/>
                  </a:lnTo>
                  <a:lnTo>
                    <a:pt x="1698" y="104"/>
                  </a:lnTo>
                  <a:lnTo>
                    <a:pt x="1696" y="108"/>
                  </a:lnTo>
                  <a:lnTo>
                    <a:pt x="1696" y="108"/>
                  </a:lnTo>
                  <a:lnTo>
                    <a:pt x="1678" y="122"/>
                  </a:lnTo>
                  <a:lnTo>
                    <a:pt x="1658" y="136"/>
                  </a:lnTo>
                  <a:lnTo>
                    <a:pt x="1640" y="148"/>
                  </a:lnTo>
                  <a:lnTo>
                    <a:pt x="1624" y="154"/>
                  </a:lnTo>
                  <a:lnTo>
                    <a:pt x="1624" y="154"/>
                  </a:lnTo>
                  <a:lnTo>
                    <a:pt x="1614" y="154"/>
                  </a:lnTo>
                  <a:lnTo>
                    <a:pt x="1604" y="152"/>
                  </a:lnTo>
                  <a:lnTo>
                    <a:pt x="1600" y="152"/>
                  </a:lnTo>
                  <a:lnTo>
                    <a:pt x="1598" y="152"/>
                  </a:lnTo>
                  <a:lnTo>
                    <a:pt x="1598" y="156"/>
                  </a:lnTo>
                  <a:lnTo>
                    <a:pt x="1600" y="160"/>
                  </a:lnTo>
                  <a:lnTo>
                    <a:pt x="1600" y="160"/>
                  </a:lnTo>
                  <a:lnTo>
                    <a:pt x="1628" y="190"/>
                  </a:lnTo>
                  <a:lnTo>
                    <a:pt x="1646" y="212"/>
                  </a:lnTo>
                  <a:lnTo>
                    <a:pt x="1646" y="212"/>
                  </a:lnTo>
                  <a:lnTo>
                    <a:pt x="1624" y="204"/>
                  </a:lnTo>
                  <a:lnTo>
                    <a:pt x="1596" y="194"/>
                  </a:lnTo>
                  <a:lnTo>
                    <a:pt x="1596" y="194"/>
                  </a:lnTo>
                  <a:lnTo>
                    <a:pt x="1572" y="178"/>
                  </a:lnTo>
                  <a:lnTo>
                    <a:pt x="1558" y="168"/>
                  </a:lnTo>
                  <a:lnTo>
                    <a:pt x="1548" y="164"/>
                  </a:lnTo>
                  <a:lnTo>
                    <a:pt x="1548" y="164"/>
                  </a:lnTo>
                  <a:lnTo>
                    <a:pt x="1528" y="158"/>
                  </a:lnTo>
                  <a:lnTo>
                    <a:pt x="1516" y="158"/>
                  </a:lnTo>
                  <a:lnTo>
                    <a:pt x="1510" y="160"/>
                  </a:lnTo>
                  <a:lnTo>
                    <a:pt x="1504" y="162"/>
                  </a:lnTo>
                  <a:lnTo>
                    <a:pt x="1504" y="162"/>
                  </a:lnTo>
                  <a:lnTo>
                    <a:pt x="1494" y="172"/>
                  </a:lnTo>
                  <a:lnTo>
                    <a:pt x="1480" y="188"/>
                  </a:lnTo>
                  <a:lnTo>
                    <a:pt x="1468" y="206"/>
                  </a:lnTo>
                  <a:lnTo>
                    <a:pt x="1458" y="222"/>
                  </a:lnTo>
                  <a:lnTo>
                    <a:pt x="1458" y="222"/>
                  </a:lnTo>
                  <a:lnTo>
                    <a:pt x="1444" y="252"/>
                  </a:lnTo>
                  <a:lnTo>
                    <a:pt x="1438" y="264"/>
                  </a:lnTo>
                  <a:lnTo>
                    <a:pt x="1436" y="274"/>
                  </a:lnTo>
                  <a:lnTo>
                    <a:pt x="1436" y="274"/>
                  </a:lnTo>
                  <a:lnTo>
                    <a:pt x="1434" y="286"/>
                  </a:lnTo>
                  <a:lnTo>
                    <a:pt x="1432" y="300"/>
                  </a:lnTo>
                  <a:lnTo>
                    <a:pt x="1426" y="330"/>
                  </a:lnTo>
                  <a:lnTo>
                    <a:pt x="1426" y="330"/>
                  </a:lnTo>
                  <a:lnTo>
                    <a:pt x="1418" y="360"/>
                  </a:lnTo>
                  <a:lnTo>
                    <a:pt x="1414" y="374"/>
                  </a:lnTo>
                  <a:lnTo>
                    <a:pt x="1410" y="380"/>
                  </a:lnTo>
                  <a:lnTo>
                    <a:pt x="1408" y="384"/>
                  </a:lnTo>
                  <a:lnTo>
                    <a:pt x="1408" y="384"/>
                  </a:lnTo>
                  <a:lnTo>
                    <a:pt x="1400" y="388"/>
                  </a:lnTo>
                  <a:lnTo>
                    <a:pt x="1394" y="388"/>
                  </a:lnTo>
                  <a:lnTo>
                    <a:pt x="1388" y="386"/>
                  </a:lnTo>
                  <a:lnTo>
                    <a:pt x="1380" y="382"/>
                  </a:lnTo>
                  <a:lnTo>
                    <a:pt x="1380" y="382"/>
                  </a:lnTo>
                  <a:lnTo>
                    <a:pt x="1366" y="378"/>
                  </a:lnTo>
                  <a:lnTo>
                    <a:pt x="1350" y="378"/>
                  </a:lnTo>
                  <a:lnTo>
                    <a:pt x="1334" y="378"/>
                  </a:lnTo>
                  <a:lnTo>
                    <a:pt x="1322" y="378"/>
                  </a:lnTo>
                  <a:lnTo>
                    <a:pt x="1322" y="378"/>
                  </a:lnTo>
                  <a:lnTo>
                    <a:pt x="1310" y="380"/>
                  </a:lnTo>
                  <a:lnTo>
                    <a:pt x="1294" y="380"/>
                  </a:lnTo>
                  <a:lnTo>
                    <a:pt x="1274" y="378"/>
                  </a:lnTo>
                  <a:lnTo>
                    <a:pt x="1274" y="378"/>
                  </a:lnTo>
                  <a:lnTo>
                    <a:pt x="1264" y="340"/>
                  </a:lnTo>
                  <a:lnTo>
                    <a:pt x="1258" y="310"/>
                  </a:lnTo>
                  <a:lnTo>
                    <a:pt x="1252" y="296"/>
                  </a:lnTo>
                  <a:lnTo>
                    <a:pt x="1252" y="296"/>
                  </a:lnTo>
                  <a:lnTo>
                    <a:pt x="1250" y="288"/>
                  </a:lnTo>
                  <a:lnTo>
                    <a:pt x="1244" y="278"/>
                  </a:lnTo>
                  <a:lnTo>
                    <a:pt x="1238" y="260"/>
                  </a:lnTo>
                  <a:lnTo>
                    <a:pt x="1238" y="260"/>
                  </a:lnTo>
                  <a:lnTo>
                    <a:pt x="1236" y="254"/>
                  </a:lnTo>
                  <a:lnTo>
                    <a:pt x="1230" y="248"/>
                  </a:lnTo>
                  <a:lnTo>
                    <a:pt x="1228" y="248"/>
                  </a:lnTo>
                  <a:lnTo>
                    <a:pt x="1224" y="248"/>
                  </a:lnTo>
                  <a:lnTo>
                    <a:pt x="1220" y="250"/>
                  </a:lnTo>
                  <a:lnTo>
                    <a:pt x="1216" y="256"/>
                  </a:lnTo>
                  <a:lnTo>
                    <a:pt x="1216" y="256"/>
                  </a:lnTo>
                  <a:lnTo>
                    <a:pt x="1188" y="296"/>
                  </a:lnTo>
                  <a:lnTo>
                    <a:pt x="1168" y="330"/>
                  </a:lnTo>
                  <a:lnTo>
                    <a:pt x="1168" y="330"/>
                  </a:lnTo>
                  <a:lnTo>
                    <a:pt x="1154" y="348"/>
                  </a:lnTo>
                  <a:lnTo>
                    <a:pt x="1148" y="356"/>
                  </a:lnTo>
                  <a:lnTo>
                    <a:pt x="1148" y="360"/>
                  </a:lnTo>
                  <a:lnTo>
                    <a:pt x="1148" y="362"/>
                  </a:lnTo>
                  <a:lnTo>
                    <a:pt x="1148" y="362"/>
                  </a:lnTo>
                  <a:lnTo>
                    <a:pt x="1156" y="368"/>
                  </a:lnTo>
                  <a:lnTo>
                    <a:pt x="1162" y="370"/>
                  </a:lnTo>
                  <a:lnTo>
                    <a:pt x="1170" y="372"/>
                  </a:lnTo>
                  <a:lnTo>
                    <a:pt x="1170" y="372"/>
                  </a:lnTo>
                  <a:lnTo>
                    <a:pt x="1178" y="376"/>
                  </a:lnTo>
                  <a:lnTo>
                    <a:pt x="1186" y="382"/>
                  </a:lnTo>
                  <a:lnTo>
                    <a:pt x="1188" y="386"/>
                  </a:lnTo>
                  <a:lnTo>
                    <a:pt x="1188" y="388"/>
                  </a:lnTo>
                  <a:lnTo>
                    <a:pt x="1184" y="392"/>
                  </a:lnTo>
                  <a:lnTo>
                    <a:pt x="1180" y="394"/>
                  </a:lnTo>
                  <a:lnTo>
                    <a:pt x="1180" y="394"/>
                  </a:lnTo>
                  <a:lnTo>
                    <a:pt x="1160" y="398"/>
                  </a:lnTo>
                  <a:lnTo>
                    <a:pt x="1132" y="404"/>
                  </a:lnTo>
                  <a:lnTo>
                    <a:pt x="1092" y="410"/>
                  </a:lnTo>
                  <a:lnTo>
                    <a:pt x="1092" y="410"/>
                  </a:lnTo>
                  <a:lnTo>
                    <a:pt x="1062" y="410"/>
                  </a:lnTo>
                  <a:lnTo>
                    <a:pt x="1046" y="410"/>
                  </a:lnTo>
                  <a:lnTo>
                    <a:pt x="1038" y="412"/>
                  </a:lnTo>
                  <a:lnTo>
                    <a:pt x="1038" y="412"/>
                  </a:lnTo>
                  <a:lnTo>
                    <a:pt x="1028" y="416"/>
                  </a:lnTo>
                  <a:lnTo>
                    <a:pt x="1024" y="418"/>
                  </a:lnTo>
                  <a:lnTo>
                    <a:pt x="1024" y="422"/>
                  </a:lnTo>
                  <a:lnTo>
                    <a:pt x="1024" y="422"/>
                  </a:lnTo>
                  <a:lnTo>
                    <a:pt x="1026" y="428"/>
                  </a:lnTo>
                  <a:lnTo>
                    <a:pt x="1028" y="434"/>
                  </a:lnTo>
                  <a:lnTo>
                    <a:pt x="1030" y="442"/>
                  </a:lnTo>
                  <a:lnTo>
                    <a:pt x="1032" y="448"/>
                  </a:lnTo>
                  <a:lnTo>
                    <a:pt x="1032" y="448"/>
                  </a:lnTo>
                  <a:lnTo>
                    <a:pt x="1030" y="456"/>
                  </a:lnTo>
                  <a:lnTo>
                    <a:pt x="1028" y="466"/>
                  </a:lnTo>
                  <a:lnTo>
                    <a:pt x="1024" y="472"/>
                  </a:lnTo>
                  <a:lnTo>
                    <a:pt x="1022" y="474"/>
                  </a:lnTo>
                  <a:lnTo>
                    <a:pt x="1020" y="472"/>
                  </a:lnTo>
                  <a:lnTo>
                    <a:pt x="1020" y="472"/>
                  </a:lnTo>
                  <a:lnTo>
                    <a:pt x="1006" y="462"/>
                  </a:lnTo>
                  <a:lnTo>
                    <a:pt x="1006" y="462"/>
                  </a:lnTo>
                  <a:lnTo>
                    <a:pt x="958" y="522"/>
                  </a:lnTo>
                  <a:lnTo>
                    <a:pt x="958" y="522"/>
                  </a:lnTo>
                  <a:lnTo>
                    <a:pt x="934" y="554"/>
                  </a:lnTo>
                  <a:lnTo>
                    <a:pt x="926" y="566"/>
                  </a:lnTo>
                  <a:lnTo>
                    <a:pt x="920" y="580"/>
                  </a:lnTo>
                  <a:lnTo>
                    <a:pt x="920" y="580"/>
                  </a:lnTo>
                  <a:lnTo>
                    <a:pt x="918" y="590"/>
                  </a:lnTo>
                  <a:lnTo>
                    <a:pt x="918" y="600"/>
                  </a:lnTo>
                  <a:lnTo>
                    <a:pt x="918" y="608"/>
                  </a:lnTo>
                  <a:lnTo>
                    <a:pt x="924" y="616"/>
                  </a:lnTo>
                  <a:lnTo>
                    <a:pt x="924" y="616"/>
                  </a:lnTo>
                  <a:lnTo>
                    <a:pt x="926" y="616"/>
                  </a:lnTo>
                  <a:lnTo>
                    <a:pt x="928" y="618"/>
                  </a:lnTo>
                  <a:lnTo>
                    <a:pt x="928" y="622"/>
                  </a:lnTo>
                  <a:lnTo>
                    <a:pt x="928" y="626"/>
                  </a:lnTo>
                  <a:lnTo>
                    <a:pt x="922" y="632"/>
                  </a:lnTo>
                  <a:lnTo>
                    <a:pt x="916" y="638"/>
                  </a:lnTo>
                  <a:lnTo>
                    <a:pt x="916" y="638"/>
                  </a:lnTo>
                  <a:lnTo>
                    <a:pt x="898" y="654"/>
                  </a:lnTo>
                  <a:lnTo>
                    <a:pt x="886" y="668"/>
                  </a:lnTo>
                  <a:lnTo>
                    <a:pt x="876" y="680"/>
                  </a:lnTo>
                  <a:lnTo>
                    <a:pt x="870" y="692"/>
                  </a:lnTo>
                  <a:lnTo>
                    <a:pt x="870" y="692"/>
                  </a:lnTo>
                  <a:lnTo>
                    <a:pt x="866" y="704"/>
                  </a:lnTo>
                  <a:lnTo>
                    <a:pt x="862" y="716"/>
                  </a:lnTo>
                  <a:lnTo>
                    <a:pt x="856" y="726"/>
                  </a:lnTo>
                  <a:lnTo>
                    <a:pt x="852" y="730"/>
                  </a:lnTo>
                  <a:lnTo>
                    <a:pt x="846" y="732"/>
                  </a:lnTo>
                  <a:lnTo>
                    <a:pt x="846" y="732"/>
                  </a:lnTo>
                  <a:lnTo>
                    <a:pt x="834" y="734"/>
                  </a:lnTo>
                  <a:lnTo>
                    <a:pt x="822" y="732"/>
                  </a:lnTo>
                  <a:lnTo>
                    <a:pt x="812" y="732"/>
                  </a:lnTo>
                  <a:lnTo>
                    <a:pt x="808" y="734"/>
                  </a:lnTo>
                  <a:lnTo>
                    <a:pt x="806" y="736"/>
                  </a:lnTo>
                  <a:lnTo>
                    <a:pt x="806" y="736"/>
                  </a:lnTo>
                  <a:lnTo>
                    <a:pt x="802" y="742"/>
                  </a:lnTo>
                  <a:lnTo>
                    <a:pt x="798" y="750"/>
                  </a:lnTo>
                  <a:lnTo>
                    <a:pt x="794" y="760"/>
                  </a:lnTo>
                  <a:lnTo>
                    <a:pt x="794" y="770"/>
                  </a:lnTo>
                  <a:lnTo>
                    <a:pt x="794" y="770"/>
                  </a:lnTo>
                  <a:lnTo>
                    <a:pt x="796" y="818"/>
                  </a:lnTo>
                  <a:lnTo>
                    <a:pt x="798" y="844"/>
                  </a:lnTo>
                  <a:lnTo>
                    <a:pt x="798" y="858"/>
                  </a:lnTo>
                  <a:lnTo>
                    <a:pt x="798" y="858"/>
                  </a:lnTo>
                  <a:lnTo>
                    <a:pt x="784" y="880"/>
                  </a:lnTo>
                  <a:lnTo>
                    <a:pt x="752" y="920"/>
                  </a:lnTo>
                  <a:lnTo>
                    <a:pt x="708" y="978"/>
                  </a:lnTo>
                  <a:lnTo>
                    <a:pt x="708" y="978"/>
                  </a:lnTo>
                  <a:lnTo>
                    <a:pt x="716" y="986"/>
                  </a:lnTo>
                  <a:lnTo>
                    <a:pt x="730" y="1002"/>
                  </a:lnTo>
                  <a:lnTo>
                    <a:pt x="744" y="1020"/>
                  </a:lnTo>
                  <a:lnTo>
                    <a:pt x="748" y="1028"/>
                  </a:lnTo>
                  <a:lnTo>
                    <a:pt x="748" y="1034"/>
                  </a:lnTo>
                  <a:lnTo>
                    <a:pt x="748" y="1034"/>
                  </a:lnTo>
                  <a:lnTo>
                    <a:pt x="740" y="1052"/>
                  </a:lnTo>
                  <a:lnTo>
                    <a:pt x="734" y="1060"/>
                  </a:lnTo>
                  <a:lnTo>
                    <a:pt x="730" y="1062"/>
                  </a:lnTo>
                  <a:lnTo>
                    <a:pt x="724" y="1064"/>
                  </a:lnTo>
                  <a:lnTo>
                    <a:pt x="724" y="1064"/>
                  </a:lnTo>
                  <a:lnTo>
                    <a:pt x="706" y="1064"/>
                  </a:lnTo>
                  <a:lnTo>
                    <a:pt x="682" y="1062"/>
                  </a:lnTo>
                  <a:lnTo>
                    <a:pt x="654" y="1060"/>
                  </a:lnTo>
                  <a:lnTo>
                    <a:pt x="574" y="1176"/>
                  </a:lnTo>
                  <a:lnTo>
                    <a:pt x="574" y="1176"/>
                  </a:lnTo>
                  <a:lnTo>
                    <a:pt x="570" y="1182"/>
                  </a:lnTo>
                  <a:lnTo>
                    <a:pt x="568" y="1188"/>
                  </a:lnTo>
                  <a:lnTo>
                    <a:pt x="568" y="1188"/>
                  </a:lnTo>
                  <a:lnTo>
                    <a:pt x="568" y="1190"/>
                  </a:lnTo>
                  <a:lnTo>
                    <a:pt x="568" y="1190"/>
                  </a:lnTo>
                  <a:lnTo>
                    <a:pt x="590" y="1192"/>
                  </a:lnTo>
                  <a:lnTo>
                    <a:pt x="590" y="1192"/>
                  </a:lnTo>
                  <a:lnTo>
                    <a:pt x="590" y="1202"/>
                  </a:lnTo>
                  <a:lnTo>
                    <a:pt x="590" y="1212"/>
                  </a:lnTo>
                  <a:lnTo>
                    <a:pt x="584" y="1222"/>
                  </a:lnTo>
                  <a:lnTo>
                    <a:pt x="584" y="1222"/>
                  </a:lnTo>
                  <a:lnTo>
                    <a:pt x="576" y="1238"/>
                  </a:lnTo>
                  <a:lnTo>
                    <a:pt x="568" y="1256"/>
                  </a:lnTo>
                  <a:lnTo>
                    <a:pt x="562" y="1276"/>
                  </a:lnTo>
                  <a:lnTo>
                    <a:pt x="560" y="1290"/>
                  </a:lnTo>
                  <a:lnTo>
                    <a:pt x="560" y="1290"/>
                  </a:lnTo>
                  <a:lnTo>
                    <a:pt x="560" y="1328"/>
                  </a:lnTo>
                  <a:lnTo>
                    <a:pt x="564" y="1370"/>
                  </a:lnTo>
                  <a:lnTo>
                    <a:pt x="564" y="1370"/>
                  </a:lnTo>
                  <a:lnTo>
                    <a:pt x="570" y="1418"/>
                  </a:lnTo>
                  <a:lnTo>
                    <a:pt x="572" y="1448"/>
                  </a:lnTo>
                  <a:lnTo>
                    <a:pt x="574" y="1468"/>
                  </a:lnTo>
                  <a:lnTo>
                    <a:pt x="574" y="1468"/>
                  </a:lnTo>
                  <a:lnTo>
                    <a:pt x="570" y="1484"/>
                  </a:lnTo>
                  <a:lnTo>
                    <a:pt x="566" y="1500"/>
                  </a:lnTo>
                  <a:lnTo>
                    <a:pt x="556" y="1532"/>
                  </a:lnTo>
                  <a:lnTo>
                    <a:pt x="556" y="1532"/>
                  </a:lnTo>
                  <a:lnTo>
                    <a:pt x="552" y="1554"/>
                  </a:lnTo>
                  <a:lnTo>
                    <a:pt x="550" y="1568"/>
                  </a:lnTo>
                  <a:lnTo>
                    <a:pt x="550" y="1586"/>
                  </a:lnTo>
                  <a:lnTo>
                    <a:pt x="550" y="1586"/>
                  </a:lnTo>
                  <a:lnTo>
                    <a:pt x="554" y="1610"/>
                  </a:lnTo>
                  <a:lnTo>
                    <a:pt x="558" y="1630"/>
                  </a:lnTo>
                  <a:lnTo>
                    <a:pt x="560" y="1648"/>
                  </a:lnTo>
                  <a:lnTo>
                    <a:pt x="558" y="1656"/>
                  </a:lnTo>
                  <a:lnTo>
                    <a:pt x="556" y="1662"/>
                  </a:lnTo>
                  <a:lnTo>
                    <a:pt x="556" y="1662"/>
                  </a:lnTo>
                  <a:lnTo>
                    <a:pt x="548" y="1676"/>
                  </a:lnTo>
                  <a:lnTo>
                    <a:pt x="538" y="1692"/>
                  </a:lnTo>
                  <a:lnTo>
                    <a:pt x="526" y="1706"/>
                  </a:lnTo>
                  <a:lnTo>
                    <a:pt x="518" y="1712"/>
                  </a:lnTo>
                  <a:lnTo>
                    <a:pt x="512" y="1716"/>
                  </a:lnTo>
                  <a:lnTo>
                    <a:pt x="512" y="1716"/>
                  </a:lnTo>
                  <a:lnTo>
                    <a:pt x="502" y="1720"/>
                  </a:lnTo>
                  <a:lnTo>
                    <a:pt x="492" y="1726"/>
                  </a:lnTo>
                  <a:lnTo>
                    <a:pt x="486" y="1734"/>
                  </a:lnTo>
                  <a:lnTo>
                    <a:pt x="480" y="1742"/>
                  </a:lnTo>
                  <a:lnTo>
                    <a:pt x="480" y="1742"/>
                  </a:lnTo>
                  <a:lnTo>
                    <a:pt x="474" y="1752"/>
                  </a:lnTo>
                  <a:lnTo>
                    <a:pt x="470" y="1760"/>
                  </a:lnTo>
                  <a:lnTo>
                    <a:pt x="468" y="1770"/>
                  </a:lnTo>
                  <a:lnTo>
                    <a:pt x="468" y="1780"/>
                  </a:lnTo>
                  <a:lnTo>
                    <a:pt x="468" y="1780"/>
                  </a:lnTo>
                  <a:lnTo>
                    <a:pt x="468" y="1802"/>
                  </a:lnTo>
                  <a:lnTo>
                    <a:pt x="468" y="1818"/>
                  </a:lnTo>
                  <a:lnTo>
                    <a:pt x="468" y="1818"/>
                  </a:lnTo>
                  <a:lnTo>
                    <a:pt x="468" y="1842"/>
                  </a:lnTo>
                  <a:lnTo>
                    <a:pt x="466" y="1858"/>
                  </a:lnTo>
                  <a:lnTo>
                    <a:pt x="454" y="1854"/>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68" name="Freeform 35"/>
            <p:cNvSpPr>
              <a:spLocks/>
            </p:cNvSpPr>
            <p:nvPr/>
          </p:nvSpPr>
          <p:spPr bwMode="auto">
            <a:xfrm>
              <a:off x="3857472" y="3534300"/>
              <a:ext cx="172242" cy="326192"/>
            </a:xfrm>
            <a:custGeom>
              <a:avLst/>
              <a:gdLst/>
              <a:ahLst/>
              <a:cxnLst>
                <a:cxn ang="0">
                  <a:pos x="92" y="428"/>
                </a:cxn>
                <a:cxn ang="0">
                  <a:pos x="88" y="408"/>
                </a:cxn>
                <a:cxn ang="0">
                  <a:pos x="90" y="372"/>
                </a:cxn>
                <a:cxn ang="0">
                  <a:pos x="94" y="360"/>
                </a:cxn>
                <a:cxn ang="0">
                  <a:pos x="110" y="326"/>
                </a:cxn>
                <a:cxn ang="0">
                  <a:pos x="128" y="302"/>
                </a:cxn>
                <a:cxn ang="0">
                  <a:pos x="140" y="290"/>
                </a:cxn>
                <a:cxn ang="0">
                  <a:pos x="154" y="274"/>
                </a:cxn>
                <a:cxn ang="0">
                  <a:pos x="164" y="252"/>
                </a:cxn>
                <a:cxn ang="0">
                  <a:pos x="174" y="238"/>
                </a:cxn>
                <a:cxn ang="0">
                  <a:pos x="190" y="224"/>
                </a:cxn>
                <a:cxn ang="0">
                  <a:pos x="204" y="210"/>
                </a:cxn>
                <a:cxn ang="0">
                  <a:pos x="210" y="200"/>
                </a:cxn>
                <a:cxn ang="0">
                  <a:pos x="216" y="188"/>
                </a:cxn>
                <a:cxn ang="0">
                  <a:pos x="212" y="182"/>
                </a:cxn>
                <a:cxn ang="0">
                  <a:pos x="204" y="172"/>
                </a:cxn>
                <a:cxn ang="0">
                  <a:pos x="196" y="156"/>
                </a:cxn>
                <a:cxn ang="0">
                  <a:pos x="190" y="126"/>
                </a:cxn>
                <a:cxn ang="0">
                  <a:pos x="188" y="100"/>
                </a:cxn>
                <a:cxn ang="0">
                  <a:pos x="192" y="82"/>
                </a:cxn>
                <a:cxn ang="0">
                  <a:pos x="196" y="74"/>
                </a:cxn>
                <a:cxn ang="0">
                  <a:pos x="196" y="78"/>
                </a:cxn>
                <a:cxn ang="0">
                  <a:pos x="208" y="52"/>
                </a:cxn>
                <a:cxn ang="0">
                  <a:pos x="218" y="30"/>
                </a:cxn>
                <a:cxn ang="0">
                  <a:pos x="226" y="12"/>
                </a:cxn>
                <a:cxn ang="0">
                  <a:pos x="222" y="6"/>
                </a:cxn>
                <a:cxn ang="0">
                  <a:pos x="218" y="4"/>
                </a:cxn>
                <a:cxn ang="0">
                  <a:pos x="202" y="0"/>
                </a:cxn>
                <a:cxn ang="0">
                  <a:pos x="180" y="6"/>
                </a:cxn>
                <a:cxn ang="0">
                  <a:pos x="162" y="18"/>
                </a:cxn>
                <a:cxn ang="0">
                  <a:pos x="138" y="32"/>
                </a:cxn>
                <a:cxn ang="0">
                  <a:pos x="82" y="52"/>
                </a:cxn>
                <a:cxn ang="0">
                  <a:pos x="80" y="66"/>
                </a:cxn>
                <a:cxn ang="0">
                  <a:pos x="66" y="96"/>
                </a:cxn>
                <a:cxn ang="0">
                  <a:pos x="60" y="104"/>
                </a:cxn>
                <a:cxn ang="0">
                  <a:pos x="32" y="132"/>
                </a:cxn>
                <a:cxn ang="0">
                  <a:pos x="6" y="156"/>
                </a:cxn>
                <a:cxn ang="0">
                  <a:pos x="4" y="164"/>
                </a:cxn>
                <a:cxn ang="0">
                  <a:pos x="4" y="180"/>
                </a:cxn>
                <a:cxn ang="0">
                  <a:pos x="14" y="216"/>
                </a:cxn>
                <a:cxn ang="0">
                  <a:pos x="14" y="232"/>
                </a:cxn>
                <a:cxn ang="0">
                  <a:pos x="14" y="240"/>
                </a:cxn>
                <a:cxn ang="0">
                  <a:pos x="4" y="260"/>
                </a:cxn>
                <a:cxn ang="0">
                  <a:pos x="0" y="272"/>
                </a:cxn>
                <a:cxn ang="0">
                  <a:pos x="4" y="284"/>
                </a:cxn>
                <a:cxn ang="0">
                  <a:pos x="8" y="290"/>
                </a:cxn>
                <a:cxn ang="0">
                  <a:pos x="26" y="304"/>
                </a:cxn>
                <a:cxn ang="0">
                  <a:pos x="34" y="316"/>
                </a:cxn>
                <a:cxn ang="0">
                  <a:pos x="36" y="332"/>
                </a:cxn>
                <a:cxn ang="0">
                  <a:pos x="34" y="354"/>
                </a:cxn>
                <a:cxn ang="0">
                  <a:pos x="38" y="402"/>
                </a:cxn>
              </a:cxnLst>
              <a:rect l="0" t="0" r="r" b="b"/>
              <a:pathLst>
                <a:path w="226" h="428">
                  <a:moveTo>
                    <a:pt x="92" y="428"/>
                  </a:moveTo>
                  <a:lnTo>
                    <a:pt x="92" y="428"/>
                  </a:lnTo>
                  <a:lnTo>
                    <a:pt x="90" y="420"/>
                  </a:lnTo>
                  <a:lnTo>
                    <a:pt x="88" y="408"/>
                  </a:lnTo>
                  <a:lnTo>
                    <a:pt x="88" y="392"/>
                  </a:lnTo>
                  <a:lnTo>
                    <a:pt x="90" y="372"/>
                  </a:lnTo>
                  <a:lnTo>
                    <a:pt x="90" y="372"/>
                  </a:lnTo>
                  <a:lnTo>
                    <a:pt x="94" y="360"/>
                  </a:lnTo>
                  <a:lnTo>
                    <a:pt x="98" y="348"/>
                  </a:lnTo>
                  <a:lnTo>
                    <a:pt x="110" y="326"/>
                  </a:lnTo>
                  <a:lnTo>
                    <a:pt x="122" y="308"/>
                  </a:lnTo>
                  <a:lnTo>
                    <a:pt x="128" y="302"/>
                  </a:lnTo>
                  <a:lnTo>
                    <a:pt x="128" y="302"/>
                  </a:lnTo>
                  <a:lnTo>
                    <a:pt x="140" y="290"/>
                  </a:lnTo>
                  <a:lnTo>
                    <a:pt x="154" y="274"/>
                  </a:lnTo>
                  <a:lnTo>
                    <a:pt x="154" y="274"/>
                  </a:lnTo>
                  <a:lnTo>
                    <a:pt x="160" y="262"/>
                  </a:lnTo>
                  <a:lnTo>
                    <a:pt x="164" y="252"/>
                  </a:lnTo>
                  <a:lnTo>
                    <a:pt x="174" y="238"/>
                  </a:lnTo>
                  <a:lnTo>
                    <a:pt x="174" y="238"/>
                  </a:lnTo>
                  <a:lnTo>
                    <a:pt x="184" y="228"/>
                  </a:lnTo>
                  <a:lnTo>
                    <a:pt x="190" y="224"/>
                  </a:lnTo>
                  <a:lnTo>
                    <a:pt x="196" y="218"/>
                  </a:lnTo>
                  <a:lnTo>
                    <a:pt x="204" y="210"/>
                  </a:lnTo>
                  <a:lnTo>
                    <a:pt x="204" y="210"/>
                  </a:lnTo>
                  <a:lnTo>
                    <a:pt x="210" y="200"/>
                  </a:lnTo>
                  <a:lnTo>
                    <a:pt x="214" y="194"/>
                  </a:lnTo>
                  <a:lnTo>
                    <a:pt x="216" y="188"/>
                  </a:lnTo>
                  <a:lnTo>
                    <a:pt x="212" y="182"/>
                  </a:lnTo>
                  <a:lnTo>
                    <a:pt x="212" y="182"/>
                  </a:lnTo>
                  <a:lnTo>
                    <a:pt x="208" y="176"/>
                  </a:lnTo>
                  <a:lnTo>
                    <a:pt x="204" y="172"/>
                  </a:lnTo>
                  <a:lnTo>
                    <a:pt x="200" y="168"/>
                  </a:lnTo>
                  <a:lnTo>
                    <a:pt x="196" y="156"/>
                  </a:lnTo>
                  <a:lnTo>
                    <a:pt x="196" y="156"/>
                  </a:lnTo>
                  <a:lnTo>
                    <a:pt x="190" y="126"/>
                  </a:lnTo>
                  <a:lnTo>
                    <a:pt x="188" y="100"/>
                  </a:lnTo>
                  <a:lnTo>
                    <a:pt x="188" y="100"/>
                  </a:lnTo>
                  <a:lnTo>
                    <a:pt x="190" y="90"/>
                  </a:lnTo>
                  <a:lnTo>
                    <a:pt x="192" y="82"/>
                  </a:lnTo>
                  <a:lnTo>
                    <a:pt x="196" y="74"/>
                  </a:lnTo>
                  <a:lnTo>
                    <a:pt x="196" y="74"/>
                  </a:lnTo>
                  <a:lnTo>
                    <a:pt x="196" y="76"/>
                  </a:lnTo>
                  <a:lnTo>
                    <a:pt x="196" y="78"/>
                  </a:lnTo>
                  <a:lnTo>
                    <a:pt x="200" y="72"/>
                  </a:lnTo>
                  <a:lnTo>
                    <a:pt x="208" y="52"/>
                  </a:lnTo>
                  <a:lnTo>
                    <a:pt x="208" y="52"/>
                  </a:lnTo>
                  <a:lnTo>
                    <a:pt x="218" y="30"/>
                  </a:lnTo>
                  <a:lnTo>
                    <a:pt x="224" y="16"/>
                  </a:lnTo>
                  <a:lnTo>
                    <a:pt x="226" y="12"/>
                  </a:lnTo>
                  <a:lnTo>
                    <a:pt x="226" y="10"/>
                  </a:lnTo>
                  <a:lnTo>
                    <a:pt x="222" y="6"/>
                  </a:lnTo>
                  <a:lnTo>
                    <a:pt x="218" y="4"/>
                  </a:lnTo>
                  <a:lnTo>
                    <a:pt x="218" y="4"/>
                  </a:lnTo>
                  <a:lnTo>
                    <a:pt x="206" y="0"/>
                  </a:lnTo>
                  <a:lnTo>
                    <a:pt x="202" y="0"/>
                  </a:lnTo>
                  <a:lnTo>
                    <a:pt x="194" y="0"/>
                  </a:lnTo>
                  <a:lnTo>
                    <a:pt x="180" y="6"/>
                  </a:lnTo>
                  <a:lnTo>
                    <a:pt x="162" y="18"/>
                  </a:lnTo>
                  <a:lnTo>
                    <a:pt x="162" y="18"/>
                  </a:lnTo>
                  <a:lnTo>
                    <a:pt x="150" y="26"/>
                  </a:lnTo>
                  <a:lnTo>
                    <a:pt x="138" y="32"/>
                  </a:lnTo>
                  <a:lnTo>
                    <a:pt x="110" y="44"/>
                  </a:lnTo>
                  <a:lnTo>
                    <a:pt x="82" y="52"/>
                  </a:lnTo>
                  <a:lnTo>
                    <a:pt x="82" y="52"/>
                  </a:lnTo>
                  <a:lnTo>
                    <a:pt x="80" y="66"/>
                  </a:lnTo>
                  <a:lnTo>
                    <a:pt x="74" y="80"/>
                  </a:lnTo>
                  <a:lnTo>
                    <a:pt x="66" y="96"/>
                  </a:lnTo>
                  <a:lnTo>
                    <a:pt x="66" y="96"/>
                  </a:lnTo>
                  <a:lnTo>
                    <a:pt x="60" y="104"/>
                  </a:lnTo>
                  <a:lnTo>
                    <a:pt x="52" y="114"/>
                  </a:lnTo>
                  <a:lnTo>
                    <a:pt x="32" y="132"/>
                  </a:lnTo>
                  <a:lnTo>
                    <a:pt x="14" y="148"/>
                  </a:lnTo>
                  <a:lnTo>
                    <a:pt x="6" y="156"/>
                  </a:lnTo>
                  <a:lnTo>
                    <a:pt x="4" y="164"/>
                  </a:lnTo>
                  <a:lnTo>
                    <a:pt x="4" y="164"/>
                  </a:lnTo>
                  <a:lnTo>
                    <a:pt x="4" y="172"/>
                  </a:lnTo>
                  <a:lnTo>
                    <a:pt x="4" y="180"/>
                  </a:lnTo>
                  <a:lnTo>
                    <a:pt x="8" y="198"/>
                  </a:lnTo>
                  <a:lnTo>
                    <a:pt x="14" y="216"/>
                  </a:lnTo>
                  <a:lnTo>
                    <a:pt x="14" y="226"/>
                  </a:lnTo>
                  <a:lnTo>
                    <a:pt x="14" y="232"/>
                  </a:lnTo>
                  <a:lnTo>
                    <a:pt x="14" y="232"/>
                  </a:lnTo>
                  <a:lnTo>
                    <a:pt x="14" y="240"/>
                  </a:lnTo>
                  <a:lnTo>
                    <a:pt x="10" y="248"/>
                  </a:lnTo>
                  <a:lnTo>
                    <a:pt x="4" y="260"/>
                  </a:lnTo>
                  <a:lnTo>
                    <a:pt x="2" y="266"/>
                  </a:lnTo>
                  <a:lnTo>
                    <a:pt x="0" y="272"/>
                  </a:lnTo>
                  <a:lnTo>
                    <a:pt x="0" y="278"/>
                  </a:lnTo>
                  <a:lnTo>
                    <a:pt x="4" y="284"/>
                  </a:lnTo>
                  <a:lnTo>
                    <a:pt x="4" y="284"/>
                  </a:lnTo>
                  <a:lnTo>
                    <a:pt x="8" y="290"/>
                  </a:lnTo>
                  <a:lnTo>
                    <a:pt x="14" y="296"/>
                  </a:lnTo>
                  <a:lnTo>
                    <a:pt x="26" y="304"/>
                  </a:lnTo>
                  <a:lnTo>
                    <a:pt x="30" y="310"/>
                  </a:lnTo>
                  <a:lnTo>
                    <a:pt x="34" y="316"/>
                  </a:lnTo>
                  <a:lnTo>
                    <a:pt x="36" y="324"/>
                  </a:lnTo>
                  <a:lnTo>
                    <a:pt x="36" y="332"/>
                  </a:lnTo>
                  <a:lnTo>
                    <a:pt x="36" y="332"/>
                  </a:lnTo>
                  <a:lnTo>
                    <a:pt x="34" y="354"/>
                  </a:lnTo>
                  <a:lnTo>
                    <a:pt x="34" y="376"/>
                  </a:lnTo>
                  <a:lnTo>
                    <a:pt x="38" y="402"/>
                  </a:lnTo>
                  <a:lnTo>
                    <a:pt x="92" y="428"/>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69" name="Freeform 36"/>
            <p:cNvSpPr>
              <a:spLocks/>
            </p:cNvSpPr>
            <p:nvPr/>
          </p:nvSpPr>
          <p:spPr bwMode="auto">
            <a:xfrm>
              <a:off x="3965694" y="3781231"/>
              <a:ext cx="36582" cy="51825"/>
            </a:xfrm>
            <a:custGeom>
              <a:avLst/>
              <a:gdLst/>
              <a:ahLst/>
              <a:cxnLst>
                <a:cxn ang="0">
                  <a:pos x="0" y="22"/>
                </a:cxn>
                <a:cxn ang="0">
                  <a:pos x="0" y="22"/>
                </a:cxn>
                <a:cxn ang="0">
                  <a:pos x="2" y="30"/>
                </a:cxn>
                <a:cxn ang="0">
                  <a:pos x="4" y="44"/>
                </a:cxn>
                <a:cxn ang="0">
                  <a:pos x="8" y="58"/>
                </a:cxn>
                <a:cxn ang="0">
                  <a:pos x="12" y="62"/>
                </a:cxn>
                <a:cxn ang="0">
                  <a:pos x="18" y="64"/>
                </a:cxn>
                <a:cxn ang="0">
                  <a:pos x="18" y="64"/>
                </a:cxn>
                <a:cxn ang="0">
                  <a:pos x="26" y="68"/>
                </a:cxn>
                <a:cxn ang="0">
                  <a:pos x="32" y="68"/>
                </a:cxn>
                <a:cxn ang="0">
                  <a:pos x="38" y="66"/>
                </a:cxn>
                <a:cxn ang="0">
                  <a:pos x="42" y="60"/>
                </a:cxn>
                <a:cxn ang="0">
                  <a:pos x="42" y="60"/>
                </a:cxn>
                <a:cxn ang="0">
                  <a:pos x="48" y="50"/>
                </a:cxn>
                <a:cxn ang="0">
                  <a:pos x="48" y="44"/>
                </a:cxn>
                <a:cxn ang="0">
                  <a:pos x="46" y="38"/>
                </a:cxn>
                <a:cxn ang="0">
                  <a:pos x="46" y="38"/>
                </a:cxn>
                <a:cxn ang="0">
                  <a:pos x="42" y="24"/>
                </a:cxn>
                <a:cxn ang="0">
                  <a:pos x="40" y="16"/>
                </a:cxn>
                <a:cxn ang="0">
                  <a:pos x="36" y="8"/>
                </a:cxn>
                <a:cxn ang="0">
                  <a:pos x="36" y="8"/>
                </a:cxn>
                <a:cxn ang="0">
                  <a:pos x="32" y="4"/>
                </a:cxn>
                <a:cxn ang="0">
                  <a:pos x="26" y="2"/>
                </a:cxn>
                <a:cxn ang="0">
                  <a:pos x="20" y="0"/>
                </a:cxn>
                <a:cxn ang="0">
                  <a:pos x="14" y="2"/>
                </a:cxn>
                <a:cxn ang="0">
                  <a:pos x="10" y="4"/>
                </a:cxn>
                <a:cxn ang="0">
                  <a:pos x="4" y="8"/>
                </a:cxn>
                <a:cxn ang="0">
                  <a:pos x="2" y="14"/>
                </a:cxn>
                <a:cxn ang="0">
                  <a:pos x="0" y="22"/>
                </a:cxn>
                <a:cxn ang="0">
                  <a:pos x="0" y="22"/>
                </a:cxn>
              </a:cxnLst>
              <a:rect l="0" t="0" r="r" b="b"/>
              <a:pathLst>
                <a:path w="48" h="68">
                  <a:moveTo>
                    <a:pt x="0" y="22"/>
                  </a:moveTo>
                  <a:lnTo>
                    <a:pt x="0" y="22"/>
                  </a:lnTo>
                  <a:lnTo>
                    <a:pt x="2" y="30"/>
                  </a:lnTo>
                  <a:lnTo>
                    <a:pt x="4" y="44"/>
                  </a:lnTo>
                  <a:lnTo>
                    <a:pt x="8" y="58"/>
                  </a:lnTo>
                  <a:lnTo>
                    <a:pt x="12" y="62"/>
                  </a:lnTo>
                  <a:lnTo>
                    <a:pt x="18" y="64"/>
                  </a:lnTo>
                  <a:lnTo>
                    <a:pt x="18" y="64"/>
                  </a:lnTo>
                  <a:lnTo>
                    <a:pt x="26" y="68"/>
                  </a:lnTo>
                  <a:lnTo>
                    <a:pt x="32" y="68"/>
                  </a:lnTo>
                  <a:lnTo>
                    <a:pt x="38" y="66"/>
                  </a:lnTo>
                  <a:lnTo>
                    <a:pt x="42" y="60"/>
                  </a:lnTo>
                  <a:lnTo>
                    <a:pt x="42" y="60"/>
                  </a:lnTo>
                  <a:lnTo>
                    <a:pt x="48" y="50"/>
                  </a:lnTo>
                  <a:lnTo>
                    <a:pt x="48" y="44"/>
                  </a:lnTo>
                  <a:lnTo>
                    <a:pt x="46" y="38"/>
                  </a:lnTo>
                  <a:lnTo>
                    <a:pt x="46" y="38"/>
                  </a:lnTo>
                  <a:lnTo>
                    <a:pt x="42" y="24"/>
                  </a:lnTo>
                  <a:lnTo>
                    <a:pt x="40" y="16"/>
                  </a:lnTo>
                  <a:lnTo>
                    <a:pt x="36" y="8"/>
                  </a:lnTo>
                  <a:lnTo>
                    <a:pt x="36" y="8"/>
                  </a:lnTo>
                  <a:lnTo>
                    <a:pt x="32" y="4"/>
                  </a:lnTo>
                  <a:lnTo>
                    <a:pt x="26" y="2"/>
                  </a:lnTo>
                  <a:lnTo>
                    <a:pt x="20" y="0"/>
                  </a:lnTo>
                  <a:lnTo>
                    <a:pt x="14" y="2"/>
                  </a:lnTo>
                  <a:lnTo>
                    <a:pt x="10" y="4"/>
                  </a:lnTo>
                  <a:lnTo>
                    <a:pt x="4" y="8"/>
                  </a:lnTo>
                  <a:lnTo>
                    <a:pt x="2" y="14"/>
                  </a:lnTo>
                  <a:lnTo>
                    <a:pt x="0" y="22"/>
                  </a:lnTo>
                  <a:lnTo>
                    <a:pt x="0" y="22"/>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70" name="Freeform 37"/>
            <p:cNvSpPr>
              <a:spLocks/>
            </p:cNvSpPr>
            <p:nvPr/>
          </p:nvSpPr>
          <p:spPr bwMode="auto">
            <a:xfrm>
              <a:off x="4046480" y="3727881"/>
              <a:ext cx="83834" cy="137184"/>
            </a:xfrm>
            <a:custGeom>
              <a:avLst/>
              <a:gdLst/>
              <a:ahLst/>
              <a:cxnLst>
                <a:cxn ang="0">
                  <a:pos x="4" y="66"/>
                </a:cxn>
                <a:cxn ang="0">
                  <a:pos x="4" y="66"/>
                </a:cxn>
                <a:cxn ang="0">
                  <a:pos x="18" y="84"/>
                </a:cxn>
                <a:cxn ang="0">
                  <a:pos x="26" y="102"/>
                </a:cxn>
                <a:cxn ang="0">
                  <a:pos x="30" y="118"/>
                </a:cxn>
                <a:cxn ang="0">
                  <a:pos x="32" y="134"/>
                </a:cxn>
                <a:cxn ang="0">
                  <a:pos x="32" y="134"/>
                </a:cxn>
                <a:cxn ang="0">
                  <a:pos x="34" y="154"/>
                </a:cxn>
                <a:cxn ang="0">
                  <a:pos x="36" y="172"/>
                </a:cxn>
                <a:cxn ang="0">
                  <a:pos x="38" y="178"/>
                </a:cxn>
                <a:cxn ang="0">
                  <a:pos x="42" y="180"/>
                </a:cxn>
                <a:cxn ang="0">
                  <a:pos x="46" y="180"/>
                </a:cxn>
                <a:cxn ang="0">
                  <a:pos x="52" y="176"/>
                </a:cxn>
                <a:cxn ang="0">
                  <a:pos x="52" y="176"/>
                </a:cxn>
                <a:cxn ang="0">
                  <a:pos x="60" y="164"/>
                </a:cxn>
                <a:cxn ang="0">
                  <a:pos x="66" y="154"/>
                </a:cxn>
                <a:cxn ang="0">
                  <a:pos x="68" y="142"/>
                </a:cxn>
                <a:cxn ang="0">
                  <a:pos x="70" y="124"/>
                </a:cxn>
                <a:cxn ang="0">
                  <a:pos x="70" y="124"/>
                </a:cxn>
                <a:cxn ang="0">
                  <a:pos x="74" y="104"/>
                </a:cxn>
                <a:cxn ang="0">
                  <a:pos x="74" y="94"/>
                </a:cxn>
                <a:cxn ang="0">
                  <a:pos x="74" y="86"/>
                </a:cxn>
                <a:cxn ang="0">
                  <a:pos x="80" y="80"/>
                </a:cxn>
                <a:cxn ang="0">
                  <a:pos x="80" y="80"/>
                </a:cxn>
                <a:cxn ang="0">
                  <a:pos x="84" y="76"/>
                </a:cxn>
                <a:cxn ang="0">
                  <a:pos x="84" y="74"/>
                </a:cxn>
                <a:cxn ang="0">
                  <a:pos x="86" y="68"/>
                </a:cxn>
                <a:cxn ang="0">
                  <a:pos x="92" y="54"/>
                </a:cxn>
                <a:cxn ang="0">
                  <a:pos x="92" y="54"/>
                </a:cxn>
                <a:cxn ang="0">
                  <a:pos x="100" y="38"/>
                </a:cxn>
                <a:cxn ang="0">
                  <a:pos x="108" y="28"/>
                </a:cxn>
                <a:cxn ang="0">
                  <a:pos x="110" y="22"/>
                </a:cxn>
                <a:cxn ang="0">
                  <a:pos x="110" y="18"/>
                </a:cxn>
                <a:cxn ang="0">
                  <a:pos x="108" y="14"/>
                </a:cxn>
                <a:cxn ang="0">
                  <a:pos x="102" y="10"/>
                </a:cxn>
                <a:cxn ang="0">
                  <a:pos x="102" y="10"/>
                </a:cxn>
                <a:cxn ang="0">
                  <a:pos x="92" y="4"/>
                </a:cxn>
                <a:cxn ang="0">
                  <a:pos x="84" y="0"/>
                </a:cxn>
                <a:cxn ang="0">
                  <a:pos x="80" y="0"/>
                </a:cxn>
                <a:cxn ang="0">
                  <a:pos x="78" y="0"/>
                </a:cxn>
                <a:cxn ang="0">
                  <a:pos x="74" y="8"/>
                </a:cxn>
                <a:cxn ang="0">
                  <a:pos x="74" y="8"/>
                </a:cxn>
                <a:cxn ang="0">
                  <a:pos x="70" y="20"/>
                </a:cxn>
                <a:cxn ang="0">
                  <a:pos x="62" y="32"/>
                </a:cxn>
                <a:cxn ang="0">
                  <a:pos x="56" y="44"/>
                </a:cxn>
                <a:cxn ang="0">
                  <a:pos x="52" y="54"/>
                </a:cxn>
                <a:cxn ang="0">
                  <a:pos x="52" y="54"/>
                </a:cxn>
                <a:cxn ang="0">
                  <a:pos x="50" y="60"/>
                </a:cxn>
                <a:cxn ang="0">
                  <a:pos x="48" y="62"/>
                </a:cxn>
                <a:cxn ang="0">
                  <a:pos x="42" y="62"/>
                </a:cxn>
                <a:cxn ang="0">
                  <a:pos x="32" y="60"/>
                </a:cxn>
                <a:cxn ang="0">
                  <a:pos x="32" y="60"/>
                </a:cxn>
                <a:cxn ang="0">
                  <a:pos x="20" y="56"/>
                </a:cxn>
                <a:cxn ang="0">
                  <a:pos x="6" y="54"/>
                </a:cxn>
                <a:cxn ang="0">
                  <a:pos x="2" y="54"/>
                </a:cxn>
                <a:cxn ang="0">
                  <a:pos x="0" y="56"/>
                </a:cxn>
                <a:cxn ang="0">
                  <a:pos x="0" y="60"/>
                </a:cxn>
                <a:cxn ang="0">
                  <a:pos x="4" y="66"/>
                </a:cxn>
                <a:cxn ang="0">
                  <a:pos x="4" y="66"/>
                </a:cxn>
              </a:cxnLst>
              <a:rect l="0" t="0" r="r" b="b"/>
              <a:pathLst>
                <a:path w="110" h="180">
                  <a:moveTo>
                    <a:pt x="4" y="66"/>
                  </a:moveTo>
                  <a:lnTo>
                    <a:pt x="4" y="66"/>
                  </a:lnTo>
                  <a:lnTo>
                    <a:pt x="18" y="84"/>
                  </a:lnTo>
                  <a:lnTo>
                    <a:pt x="26" y="102"/>
                  </a:lnTo>
                  <a:lnTo>
                    <a:pt x="30" y="118"/>
                  </a:lnTo>
                  <a:lnTo>
                    <a:pt x="32" y="134"/>
                  </a:lnTo>
                  <a:lnTo>
                    <a:pt x="32" y="134"/>
                  </a:lnTo>
                  <a:lnTo>
                    <a:pt x="34" y="154"/>
                  </a:lnTo>
                  <a:lnTo>
                    <a:pt x="36" y="172"/>
                  </a:lnTo>
                  <a:lnTo>
                    <a:pt x="38" y="178"/>
                  </a:lnTo>
                  <a:lnTo>
                    <a:pt x="42" y="180"/>
                  </a:lnTo>
                  <a:lnTo>
                    <a:pt x="46" y="180"/>
                  </a:lnTo>
                  <a:lnTo>
                    <a:pt x="52" y="176"/>
                  </a:lnTo>
                  <a:lnTo>
                    <a:pt x="52" y="176"/>
                  </a:lnTo>
                  <a:lnTo>
                    <a:pt x="60" y="164"/>
                  </a:lnTo>
                  <a:lnTo>
                    <a:pt x="66" y="154"/>
                  </a:lnTo>
                  <a:lnTo>
                    <a:pt x="68" y="142"/>
                  </a:lnTo>
                  <a:lnTo>
                    <a:pt x="70" y="124"/>
                  </a:lnTo>
                  <a:lnTo>
                    <a:pt x="70" y="124"/>
                  </a:lnTo>
                  <a:lnTo>
                    <a:pt x="74" y="104"/>
                  </a:lnTo>
                  <a:lnTo>
                    <a:pt x="74" y="94"/>
                  </a:lnTo>
                  <a:lnTo>
                    <a:pt x="74" y="86"/>
                  </a:lnTo>
                  <a:lnTo>
                    <a:pt x="80" y="80"/>
                  </a:lnTo>
                  <a:lnTo>
                    <a:pt x="80" y="80"/>
                  </a:lnTo>
                  <a:lnTo>
                    <a:pt x="84" y="76"/>
                  </a:lnTo>
                  <a:lnTo>
                    <a:pt x="84" y="74"/>
                  </a:lnTo>
                  <a:lnTo>
                    <a:pt x="86" y="68"/>
                  </a:lnTo>
                  <a:lnTo>
                    <a:pt x="92" y="54"/>
                  </a:lnTo>
                  <a:lnTo>
                    <a:pt x="92" y="54"/>
                  </a:lnTo>
                  <a:lnTo>
                    <a:pt x="100" y="38"/>
                  </a:lnTo>
                  <a:lnTo>
                    <a:pt x="108" y="28"/>
                  </a:lnTo>
                  <a:lnTo>
                    <a:pt x="110" y="22"/>
                  </a:lnTo>
                  <a:lnTo>
                    <a:pt x="110" y="18"/>
                  </a:lnTo>
                  <a:lnTo>
                    <a:pt x="108" y="14"/>
                  </a:lnTo>
                  <a:lnTo>
                    <a:pt x="102" y="10"/>
                  </a:lnTo>
                  <a:lnTo>
                    <a:pt x="102" y="10"/>
                  </a:lnTo>
                  <a:lnTo>
                    <a:pt x="92" y="4"/>
                  </a:lnTo>
                  <a:lnTo>
                    <a:pt x="84" y="0"/>
                  </a:lnTo>
                  <a:lnTo>
                    <a:pt x="80" y="0"/>
                  </a:lnTo>
                  <a:lnTo>
                    <a:pt x="78" y="0"/>
                  </a:lnTo>
                  <a:lnTo>
                    <a:pt x="74" y="8"/>
                  </a:lnTo>
                  <a:lnTo>
                    <a:pt x="74" y="8"/>
                  </a:lnTo>
                  <a:lnTo>
                    <a:pt x="70" y="20"/>
                  </a:lnTo>
                  <a:lnTo>
                    <a:pt x="62" y="32"/>
                  </a:lnTo>
                  <a:lnTo>
                    <a:pt x="56" y="44"/>
                  </a:lnTo>
                  <a:lnTo>
                    <a:pt x="52" y="54"/>
                  </a:lnTo>
                  <a:lnTo>
                    <a:pt x="52" y="54"/>
                  </a:lnTo>
                  <a:lnTo>
                    <a:pt x="50" y="60"/>
                  </a:lnTo>
                  <a:lnTo>
                    <a:pt x="48" y="62"/>
                  </a:lnTo>
                  <a:lnTo>
                    <a:pt x="42" y="62"/>
                  </a:lnTo>
                  <a:lnTo>
                    <a:pt x="32" y="60"/>
                  </a:lnTo>
                  <a:lnTo>
                    <a:pt x="32" y="60"/>
                  </a:lnTo>
                  <a:lnTo>
                    <a:pt x="20" y="56"/>
                  </a:lnTo>
                  <a:lnTo>
                    <a:pt x="6" y="54"/>
                  </a:lnTo>
                  <a:lnTo>
                    <a:pt x="2" y="54"/>
                  </a:lnTo>
                  <a:lnTo>
                    <a:pt x="0" y="56"/>
                  </a:lnTo>
                  <a:lnTo>
                    <a:pt x="0" y="60"/>
                  </a:lnTo>
                  <a:lnTo>
                    <a:pt x="4" y="66"/>
                  </a:lnTo>
                  <a:lnTo>
                    <a:pt x="4" y="66"/>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71" name="Freeform 38"/>
            <p:cNvSpPr>
              <a:spLocks/>
            </p:cNvSpPr>
            <p:nvPr/>
          </p:nvSpPr>
          <p:spPr bwMode="auto">
            <a:xfrm>
              <a:off x="4028189" y="3862016"/>
              <a:ext cx="36582" cy="36582"/>
            </a:xfrm>
            <a:custGeom>
              <a:avLst/>
              <a:gdLst/>
              <a:ahLst/>
              <a:cxnLst>
                <a:cxn ang="0">
                  <a:pos x="4" y="26"/>
                </a:cxn>
                <a:cxn ang="0">
                  <a:pos x="4" y="26"/>
                </a:cxn>
                <a:cxn ang="0">
                  <a:pos x="6" y="32"/>
                </a:cxn>
                <a:cxn ang="0">
                  <a:pos x="8" y="40"/>
                </a:cxn>
                <a:cxn ang="0">
                  <a:pos x="12" y="46"/>
                </a:cxn>
                <a:cxn ang="0">
                  <a:pos x="16" y="48"/>
                </a:cxn>
                <a:cxn ang="0">
                  <a:pos x="20" y="48"/>
                </a:cxn>
                <a:cxn ang="0">
                  <a:pos x="20" y="48"/>
                </a:cxn>
                <a:cxn ang="0">
                  <a:pos x="28" y="48"/>
                </a:cxn>
                <a:cxn ang="0">
                  <a:pos x="34" y="48"/>
                </a:cxn>
                <a:cxn ang="0">
                  <a:pos x="40" y="44"/>
                </a:cxn>
                <a:cxn ang="0">
                  <a:pos x="46" y="38"/>
                </a:cxn>
                <a:cxn ang="0">
                  <a:pos x="46" y="38"/>
                </a:cxn>
                <a:cxn ang="0">
                  <a:pos x="48" y="32"/>
                </a:cxn>
                <a:cxn ang="0">
                  <a:pos x="46" y="30"/>
                </a:cxn>
                <a:cxn ang="0">
                  <a:pos x="40" y="26"/>
                </a:cxn>
                <a:cxn ang="0">
                  <a:pos x="32" y="20"/>
                </a:cxn>
                <a:cxn ang="0">
                  <a:pos x="32" y="20"/>
                </a:cxn>
                <a:cxn ang="0">
                  <a:pos x="30" y="16"/>
                </a:cxn>
                <a:cxn ang="0">
                  <a:pos x="28" y="12"/>
                </a:cxn>
                <a:cxn ang="0">
                  <a:pos x="28" y="4"/>
                </a:cxn>
                <a:cxn ang="0">
                  <a:pos x="26" y="0"/>
                </a:cxn>
                <a:cxn ang="0">
                  <a:pos x="24" y="0"/>
                </a:cxn>
                <a:cxn ang="0">
                  <a:pos x="20" y="2"/>
                </a:cxn>
                <a:cxn ang="0">
                  <a:pos x="20" y="2"/>
                </a:cxn>
                <a:cxn ang="0">
                  <a:pos x="12" y="6"/>
                </a:cxn>
                <a:cxn ang="0">
                  <a:pos x="2" y="10"/>
                </a:cxn>
                <a:cxn ang="0">
                  <a:pos x="0" y="12"/>
                </a:cxn>
                <a:cxn ang="0">
                  <a:pos x="0" y="16"/>
                </a:cxn>
                <a:cxn ang="0">
                  <a:pos x="0" y="20"/>
                </a:cxn>
                <a:cxn ang="0">
                  <a:pos x="4" y="26"/>
                </a:cxn>
                <a:cxn ang="0">
                  <a:pos x="4" y="26"/>
                </a:cxn>
              </a:cxnLst>
              <a:rect l="0" t="0" r="r" b="b"/>
              <a:pathLst>
                <a:path w="48" h="48">
                  <a:moveTo>
                    <a:pt x="4" y="26"/>
                  </a:moveTo>
                  <a:lnTo>
                    <a:pt x="4" y="26"/>
                  </a:lnTo>
                  <a:lnTo>
                    <a:pt x="6" y="32"/>
                  </a:lnTo>
                  <a:lnTo>
                    <a:pt x="8" y="40"/>
                  </a:lnTo>
                  <a:lnTo>
                    <a:pt x="12" y="46"/>
                  </a:lnTo>
                  <a:lnTo>
                    <a:pt x="16" y="48"/>
                  </a:lnTo>
                  <a:lnTo>
                    <a:pt x="20" y="48"/>
                  </a:lnTo>
                  <a:lnTo>
                    <a:pt x="20" y="48"/>
                  </a:lnTo>
                  <a:lnTo>
                    <a:pt x="28" y="48"/>
                  </a:lnTo>
                  <a:lnTo>
                    <a:pt x="34" y="48"/>
                  </a:lnTo>
                  <a:lnTo>
                    <a:pt x="40" y="44"/>
                  </a:lnTo>
                  <a:lnTo>
                    <a:pt x="46" y="38"/>
                  </a:lnTo>
                  <a:lnTo>
                    <a:pt x="46" y="38"/>
                  </a:lnTo>
                  <a:lnTo>
                    <a:pt x="48" y="32"/>
                  </a:lnTo>
                  <a:lnTo>
                    <a:pt x="46" y="30"/>
                  </a:lnTo>
                  <a:lnTo>
                    <a:pt x="40" y="26"/>
                  </a:lnTo>
                  <a:lnTo>
                    <a:pt x="32" y="20"/>
                  </a:lnTo>
                  <a:lnTo>
                    <a:pt x="32" y="20"/>
                  </a:lnTo>
                  <a:lnTo>
                    <a:pt x="30" y="16"/>
                  </a:lnTo>
                  <a:lnTo>
                    <a:pt x="28" y="12"/>
                  </a:lnTo>
                  <a:lnTo>
                    <a:pt x="28" y="4"/>
                  </a:lnTo>
                  <a:lnTo>
                    <a:pt x="26" y="0"/>
                  </a:lnTo>
                  <a:lnTo>
                    <a:pt x="24" y="0"/>
                  </a:lnTo>
                  <a:lnTo>
                    <a:pt x="20" y="2"/>
                  </a:lnTo>
                  <a:lnTo>
                    <a:pt x="20" y="2"/>
                  </a:lnTo>
                  <a:lnTo>
                    <a:pt x="12" y="6"/>
                  </a:lnTo>
                  <a:lnTo>
                    <a:pt x="2" y="10"/>
                  </a:lnTo>
                  <a:lnTo>
                    <a:pt x="0" y="12"/>
                  </a:lnTo>
                  <a:lnTo>
                    <a:pt x="0" y="16"/>
                  </a:lnTo>
                  <a:lnTo>
                    <a:pt x="0" y="20"/>
                  </a:lnTo>
                  <a:lnTo>
                    <a:pt x="4" y="26"/>
                  </a:lnTo>
                  <a:lnTo>
                    <a:pt x="4" y="26"/>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72" name="Freeform 39"/>
            <p:cNvSpPr>
              <a:spLocks/>
            </p:cNvSpPr>
            <p:nvPr/>
          </p:nvSpPr>
          <p:spPr bwMode="auto">
            <a:xfrm>
              <a:off x="3596823" y="3840677"/>
              <a:ext cx="681345" cy="938946"/>
            </a:xfrm>
            <a:custGeom>
              <a:avLst/>
              <a:gdLst/>
              <a:ahLst/>
              <a:cxnLst>
                <a:cxn ang="0">
                  <a:pos x="456" y="38"/>
                </a:cxn>
                <a:cxn ang="0">
                  <a:pos x="492" y="102"/>
                </a:cxn>
                <a:cxn ang="0">
                  <a:pos x="542" y="154"/>
                </a:cxn>
                <a:cxn ang="0">
                  <a:pos x="556" y="180"/>
                </a:cxn>
                <a:cxn ang="0">
                  <a:pos x="632" y="170"/>
                </a:cxn>
                <a:cxn ang="0">
                  <a:pos x="694" y="140"/>
                </a:cxn>
                <a:cxn ang="0">
                  <a:pos x="740" y="130"/>
                </a:cxn>
                <a:cxn ang="0">
                  <a:pos x="746" y="102"/>
                </a:cxn>
                <a:cxn ang="0">
                  <a:pos x="766" y="142"/>
                </a:cxn>
                <a:cxn ang="0">
                  <a:pos x="758" y="166"/>
                </a:cxn>
                <a:cxn ang="0">
                  <a:pos x="836" y="314"/>
                </a:cxn>
                <a:cxn ang="0">
                  <a:pos x="828" y="396"/>
                </a:cxn>
                <a:cxn ang="0">
                  <a:pos x="848" y="456"/>
                </a:cxn>
                <a:cxn ang="0">
                  <a:pos x="868" y="600"/>
                </a:cxn>
                <a:cxn ang="0">
                  <a:pos x="892" y="688"/>
                </a:cxn>
                <a:cxn ang="0">
                  <a:pos x="750" y="728"/>
                </a:cxn>
                <a:cxn ang="0">
                  <a:pos x="664" y="774"/>
                </a:cxn>
                <a:cxn ang="0">
                  <a:pos x="632" y="784"/>
                </a:cxn>
                <a:cxn ang="0">
                  <a:pos x="644" y="888"/>
                </a:cxn>
                <a:cxn ang="0">
                  <a:pos x="698" y="980"/>
                </a:cxn>
                <a:cxn ang="0">
                  <a:pos x="782" y="1050"/>
                </a:cxn>
                <a:cxn ang="0">
                  <a:pos x="754" y="1084"/>
                </a:cxn>
                <a:cxn ang="0">
                  <a:pos x="682" y="1126"/>
                </a:cxn>
                <a:cxn ang="0">
                  <a:pos x="690" y="1210"/>
                </a:cxn>
                <a:cxn ang="0">
                  <a:pos x="636" y="1228"/>
                </a:cxn>
                <a:cxn ang="0">
                  <a:pos x="574" y="1196"/>
                </a:cxn>
                <a:cxn ang="0">
                  <a:pos x="536" y="1220"/>
                </a:cxn>
                <a:cxn ang="0">
                  <a:pos x="466" y="1222"/>
                </a:cxn>
                <a:cxn ang="0">
                  <a:pos x="412" y="1218"/>
                </a:cxn>
                <a:cxn ang="0">
                  <a:pos x="320" y="1174"/>
                </a:cxn>
                <a:cxn ang="0">
                  <a:pos x="294" y="1152"/>
                </a:cxn>
                <a:cxn ang="0">
                  <a:pos x="178" y="1156"/>
                </a:cxn>
                <a:cxn ang="0">
                  <a:pos x="136" y="1128"/>
                </a:cxn>
                <a:cxn ang="0">
                  <a:pos x="160" y="1016"/>
                </a:cxn>
                <a:cxn ang="0">
                  <a:pos x="234" y="944"/>
                </a:cxn>
                <a:cxn ang="0">
                  <a:pos x="96" y="884"/>
                </a:cxn>
                <a:cxn ang="0">
                  <a:pos x="54" y="830"/>
                </a:cxn>
                <a:cxn ang="0">
                  <a:pos x="8" y="778"/>
                </a:cxn>
                <a:cxn ang="0">
                  <a:pos x="40" y="724"/>
                </a:cxn>
                <a:cxn ang="0">
                  <a:pos x="72" y="682"/>
                </a:cxn>
                <a:cxn ang="0">
                  <a:pos x="44" y="590"/>
                </a:cxn>
                <a:cxn ang="0">
                  <a:pos x="62" y="526"/>
                </a:cxn>
                <a:cxn ang="0">
                  <a:pos x="80" y="502"/>
                </a:cxn>
                <a:cxn ang="0">
                  <a:pos x="68" y="438"/>
                </a:cxn>
                <a:cxn ang="0">
                  <a:pos x="134" y="428"/>
                </a:cxn>
                <a:cxn ang="0">
                  <a:pos x="174" y="414"/>
                </a:cxn>
                <a:cxn ang="0">
                  <a:pos x="148" y="338"/>
                </a:cxn>
                <a:cxn ang="0">
                  <a:pos x="186" y="308"/>
                </a:cxn>
                <a:cxn ang="0">
                  <a:pos x="208" y="256"/>
                </a:cxn>
                <a:cxn ang="0">
                  <a:pos x="198" y="180"/>
                </a:cxn>
                <a:cxn ang="0">
                  <a:pos x="268" y="154"/>
                </a:cxn>
                <a:cxn ang="0">
                  <a:pos x="294" y="200"/>
                </a:cxn>
                <a:cxn ang="0">
                  <a:pos x="316" y="206"/>
                </a:cxn>
                <a:cxn ang="0">
                  <a:pos x="366" y="150"/>
                </a:cxn>
                <a:cxn ang="0">
                  <a:pos x="382" y="152"/>
                </a:cxn>
                <a:cxn ang="0">
                  <a:pos x="394" y="54"/>
                </a:cxn>
              </a:cxnLst>
              <a:rect l="0" t="0" r="r" b="b"/>
              <a:pathLst>
                <a:path w="894" h="1232">
                  <a:moveTo>
                    <a:pt x="442" y="34"/>
                  </a:moveTo>
                  <a:lnTo>
                    <a:pt x="442" y="34"/>
                  </a:lnTo>
                  <a:lnTo>
                    <a:pt x="444" y="34"/>
                  </a:lnTo>
                  <a:lnTo>
                    <a:pt x="448" y="32"/>
                  </a:lnTo>
                  <a:lnTo>
                    <a:pt x="450" y="32"/>
                  </a:lnTo>
                  <a:lnTo>
                    <a:pt x="454" y="34"/>
                  </a:lnTo>
                  <a:lnTo>
                    <a:pt x="456" y="38"/>
                  </a:lnTo>
                  <a:lnTo>
                    <a:pt x="460" y="46"/>
                  </a:lnTo>
                  <a:lnTo>
                    <a:pt x="460" y="46"/>
                  </a:lnTo>
                  <a:lnTo>
                    <a:pt x="472" y="74"/>
                  </a:lnTo>
                  <a:lnTo>
                    <a:pt x="476" y="84"/>
                  </a:lnTo>
                  <a:lnTo>
                    <a:pt x="484" y="94"/>
                  </a:lnTo>
                  <a:lnTo>
                    <a:pt x="484" y="94"/>
                  </a:lnTo>
                  <a:lnTo>
                    <a:pt x="492" y="102"/>
                  </a:lnTo>
                  <a:lnTo>
                    <a:pt x="502" y="110"/>
                  </a:lnTo>
                  <a:lnTo>
                    <a:pt x="514" y="116"/>
                  </a:lnTo>
                  <a:lnTo>
                    <a:pt x="528" y="122"/>
                  </a:lnTo>
                  <a:lnTo>
                    <a:pt x="528" y="122"/>
                  </a:lnTo>
                  <a:lnTo>
                    <a:pt x="550" y="128"/>
                  </a:lnTo>
                  <a:lnTo>
                    <a:pt x="550" y="128"/>
                  </a:lnTo>
                  <a:lnTo>
                    <a:pt x="542" y="154"/>
                  </a:lnTo>
                  <a:lnTo>
                    <a:pt x="542" y="154"/>
                  </a:lnTo>
                  <a:lnTo>
                    <a:pt x="542" y="160"/>
                  </a:lnTo>
                  <a:lnTo>
                    <a:pt x="542" y="166"/>
                  </a:lnTo>
                  <a:lnTo>
                    <a:pt x="544" y="170"/>
                  </a:lnTo>
                  <a:lnTo>
                    <a:pt x="546" y="174"/>
                  </a:lnTo>
                  <a:lnTo>
                    <a:pt x="550" y="178"/>
                  </a:lnTo>
                  <a:lnTo>
                    <a:pt x="556" y="180"/>
                  </a:lnTo>
                  <a:lnTo>
                    <a:pt x="562" y="180"/>
                  </a:lnTo>
                  <a:lnTo>
                    <a:pt x="570" y="178"/>
                  </a:lnTo>
                  <a:lnTo>
                    <a:pt x="570" y="178"/>
                  </a:lnTo>
                  <a:lnTo>
                    <a:pt x="588" y="176"/>
                  </a:lnTo>
                  <a:lnTo>
                    <a:pt x="608" y="174"/>
                  </a:lnTo>
                  <a:lnTo>
                    <a:pt x="624" y="172"/>
                  </a:lnTo>
                  <a:lnTo>
                    <a:pt x="632" y="170"/>
                  </a:lnTo>
                  <a:lnTo>
                    <a:pt x="638" y="166"/>
                  </a:lnTo>
                  <a:lnTo>
                    <a:pt x="638" y="166"/>
                  </a:lnTo>
                  <a:lnTo>
                    <a:pt x="652" y="156"/>
                  </a:lnTo>
                  <a:lnTo>
                    <a:pt x="668" y="148"/>
                  </a:lnTo>
                  <a:lnTo>
                    <a:pt x="682" y="142"/>
                  </a:lnTo>
                  <a:lnTo>
                    <a:pt x="694" y="140"/>
                  </a:lnTo>
                  <a:lnTo>
                    <a:pt x="694" y="140"/>
                  </a:lnTo>
                  <a:lnTo>
                    <a:pt x="716" y="146"/>
                  </a:lnTo>
                  <a:lnTo>
                    <a:pt x="728" y="150"/>
                  </a:lnTo>
                  <a:lnTo>
                    <a:pt x="728" y="150"/>
                  </a:lnTo>
                  <a:lnTo>
                    <a:pt x="734" y="146"/>
                  </a:lnTo>
                  <a:lnTo>
                    <a:pt x="738" y="140"/>
                  </a:lnTo>
                  <a:lnTo>
                    <a:pt x="740" y="130"/>
                  </a:lnTo>
                  <a:lnTo>
                    <a:pt x="740" y="130"/>
                  </a:lnTo>
                  <a:lnTo>
                    <a:pt x="740" y="124"/>
                  </a:lnTo>
                  <a:lnTo>
                    <a:pt x="740" y="118"/>
                  </a:lnTo>
                  <a:lnTo>
                    <a:pt x="738" y="106"/>
                  </a:lnTo>
                  <a:lnTo>
                    <a:pt x="736" y="102"/>
                  </a:lnTo>
                  <a:lnTo>
                    <a:pt x="738" y="100"/>
                  </a:lnTo>
                  <a:lnTo>
                    <a:pt x="740" y="100"/>
                  </a:lnTo>
                  <a:lnTo>
                    <a:pt x="746" y="102"/>
                  </a:lnTo>
                  <a:lnTo>
                    <a:pt x="746" y="102"/>
                  </a:lnTo>
                  <a:lnTo>
                    <a:pt x="758" y="112"/>
                  </a:lnTo>
                  <a:lnTo>
                    <a:pt x="766" y="120"/>
                  </a:lnTo>
                  <a:lnTo>
                    <a:pt x="768" y="128"/>
                  </a:lnTo>
                  <a:lnTo>
                    <a:pt x="768" y="138"/>
                  </a:lnTo>
                  <a:lnTo>
                    <a:pt x="768" y="138"/>
                  </a:lnTo>
                  <a:lnTo>
                    <a:pt x="766" y="142"/>
                  </a:lnTo>
                  <a:lnTo>
                    <a:pt x="762" y="142"/>
                  </a:lnTo>
                  <a:lnTo>
                    <a:pt x="754" y="144"/>
                  </a:lnTo>
                  <a:lnTo>
                    <a:pt x="752" y="146"/>
                  </a:lnTo>
                  <a:lnTo>
                    <a:pt x="750" y="150"/>
                  </a:lnTo>
                  <a:lnTo>
                    <a:pt x="752" y="156"/>
                  </a:lnTo>
                  <a:lnTo>
                    <a:pt x="758" y="166"/>
                  </a:lnTo>
                  <a:lnTo>
                    <a:pt x="758" y="166"/>
                  </a:lnTo>
                  <a:lnTo>
                    <a:pt x="794" y="222"/>
                  </a:lnTo>
                  <a:lnTo>
                    <a:pt x="814" y="250"/>
                  </a:lnTo>
                  <a:lnTo>
                    <a:pt x="814" y="250"/>
                  </a:lnTo>
                  <a:lnTo>
                    <a:pt x="826" y="276"/>
                  </a:lnTo>
                  <a:lnTo>
                    <a:pt x="834" y="298"/>
                  </a:lnTo>
                  <a:lnTo>
                    <a:pt x="836" y="306"/>
                  </a:lnTo>
                  <a:lnTo>
                    <a:pt x="836" y="314"/>
                  </a:lnTo>
                  <a:lnTo>
                    <a:pt x="836" y="314"/>
                  </a:lnTo>
                  <a:lnTo>
                    <a:pt x="834" y="338"/>
                  </a:lnTo>
                  <a:lnTo>
                    <a:pt x="832" y="350"/>
                  </a:lnTo>
                  <a:lnTo>
                    <a:pt x="828" y="372"/>
                  </a:lnTo>
                  <a:lnTo>
                    <a:pt x="828" y="372"/>
                  </a:lnTo>
                  <a:lnTo>
                    <a:pt x="826" y="384"/>
                  </a:lnTo>
                  <a:lnTo>
                    <a:pt x="828" y="396"/>
                  </a:lnTo>
                  <a:lnTo>
                    <a:pt x="832" y="406"/>
                  </a:lnTo>
                  <a:lnTo>
                    <a:pt x="838" y="416"/>
                  </a:lnTo>
                  <a:lnTo>
                    <a:pt x="842" y="426"/>
                  </a:lnTo>
                  <a:lnTo>
                    <a:pt x="846" y="436"/>
                  </a:lnTo>
                  <a:lnTo>
                    <a:pt x="848" y="446"/>
                  </a:lnTo>
                  <a:lnTo>
                    <a:pt x="848" y="456"/>
                  </a:lnTo>
                  <a:lnTo>
                    <a:pt x="848" y="456"/>
                  </a:lnTo>
                  <a:lnTo>
                    <a:pt x="846" y="466"/>
                  </a:lnTo>
                  <a:lnTo>
                    <a:pt x="844" y="480"/>
                  </a:lnTo>
                  <a:lnTo>
                    <a:pt x="844" y="506"/>
                  </a:lnTo>
                  <a:lnTo>
                    <a:pt x="848" y="532"/>
                  </a:lnTo>
                  <a:lnTo>
                    <a:pt x="854" y="554"/>
                  </a:lnTo>
                  <a:lnTo>
                    <a:pt x="854" y="554"/>
                  </a:lnTo>
                  <a:lnTo>
                    <a:pt x="868" y="600"/>
                  </a:lnTo>
                  <a:lnTo>
                    <a:pt x="878" y="642"/>
                  </a:lnTo>
                  <a:lnTo>
                    <a:pt x="878" y="642"/>
                  </a:lnTo>
                  <a:lnTo>
                    <a:pt x="880" y="650"/>
                  </a:lnTo>
                  <a:lnTo>
                    <a:pt x="884" y="658"/>
                  </a:lnTo>
                  <a:lnTo>
                    <a:pt x="892" y="672"/>
                  </a:lnTo>
                  <a:lnTo>
                    <a:pt x="894" y="680"/>
                  </a:lnTo>
                  <a:lnTo>
                    <a:pt x="892" y="688"/>
                  </a:lnTo>
                  <a:lnTo>
                    <a:pt x="886" y="692"/>
                  </a:lnTo>
                  <a:lnTo>
                    <a:pt x="874" y="696"/>
                  </a:lnTo>
                  <a:lnTo>
                    <a:pt x="874" y="696"/>
                  </a:lnTo>
                  <a:lnTo>
                    <a:pt x="812" y="712"/>
                  </a:lnTo>
                  <a:lnTo>
                    <a:pt x="760" y="724"/>
                  </a:lnTo>
                  <a:lnTo>
                    <a:pt x="760" y="724"/>
                  </a:lnTo>
                  <a:lnTo>
                    <a:pt x="750" y="728"/>
                  </a:lnTo>
                  <a:lnTo>
                    <a:pt x="740" y="732"/>
                  </a:lnTo>
                  <a:lnTo>
                    <a:pt x="718" y="746"/>
                  </a:lnTo>
                  <a:lnTo>
                    <a:pt x="694" y="762"/>
                  </a:lnTo>
                  <a:lnTo>
                    <a:pt x="684" y="768"/>
                  </a:lnTo>
                  <a:lnTo>
                    <a:pt x="672" y="772"/>
                  </a:lnTo>
                  <a:lnTo>
                    <a:pt x="672" y="772"/>
                  </a:lnTo>
                  <a:lnTo>
                    <a:pt x="664" y="774"/>
                  </a:lnTo>
                  <a:lnTo>
                    <a:pt x="656" y="774"/>
                  </a:lnTo>
                  <a:lnTo>
                    <a:pt x="646" y="772"/>
                  </a:lnTo>
                  <a:lnTo>
                    <a:pt x="642" y="770"/>
                  </a:lnTo>
                  <a:lnTo>
                    <a:pt x="638" y="772"/>
                  </a:lnTo>
                  <a:lnTo>
                    <a:pt x="636" y="776"/>
                  </a:lnTo>
                  <a:lnTo>
                    <a:pt x="632" y="784"/>
                  </a:lnTo>
                  <a:lnTo>
                    <a:pt x="632" y="784"/>
                  </a:lnTo>
                  <a:lnTo>
                    <a:pt x="630" y="792"/>
                  </a:lnTo>
                  <a:lnTo>
                    <a:pt x="628" y="802"/>
                  </a:lnTo>
                  <a:lnTo>
                    <a:pt x="628" y="820"/>
                  </a:lnTo>
                  <a:lnTo>
                    <a:pt x="632" y="840"/>
                  </a:lnTo>
                  <a:lnTo>
                    <a:pt x="638" y="864"/>
                  </a:lnTo>
                  <a:lnTo>
                    <a:pt x="638" y="864"/>
                  </a:lnTo>
                  <a:lnTo>
                    <a:pt x="644" y="888"/>
                  </a:lnTo>
                  <a:lnTo>
                    <a:pt x="650" y="906"/>
                  </a:lnTo>
                  <a:lnTo>
                    <a:pt x="658" y="922"/>
                  </a:lnTo>
                  <a:lnTo>
                    <a:pt x="666" y="934"/>
                  </a:lnTo>
                  <a:lnTo>
                    <a:pt x="666" y="934"/>
                  </a:lnTo>
                  <a:lnTo>
                    <a:pt x="676" y="948"/>
                  </a:lnTo>
                  <a:lnTo>
                    <a:pt x="686" y="962"/>
                  </a:lnTo>
                  <a:lnTo>
                    <a:pt x="698" y="980"/>
                  </a:lnTo>
                  <a:lnTo>
                    <a:pt x="714" y="998"/>
                  </a:lnTo>
                  <a:lnTo>
                    <a:pt x="714" y="998"/>
                  </a:lnTo>
                  <a:lnTo>
                    <a:pt x="736" y="1018"/>
                  </a:lnTo>
                  <a:lnTo>
                    <a:pt x="756" y="1032"/>
                  </a:lnTo>
                  <a:lnTo>
                    <a:pt x="774" y="1044"/>
                  </a:lnTo>
                  <a:lnTo>
                    <a:pt x="778" y="1048"/>
                  </a:lnTo>
                  <a:lnTo>
                    <a:pt x="782" y="1050"/>
                  </a:lnTo>
                  <a:lnTo>
                    <a:pt x="782" y="1050"/>
                  </a:lnTo>
                  <a:lnTo>
                    <a:pt x="784" y="1054"/>
                  </a:lnTo>
                  <a:lnTo>
                    <a:pt x="780" y="1056"/>
                  </a:lnTo>
                  <a:lnTo>
                    <a:pt x="774" y="1062"/>
                  </a:lnTo>
                  <a:lnTo>
                    <a:pt x="762" y="1076"/>
                  </a:lnTo>
                  <a:lnTo>
                    <a:pt x="762" y="1076"/>
                  </a:lnTo>
                  <a:lnTo>
                    <a:pt x="754" y="1084"/>
                  </a:lnTo>
                  <a:lnTo>
                    <a:pt x="746" y="1090"/>
                  </a:lnTo>
                  <a:lnTo>
                    <a:pt x="732" y="1100"/>
                  </a:lnTo>
                  <a:lnTo>
                    <a:pt x="710" y="1112"/>
                  </a:lnTo>
                  <a:lnTo>
                    <a:pt x="710" y="1112"/>
                  </a:lnTo>
                  <a:lnTo>
                    <a:pt x="698" y="1116"/>
                  </a:lnTo>
                  <a:lnTo>
                    <a:pt x="686" y="1122"/>
                  </a:lnTo>
                  <a:lnTo>
                    <a:pt x="682" y="1126"/>
                  </a:lnTo>
                  <a:lnTo>
                    <a:pt x="678" y="1132"/>
                  </a:lnTo>
                  <a:lnTo>
                    <a:pt x="678" y="1140"/>
                  </a:lnTo>
                  <a:lnTo>
                    <a:pt x="680" y="1150"/>
                  </a:lnTo>
                  <a:lnTo>
                    <a:pt x="680" y="1150"/>
                  </a:lnTo>
                  <a:lnTo>
                    <a:pt x="686" y="1172"/>
                  </a:lnTo>
                  <a:lnTo>
                    <a:pt x="690" y="1194"/>
                  </a:lnTo>
                  <a:lnTo>
                    <a:pt x="690" y="1210"/>
                  </a:lnTo>
                  <a:lnTo>
                    <a:pt x="690" y="1220"/>
                  </a:lnTo>
                  <a:lnTo>
                    <a:pt x="690" y="1220"/>
                  </a:lnTo>
                  <a:lnTo>
                    <a:pt x="680" y="1224"/>
                  </a:lnTo>
                  <a:lnTo>
                    <a:pt x="664" y="1230"/>
                  </a:lnTo>
                  <a:lnTo>
                    <a:pt x="656" y="1232"/>
                  </a:lnTo>
                  <a:lnTo>
                    <a:pt x="646" y="1230"/>
                  </a:lnTo>
                  <a:lnTo>
                    <a:pt x="636" y="1228"/>
                  </a:lnTo>
                  <a:lnTo>
                    <a:pt x="628" y="1222"/>
                  </a:lnTo>
                  <a:lnTo>
                    <a:pt x="628" y="1222"/>
                  </a:lnTo>
                  <a:lnTo>
                    <a:pt x="614" y="1210"/>
                  </a:lnTo>
                  <a:lnTo>
                    <a:pt x="600" y="1204"/>
                  </a:lnTo>
                  <a:lnTo>
                    <a:pt x="590" y="1198"/>
                  </a:lnTo>
                  <a:lnTo>
                    <a:pt x="590" y="1198"/>
                  </a:lnTo>
                  <a:lnTo>
                    <a:pt x="574" y="1196"/>
                  </a:lnTo>
                  <a:lnTo>
                    <a:pt x="560" y="1198"/>
                  </a:lnTo>
                  <a:lnTo>
                    <a:pt x="552" y="1200"/>
                  </a:lnTo>
                  <a:lnTo>
                    <a:pt x="546" y="1204"/>
                  </a:lnTo>
                  <a:lnTo>
                    <a:pt x="546" y="1204"/>
                  </a:lnTo>
                  <a:lnTo>
                    <a:pt x="542" y="1208"/>
                  </a:lnTo>
                  <a:lnTo>
                    <a:pt x="538" y="1212"/>
                  </a:lnTo>
                  <a:lnTo>
                    <a:pt x="536" y="1220"/>
                  </a:lnTo>
                  <a:lnTo>
                    <a:pt x="534" y="1222"/>
                  </a:lnTo>
                  <a:lnTo>
                    <a:pt x="530" y="1226"/>
                  </a:lnTo>
                  <a:lnTo>
                    <a:pt x="524" y="1226"/>
                  </a:lnTo>
                  <a:lnTo>
                    <a:pt x="514" y="1228"/>
                  </a:lnTo>
                  <a:lnTo>
                    <a:pt x="514" y="1228"/>
                  </a:lnTo>
                  <a:lnTo>
                    <a:pt x="478" y="1224"/>
                  </a:lnTo>
                  <a:lnTo>
                    <a:pt x="466" y="1222"/>
                  </a:lnTo>
                  <a:lnTo>
                    <a:pt x="458" y="1218"/>
                  </a:lnTo>
                  <a:lnTo>
                    <a:pt x="458" y="1218"/>
                  </a:lnTo>
                  <a:lnTo>
                    <a:pt x="454" y="1216"/>
                  </a:lnTo>
                  <a:lnTo>
                    <a:pt x="448" y="1216"/>
                  </a:lnTo>
                  <a:lnTo>
                    <a:pt x="434" y="1218"/>
                  </a:lnTo>
                  <a:lnTo>
                    <a:pt x="422" y="1218"/>
                  </a:lnTo>
                  <a:lnTo>
                    <a:pt x="412" y="1218"/>
                  </a:lnTo>
                  <a:lnTo>
                    <a:pt x="412" y="1218"/>
                  </a:lnTo>
                  <a:lnTo>
                    <a:pt x="404" y="1214"/>
                  </a:lnTo>
                  <a:lnTo>
                    <a:pt x="376" y="1198"/>
                  </a:lnTo>
                  <a:lnTo>
                    <a:pt x="376" y="1198"/>
                  </a:lnTo>
                  <a:lnTo>
                    <a:pt x="354" y="1186"/>
                  </a:lnTo>
                  <a:lnTo>
                    <a:pt x="338" y="1180"/>
                  </a:lnTo>
                  <a:lnTo>
                    <a:pt x="320" y="1174"/>
                  </a:lnTo>
                  <a:lnTo>
                    <a:pt x="320" y="1174"/>
                  </a:lnTo>
                  <a:lnTo>
                    <a:pt x="318" y="1174"/>
                  </a:lnTo>
                  <a:lnTo>
                    <a:pt x="318" y="1170"/>
                  </a:lnTo>
                  <a:lnTo>
                    <a:pt x="312" y="1164"/>
                  </a:lnTo>
                  <a:lnTo>
                    <a:pt x="308" y="1160"/>
                  </a:lnTo>
                  <a:lnTo>
                    <a:pt x="302" y="1156"/>
                  </a:lnTo>
                  <a:lnTo>
                    <a:pt x="294" y="1152"/>
                  </a:lnTo>
                  <a:lnTo>
                    <a:pt x="282" y="1152"/>
                  </a:lnTo>
                  <a:lnTo>
                    <a:pt x="282" y="1152"/>
                  </a:lnTo>
                  <a:lnTo>
                    <a:pt x="258" y="1150"/>
                  </a:lnTo>
                  <a:lnTo>
                    <a:pt x="236" y="1152"/>
                  </a:lnTo>
                  <a:lnTo>
                    <a:pt x="200" y="1156"/>
                  </a:lnTo>
                  <a:lnTo>
                    <a:pt x="200" y="1156"/>
                  </a:lnTo>
                  <a:lnTo>
                    <a:pt x="178" y="1156"/>
                  </a:lnTo>
                  <a:lnTo>
                    <a:pt x="158" y="1152"/>
                  </a:lnTo>
                  <a:lnTo>
                    <a:pt x="148" y="1150"/>
                  </a:lnTo>
                  <a:lnTo>
                    <a:pt x="142" y="1146"/>
                  </a:lnTo>
                  <a:lnTo>
                    <a:pt x="136" y="1142"/>
                  </a:lnTo>
                  <a:lnTo>
                    <a:pt x="134" y="1136"/>
                  </a:lnTo>
                  <a:lnTo>
                    <a:pt x="134" y="1136"/>
                  </a:lnTo>
                  <a:lnTo>
                    <a:pt x="136" y="1128"/>
                  </a:lnTo>
                  <a:lnTo>
                    <a:pt x="138" y="1118"/>
                  </a:lnTo>
                  <a:lnTo>
                    <a:pt x="144" y="1094"/>
                  </a:lnTo>
                  <a:lnTo>
                    <a:pt x="152" y="1070"/>
                  </a:lnTo>
                  <a:lnTo>
                    <a:pt x="156" y="1052"/>
                  </a:lnTo>
                  <a:lnTo>
                    <a:pt x="156" y="1052"/>
                  </a:lnTo>
                  <a:lnTo>
                    <a:pt x="158" y="1034"/>
                  </a:lnTo>
                  <a:lnTo>
                    <a:pt x="160" y="1016"/>
                  </a:lnTo>
                  <a:lnTo>
                    <a:pt x="162" y="1008"/>
                  </a:lnTo>
                  <a:lnTo>
                    <a:pt x="166" y="1000"/>
                  </a:lnTo>
                  <a:lnTo>
                    <a:pt x="172" y="992"/>
                  </a:lnTo>
                  <a:lnTo>
                    <a:pt x="180" y="984"/>
                  </a:lnTo>
                  <a:lnTo>
                    <a:pt x="180" y="984"/>
                  </a:lnTo>
                  <a:lnTo>
                    <a:pt x="216" y="958"/>
                  </a:lnTo>
                  <a:lnTo>
                    <a:pt x="234" y="944"/>
                  </a:lnTo>
                  <a:lnTo>
                    <a:pt x="234" y="944"/>
                  </a:lnTo>
                  <a:lnTo>
                    <a:pt x="176" y="920"/>
                  </a:lnTo>
                  <a:lnTo>
                    <a:pt x="136" y="902"/>
                  </a:lnTo>
                  <a:lnTo>
                    <a:pt x="114" y="892"/>
                  </a:lnTo>
                  <a:lnTo>
                    <a:pt x="114" y="892"/>
                  </a:lnTo>
                  <a:lnTo>
                    <a:pt x="108" y="890"/>
                  </a:lnTo>
                  <a:lnTo>
                    <a:pt x="96" y="884"/>
                  </a:lnTo>
                  <a:lnTo>
                    <a:pt x="90" y="880"/>
                  </a:lnTo>
                  <a:lnTo>
                    <a:pt x="82" y="874"/>
                  </a:lnTo>
                  <a:lnTo>
                    <a:pt x="76" y="866"/>
                  </a:lnTo>
                  <a:lnTo>
                    <a:pt x="68" y="852"/>
                  </a:lnTo>
                  <a:lnTo>
                    <a:pt x="68" y="852"/>
                  </a:lnTo>
                  <a:lnTo>
                    <a:pt x="62" y="840"/>
                  </a:lnTo>
                  <a:lnTo>
                    <a:pt x="54" y="830"/>
                  </a:lnTo>
                  <a:lnTo>
                    <a:pt x="44" y="822"/>
                  </a:lnTo>
                  <a:lnTo>
                    <a:pt x="36" y="814"/>
                  </a:lnTo>
                  <a:lnTo>
                    <a:pt x="22" y="804"/>
                  </a:lnTo>
                  <a:lnTo>
                    <a:pt x="18" y="798"/>
                  </a:lnTo>
                  <a:lnTo>
                    <a:pt x="14" y="792"/>
                  </a:lnTo>
                  <a:lnTo>
                    <a:pt x="14" y="792"/>
                  </a:lnTo>
                  <a:lnTo>
                    <a:pt x="8" y="778"/>
                  </a:lnTo>
                  <a:lnTo>
                    <a:pt x="2" y="760"/>
                  </a:lnTo>
                  <a:lnTo>
                    <a:pt x="0" y="752"/>
                  </a:lnTo>
                  <a:lnTo>
                    <a:pt x="2" y="744"/>
                  </a:lnTo>
                  <a:lnTo>
                    <a:pt x="6" y="738"/>
                  </a:lnTo>
                  <a:lnTo>
                    <a:pt x="16" y="732"/>
                  </a:lnTo>
                  <a:lnTo>
                    <a:pt x="16" y="732"/>
                  </a:lnTo>
                  <a:lnTo>
                    <a:pt x="40" y="724"/>
                  </a:lnTo>
                  <a:lnTo>
                    <a:pt x="48" y="720"/>
                  </a:lnTo>
                  <a:lnTo>
                    <a:pt x="58" y="714"/>
                  </a:lnTo>
                  <a:lnTo>
                    <a:pt x="64" y="708"/>
                  </a:lnTo>
                  <a:lnTo>
                    <a:pt x="68" y="702"/>
                  </a:lnTo>
                  <a:lnTo>
                    <a:pt x="72" y="694"/>
                  </a:lnTo>
                  <a:lnTo>
                    <a:pt x="72" y="682"/>
                  </a:lnTo>
                  <a:lnTo>
                    <a:pt x="72" y="682"/>
                  </a:lnTo>
                  <a:lnTo>
                    <a:pt x="70" y="670"/>
                  </a:lnTo>
                  <a:lnTo>
                    <a:pt x="68" y="658"/>
                  </a:lnTo>
                  <a:lnTo>
                    <a:pt x="58" y="636"/>
                  </a:lnTo>
                  <a:lnTo>
                    <a:pt x="50" y="612"/>
                  </a:lnTo>
                  <a:lnTo>
                    <a:pt x="46" y="602"/>
                  </a:lnTo>
                  <a:lnTo>
                    <a:pt x="44" y="590"/>
                  </a:lnTo>
                  <a:lnTo>
                    <a:pt x="44" y="590"/>
                  </a:lnTo>
                  <a:lnTo>
                    <a:pt x="44" y="568"/>
                  </a:lnTo>
                  <a:lnTo>
                    <a:pt x="46" y="548"/>
                  </a:lnTo>
                  <a:lnTo>
                    <a:pt x="52" y="534"/>
                  </a:lnTo>
                  <a:lnTo>
                    <a:pt x="54" y="530"/>
                  </a:lnTo>
                  <a:lnTo>
                    <a:pt x="58" y="526"/>
                  </a:lnTo>
                  <a:lnTo>
                    <a:pt x="58" y="526"/>
                  </a:lnTo>
                  <a:lnTo>
                    <a:pt x="62" y="526"/>
                  </a:lnTo>
                  <a:lnTo>
                    <a:pt x="66" y="526"/>
                  </a:lnTo>
                  <a:lnTo>
                    <a:pt x="74" y="528"/>
                  </a:lnTo>
                  <a:lnTo>
                    <a:pt x="76" y="526"/>
                  </a:lnTo>
                  <a:lnTo>
                    <a:pt x="80" y="522"/>
                  </a:lnTo>
                  <a:lnTo>
                    <a:pt x="80" y="514"/>
                  </a:lnTo>
                  <a:lnTo>
                    <a:pt x="80" y="502"/>
                  </a:lnTo>
                  <a:lnTo>
                    <a:pt x="80" y="502"/>
                  </a:lnTo>
                  <a:lnTo>
                    <a:pt x="80" y="488"/>
                  </a:lnTo>
                  <a:lnTo>
                    <a:pt x="76" y="476"/>
                  </a:lnTo>
                  <a:lnTo>
                    <a:pt x="66" y="456"/>
                  </a:lnTo>
                  <a:lnTo>
                    <a:pt x="62" y="448"/>
                  </a:lnTo>
                  <a:lnTo>
                    <a:pt x="62" y="444"/>
                  </a:lnTo>
                  <a:lnTo>
                    <a:pt x="62" y="440"/>
                  </a:lnTo>
                  <a:lnTo>
                    <a:pt x="68" y="438"/>
                  </a:lnTo>
                  <a:lnTo>
                    <a:pt x="68" y="438"/>
                  </a:lnTo>
                  <a:lnTo>
                    <a:pt x="80" y="436"/>
                  </a:lnTo>
                  <a:lnTo>
                    <a:pt x="90" y="434"/>
                  </a:lnTo>
                  <a:lnTo>
                    <a:pt x="102" y="432"/>
                  </a:lnTo>
                  <a:lnTo>
                    <a:pt x="122" y="428"/>
                  </a:lnTo>
                  <a:lnTo>
                    <a:pt x="122" y="428"/>
                  </a:lnTo>
                  <a:lnTo>
                    <a:pt x="134" y="428"/>
                  </a:lnTo>
                  <a:lnTo>
                    <a:pt x="144" y="432"/>
                  </a:lnTo>
                  <a:lnTo>
                    <a:pt x="160" y="442"/>
                  </a:lnTo>
                  <a:lnTo>
                    <a:pt x="164" y="444"/>
                  </a:lnTo>
                  <a:lnTo>
                    <a:pt x="166" y="444"/>
                  </a:lnTo>
                  <a:lnTo>
                    <a:pt x="168" y="442"/>
                  </a:lnTo>
                  <a:lnTo>
                    <a:pt x="172" y="432"/>
                  </a:lnTo>
                  <a:lnTo>
                    <a:pt x="174" y="414"/>
                  </a:lnTo>
                  <a:lnTo>
                    <a:pt x="174" y="414"/>
                  </a:lnTo>
                  <a:lnTo>
                    <a:pt x="174" y="394"/>
                  </a:lnTo>
                  <a:lnTo>
                    <a:pt x="170" y="378"/>
                  </a:lnTo>
                  <a:lnTo>
                    <a:pt x="164" y="366"/>
                  </a:lnTo>
                  <a:lnTo>
                    <a:pt x="158" y="356"/>
                  </a:lnTo>
                  <a:lnTo>
                    <a:pt x="148" y="342"/>
                  </a:lnTo>
                  <a:lnTo>
                    <a:pt x="148" y="338"/>
                  </a:lnTo>
                  <a:lnTo>
                    <a:pt x="150" y="332"/>
                  </a:lnTo>
                  <a:lnTo>
                    <a:pt x="150" y="332"/>
                  </a:lnTo>
                  <a:lnTo>
                    <a:pt x="160" y="326"/>
                  </a:lnTo>
                  <a:lnTo>
                    <a:pt x="168" y="324"/>
                  </a:lnTo>
                  <a:lnTo>
                    <a:pt x="176" y="318"/>
                  </a:lnTo>
                  <a:lnTo>
                    <a:pt x="186" y="308"/>
                  </a:lnTo>
                  <a:lnTo>
                    <a:pt x="186" y="308"/>
                  </a:lnTo>
                  <a:lnTo>
                    <a:pt x="192" y="304"/>
                  </a:lnTo>
                  <a:lnTo>
                    <a:pt x="196" y="300"/>
                  </a:lnTo>
                  <a:lnTo>
                    <a:pt x="204" y="296"/>
                  </a:lnTo>
                  <a:lnTo>
                    <a:pt x="206" y="294"/>
                  </a:lnTo>
                  <a:lnTo>
                    <a:pt x="208" y="286"/>
                  </a:lnTo>
                  <a:lnTo>
                    <a:pt x="208" y="256"/>
                  </a:lnTo>
                  <a:lnTo>
                    <a:pt x="208" y="256"/>
                  </a:lnTo>
                  <a:lnTo>
                    <a:pt x="208" y="236"/>
                  </a:lnTo>
                  <a:lnTo>
                    <a:pt x="206" y="220"/>
                  </a:lnTo>
                  <a:lnTo>
                    <a:pt x="202" y="198"/>
                  </a:lnTo>
                  <a:lnTo>
                    <a:pt x="198" y="186"/>
                  </a:lnTo>
                  <a:lnTo>
                    <a:pt x="196" y="182"/>
                  </a:lnTo>
                  <a:lnTo>
                    <a:pt x="198" y="180"/>
                  </a:lnTo>
                  <a:lnTo>
                    <a:pt x="198" y="180"/>
                  </a:lnTo>
                  <a:lnTo>
                    <a:pt x="208" y="172"/>
                  </a:lnTo>
                  <a:lnTo>
                    <a:pt x="226" y="164"/>
                  </a:lnTo>
                  <a:lnTo>
                    <a:pt x="246" y="156"/>
                  </a:lnTo>
                  <a:lnTo>
                    <a:pt x="256" y="154"/>
                  </a:lnTo>
                  <a:lnTo>
                    <a:pt x="262" y="152"/>
                  </a:lnTo>
                  <a:lnTo>
                    <a:pt x="262" y="152"/>
                  </a:lnTo>
                  <a:lnTo>
                    <a:pt x="268" y="154"/>
                  </a:lnTo>
                  <a:lnTo>
                    <a:pt x="274" y="158"/>
                  </a:lnTo>
                  <a:lnTo>
                    <a:pt x="284" y="170"/>
                  </a:lnTo>
                  <a:lnTo>
                    <a:pt x="298" y="190"/>
                  </a:lnTo>
                  <a:lnTo>
                    <a:pt x="298" y="190"/>
                  </a:lnTo>
                  <a:lnTo>
                    <a:pt x="298" y="192"/>
                  </a:lnTo>
                  <a:lnTo>
                    <a:pt x="298" y="194"/>
                  </a:lnTo>
                  <a:lnTo>
                    <a:pt x="294" y="200"/>
                  </a:lnTo>
                  <a:lnTo>
                    <a:pt x="294" y="202"/>
                  </a:lnTo>
                  <a:lnTo>
                    <a:pt x="294" y="204"/>
                  </a:lnTo>
                  <a:lnTo>
                    <a:pt x="298" y="206"/>
                  </a:lnTo>
                  <a:lnTo>
                    <a:pt x="304" y="208"/>
                  </a:lnTo>
                  <a:lnTo>
                    <a:pt x="304" y="208"/>
                  </a:lnTo>
                  <a:lnTo>
                    <a:pt x="310" y="208"/>
                  </a:lnTo>
                  <a:lnTo>
                    <a:pt x="316" y="206"/>
                  </a:lnTo>
                  <a:lnTo>
                    <a:pt x="320" y="202"/>
                  </a:lnTo>
                  <a:lnTo>
                    <a:pt x="322" y="196"/>
                  </a:lnTo>
                  <a:lnTo>
                    <a:pt x="330" y="184"/>
                  </a:lnTo>
                  <a:lnTo>
                    <a:pt x="336" y="178"/>
                  </a:lnTo>
                  <a:lnTo>
                    <a:pt x="342" y="170"/>
                  </a:lnTo>
                  <a:lnTo>
                    <a:pt x="342" y="170"/>
                  </a:lnTo>
                  <a:lnTo>
                    <a:pt x="366" y="150"/>
                  </a:lnTo>
                  <a:lnTo>
                    <a:pt x="374" y="146"/>
                  </a:lnTo>
                  <a:lnTo>
                    <a:pt x="378" y="146"/>
                  </a:lnTo>
                  <a:lnTo>
                    <a:pt x="380" y="148"/>
                  </a:lnTo>
                  <a:lnTo>
                    <a:pt x="380" y="148"/>
                  </a:lnTo>
                  <a:lnTo>
                    <a:pt x="382" y="150"/>
                  </a:lnTo>
                  <a:lnTo>
                    <a:pt x="382" y="152"/>
                  </a:lnTo>
                  <a:lnTo>
                    <a:pt x="382" y="152"/>
                  </a:lnTo>
                  <a:lnTo>
                    <a:pt x="380" y="146"/>
                  </a:lnTo>
                  <a:lnTo>
                    <a:pt x="382" y="128"/>
                  </a:lnTo>
                  <a:lnTo>
                    <a:pt x="382" y="128"/>
                  </a:lnTo>
                  <a:lnTo>
                    <a:pt x="392" y="84"/>
                  </a:lnTo>
                  <a:lnTo>
                    <a:pt x="394" y="68"/>
                  </a:lnTo>
                  <a:lnTo>
                    <a:pt x="394" y="60"/>
                  </a:lnTo>
                  <a:lnTo>
                    <a:pt x="394" y="54"/>
                  </a:lnTo>
                  <a:lnTo>
                    <a:pt x="394" y="54"/>
                  </a:lnTo>
                  <a:lnTo>
                    <a:pt x="384" y="22"/>
                  </a:lnTo>
                  <a:lnTo>
                    <a:pt x="380" y="0"/>
                  </a:lnTo>
                  <a:lnTo>
                    <a:pt x="442" y="34"/>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73" name="Freeform 40"/>
            <p:cNvSpPr>
              <a:spLocks/>
            </p:cNvSpPr>
            <p:nvPr/>
          </p:nvSpPr>
          <p:spPr bwMode="auto">
            <a:xfrm>
              <a:off x="3383425" y="4168395"/>
              <a:ext cx="269795" cy="275891"/>
            </a:xfrm>
            <a:custGeom>
              <a:avLst/>
              <a:gdLst/>
              <a:ahLst/>
              <a:cxnLst>
                <a:cxn ang="0">
                  <a:pos x="10" y="44"/>
                </a:cxn>
                <a:cxn ang="0">
                  <a:pos x="58" y="20"/>
                </a:cxn>
                <a:cxn ang="0">
                  <a:pos x="66" y="16"/>
                </a:cxn>
                <a:cxn ang="0">
                  <a:pos x="78" y="4"/>
                </a:cxn>
                <a:cxn ang="0">
                  <a:pos x="86" y="0"/>
                </a:cxn>
                <a:cxn ang="0">
                  <a:pos x="96" y="2"/>
                </a:cxn>
                <a:cxn ang="0">
                  <a:pos x="108" y="8"/>
                </a:cxn>
                <a:cxn ang="0">
                  <a:pos x="120" y="18"/>
                </a:cxn>
                <a:cxn ang="0">
                  <a:pos x="128" y="22"/>
                </a:cxn>
                <a:cxn ang="0">
                  <a:pos x="142" y="28"/>
                </a:cxn>
                <a:cxn ang="0">
                  <a:pos x="150" y="22"/>
                </a:cxn>
                <a:cxn ang="0">
                  <a:pos x="168" y="10"/>
                </a:cxn>
                <a:cxn ang="0">
                  <a:pos x="178" y="12"/>
                </a:cxn>
                <a:cxn ang="0">
                  <a:pos x="196" y="22"/>
                </a:cxn>
                <a:cxn ang="0">
                  <a:pos x="216" y="36"/>
                </a:cxn>
                <a:cxn ang="0">
                  <a:pos x="248" y="56"/>
                </a:cxn>
                <a:cxn ang="0">
                  <a:pos x="260" y="68"/>
                </a:cxn>
                <a:cxn ang="0">
                  <a:pos x="300" y="94"/>
                </a:cxn>
                <a:cxn ang="0">
                  <a:pos x="326" y="108"/>
                </a:cxn>
                <a:cxn ang="0">
                  <a:pos x="324" y="148"/>
                </a:cxn>
                <a:cxn ang="0">
                  <a:pos x="324" y="160"/>
                </a:cxn>
                <a:cxn ang="0">
                  <a:pos x="338" y="192"/>
                </a:cxn>
                <a:cxn ang="0">
                  <a:pos x="350" y="226"/>
                </a:cxn>
                <a:cxn ang="0">
                  <a:pos x="352" y="240"/>
                </a:cxn>
                <a:cxn ang="0">
                  <a:pos x="354" y="264"/>
                </a:cxn>
                <a:cxn ang="0">
                  <a:pos x="350" y="276"/>
                </a:cxn>
                <a:cxn ang="0">
                  <a:pos x="344" y="280"/>
                </a:cxn>
                <a:cxn ang="0">
                  <a:pos x="296" y="302"/>
                </a:cxn>
                <a:cxn ang="0">
                  <a:pos x="280" y="316"/>
                </a:cxn>
                <a:cxn ang="0">
                  <a:pos x="278" y="326"/>
                </a:cxn>
                <a:cxn ang="0">
                  <a:pos x="282" y="338"/>
                </a:cxn>
                <a:cxn ang="0">
                  <a:pos x="294" y="362"/>
                </a:cxn>
                <a:cxn ang="0">
                  <a:pos x="278" y="358"/>
                </a:cxn>
                <a:cxn ang="0">
                  <a:pos x="252" y="346"/>
                </a:cxn>
                <a:cxn ang="0">
                  <a:pos x="240" y="340"/>
                </a:cxn>
                <a:cxn ang="0">
                  <a:pos x="214" y="324"/>
                </a:cxn>
                <a:cxn ang="0">
                  <a:pos x="200" y="308"/>
                </a:cxn>
                <a:cxn ang="0">
                  <a:pos x="194" y="298"/>
                </a:cxn>
                <a:cxn ang="0">
                  <a:pos x="168" y="256"/>
                </a:cxn>
                <a:cxn ang="0">
                  <a:pos x="150" y="228"/>
                </a:cxn>
                <a:cxn ang="0">
                  <a:pos x="142" y="214"/>
                </a:cxn>
                <a:cxn ang="0">
                  <a:pos x="112" y="176"/>
                </a:cxn>
                <a:cxn ang="0">
                  <a:pos x="94" y="162"/>
                </a:cxn>
                <a:cxn ang="0">
                  <a:pos x="86" y="156"/>
                </a:cxn>
                <a:cxn ang="0">
                  <a:pos x="78" y="142"/>
                </a:cxn>
                <a:cxn ang="0">
                  <a:pos x="74" y="122"/>
                </a:cxn>
                <a:cxn ang="0">
                  <a:pos x="72" y="110"/>
                </a:cxn>
                <a:cxn ang="0">
                  <a:pos x="66" y="94"/>
                </a:cxn>
                <a:cxn ang="0">
                  <a:pos x="38" y="82"/>
                </a:cxn>
                <a:cxn ang="0">
                  <a:pos x="26" y="78"/>
                </a:cxn>
                <a:cxn ang="0">
                  <a:pos x="8" y="68"/>
                </a:cxn>
                <a:cxn ang="0">
                  <a:pos x="0" y="56"/>
                </a:cxn>
                <a:cxn ang="0">
                  <a:pos x="2" y="48"/>
                </a:cxn>
                <a:cxn ang="0">
                  <a:pos x="10" y="44"/>
                </a:cxn>
              </a:cxnLst>
              <a:rect l="0" t="0" r="r" b="b"/>
              <a:pathLst>
                <a:path w="354" h="362">
                  <a:moveTo>
                    <a:pt x="10" y="44"/>
                  </a:moveTo>
                  <a:lnTo>
                    <a:pt x="10" y="44"/>
                  </a:lnTo>
                  <a:lnTo>
                    <a:pt x="26" y="34"/>
                  </a:lnTo>
                  <a:lnTo>
                    <a:pt x="58" y="20"/>
                  </a:lnTo>
                  <a:lnTo>
                    <a:pt x="58" y="20"/>
                  </a:lnTo>
                  <a:lnTo>
                    <a:pt x="66" y="16"/>
                  </a:lnTo>
                  <a:lnTo>
                    <a:pt x="70" y="12"/>
                  </a:lnTo>
                  <a:lnTo>
                    <a:pt x="78" y="4"/>
                  </a:lnTo>
                  <a:lnTo>
                    <a:pt x="82" y="0"/>
                  </a:lnTo>
                  <a:lnTo>
                    <a:pt x="86" y="0"/>
                  </a:lnTo>
                  <a:lnTo>
                    <a:pt x="90" y="0"/>
                  </a:lnTo>
                  <a:lnTo>
                    <a:pt x="96" y="2"/>
                  </a:lnTo>
                  <a:lnTo>
                    <a:pt x="96" y="2"/>
                  </a:lnTo>
                  <a:lnTo>
                    <a:pt x="108" y="8"/>
                  </a:lnTo>
                  <a:lnTo>
                    <a:pt x="114" y="14"/>
                  </a:lnTo>
                  <a:lnTo>
                    <a:pt x="120" y="18"/>
                  </a:lnTo>
                  <a:lnTo>
                    <a:pt x="128" y="22"/>
                  </a:lnTo>
                  <a:lnTo>
                    <a:pt x="128" y="22"/>
                  </a:lnTo>
                  <a:lnTo>
                    <a:pt x="138" y="28"/>
                  </a:lnTo>
                  <a:lnTo>
                    <a:pt x="142" y="28"/>
                  </a:lnTo>
                  <a:lnTo>
                    <a:pt x="150" y="22"/>
                  </a:lnTo>
                  <a:lnTo>
                    <a:pt x="150" y="22"/>
                  </a:lnTo>
                  <a:lnTo>
                    <a:pt x="160" y="16"/>
                  </a:lnTo>
                  <a:lnTo>
                    <a:pt x="168" y="10"/>
                  </a:lnTo>
                  <a:lnTo>
                    <a:pt x="172" y="10"/>
                  </a:lnTo>
                  <a:lnTo>
                    <a:pt x="178" y="12"/>
                  </a:lnTo>
                  <a:lnTo>
                    <a:pt x="186" y="14"/>
                  </a:lnTo>
                  <a:lnTo>
                    <a:pt x="196" y="22"/>
                  </a:lnTo>
                  <a:lnTo>
                    <a:pt x="196" y="22"/>
                  </a:lnTo>
                  <a:lnTo>
                    <a:pt x="216" y="36"/>
                  </a:lnTo>
                  <a:lnTo>
                    <a:pt x="232" y="46"/>
                  </a:lnTo>
                  <a:lnTo>
                    <a:pt x="248" y="56"/>
                  </a:lnTo>
                  <a:lnTo>
                    <a:pt x="260" y="68"/>
                  </a:lnTo>
                  <a:lnTo>
                    <a:pt x="260" y="68"/>
                  </a:lnTo>
                  <a:lnTo>
                    <a:pt x="278" y="80"/>
                  </a:lnTo>
                  <a:lnTo>
                    <a:pt x="300" y="94"/>
                  </a:lnTo>
                  <a:lnTo>
                    <a:pt x="326" y="108"/>
                  </a:lnTo>
                  <a:lnTo>
                    <a:pt x="326" y="108"/>
                  </a:lnTo>
                  <a:lnTo>
                    <a:pt x="324" y="130"/>
                  </a:lnTo>
                  <a:lnTo>
                    <a:pt x="324" y="148"/>
                  </a:lnTo>
                  <a:lnTo>
                    <a:pt x="324" y="160"/>
                  </a:lnTo>
                  <a:lnTo>
                    <a:pt x="324" y="160"/>
                  </a:lnTo>
                  <a:lnTo>
                    <a:pt x="330" y="174"/>
                  </a:lnTo>
                  <a:lnTo>
                    <a:pt x="338" y="192"/>
                  </a:lnTo>
                  <a:lnTo>
                    <a:pt x="346" y="210"/>
                  </a:lnTo>
                  <a:lnTo>
                    <a:pt x="350" y="226"/>
                  </a:lnTo>
                  <a:lnTo>
                    <a:pt x="350" y="226"/>
                  </a:lnTo>
                  <a:lnTo>
                    <a:pt x="352" y="240"/>
                  </a:lnTo>
                  <a:lnTo>
                    <a:pt x="354" y="256"/>
                  </a:lnTo>
                  <a:lnTo>
                    <a:pt x="354" y="264"/>
                  </a:lnTo>
                  <a:lnTo>
                    <a:pt x="352" y="272"/>
                  </a:lnTo>
                  <a:lnTo>
                    <a:pt x="350" y="276"/>
                  </a:lnTo>
                  <a:lnTo>
                    <a:pt x="344" y="280"/>
                  </a:lnTo>
                  <a:lnTo>
                    <a:pt x="344" y="280"/>
                  </a:lnTo>
                  <a:lnTo>
                    <a:pt x="296" y="302"/>
                  </a:lnTo>
                  <a:lnTo>
                    <a:pt x="296" y="302"/>
                  </a:lnTo>
                  <a:lnTo>
                    <a:pt x="286" y="308"/>
                  </a:lnTo>
                  <a:lnTo>
                    <a:pt x="280" y="316"/>
                  </a:lnTo>
                  <a:lnTo>
                    <a:pt x="280" y="320"/>
                  </a:lnTo>
                  <a:lnTo>
                    <a:pt x="278" y="326"/>
                  </a:lnTo>
                  <a:lnTo>
                    <a:pt x="280" y="332"/>
                  </a:lnTo>
                  <a:lnTo>
                    <a:pt x="282" y="338"/>
                  </a:lnTo>
                  <a:lnTo>
                    <a:pt x="282" y="338"/>
                  </a:lnTo>
                  <a:lnTo>
                    <a:pt x="294" y="362"/>
                  </a:lnTo>
                  <a:lnTo>
                    <a:pt x="294" y="362"/>
                  </a:lnTo>
                  <a:lnTo>
                    <a:pt x="278" y="358"/>
                  </a:lnTo>
                  <a:lnTo>
                    <a:pt x="266" y="354"/>
                  </a:lnTo>
                  <a:lnTo>
                    <a:pt x="252" y="346"/>
                  </a:lnTo>
                  <a:lnTo>
                    <a:pt x="252" y="346"/>
                  </a:lnTo>
                  <a:lnTo>
                    <a:pt x="240" y="340"/>
                  </a:lnTo>
                  <a:lnTo>
                    <a:pt x="224" y="330"/>
                  </a:lnTo>
                  <a:lnTo>
                    <a:pt x="214" y="324"/>
                  </a:lnTo>
                  <a:lnTo>
                    <a:pt x="206" y="318"/>
                  </a:lnTo>
                  <a:lnTo>
                    <a:pt x="200" y="308"/>
                  </a:lnTo>
                  <a:lnTo>
                    <a:pt x="194" y="298"/>
                  </a:lnTo>
                  <a:lnTo>
                    <a:pt x="194" y="298"/>
                  </a:lnTo>
                  <a:lnTo>
                    <a:pt x="182" y="276"/>
                  </a:lnTo>
                  <a:lnTo>
                    <a:pt x="168" y="256"/>
                  </a:lnTo>
                  <a:lnTo>
                    <a:pt x="158" y="240"/>
                  </a:lnTo>
                  <a:lnTo>
                    <a:pt x="150" y="228"/>
                  </a:lnTo>
                  <a:lnTo>
                    <a:pt x="150" y="228"/>
                  </a:lnTo>
                  <a:lnTo>
                    <a:pt x="142" y="214"/>
                  </a:lnTo>
                  <a:lnTo>
                    <a:pt x="128" y="196"/>
                  </a:lnTo>
                  <a:lnTo>
                    <a:pt x="112" y="176"/>
                  </a:lnTo>
                  <a:lnTo>
                    <a:pt x="104" y="168"/>
                  </a:lnTo>
                  <a:lnTo>
                    <a:pt x="94" y="162"/>
                  </a:lnTo>
                  <a:lnTo>
                    <a:pt x="94" y="162"/>
                  </a:lnTo>
                  <a:lnTo>
                    <a:pt x="86" y="156"/>
                  </a:lnTo>
                  <a:lnTo>
                    <a:pt x="80" y="148"/>
                  </a:lnTo>
                  <a:lnTo>
                    <a:pt x="78" y="142"/>
                  </a:lnTo>
                  <a:lnTo>
                    <a:pt x="76" y="134"/>
                  </a:lnTo>
                  <a:lnTo>
                    <a:pt x="74" y="122"/>
                  </a:lnTo>
                  <a:lnTo>
                    <a:pt x="72" y="110"/>
                  </a:lnTo>
                  <a:lnTo>
                    <a:pt x="72" y="110"/>
                  </a:lnTo>
                  <a:lnTo>
                    <a:pt x="70" y="100"/>
                  </a:lnTo>
                  <a:lnTo>
                    <a:pt x="66" y="94"/>
                  </a:lnTo>
                  <a:lnTo>
                    <a:pt x="56" y="88"/>
                  </a:lnTo>
                  <a:lnTo>
                    <a:pt x="38" y="82"/>
                  </a:lnTo>
                  <a:lnTo>
                    <a:pt x="38" y="82"/>
                  </a:lnTo>
                  <a:lnTo>
                    <a:pt x="26" y="78"/>
                  </a:lnTo>
                  <a:lnTo>
                    <a:pt x="16" y="74"/>
                  </a:lnTo>
                  <a:lnTo>
                    <a:pt x="8" y="68"/>
                  </a:lnTo>
                  <a:lnTo>
                    <a:pt x="2" y="62"/>
                  </a:lnTo>
                  <a:lnTo>
                    <a:pt x="0" y="56"/>
                  </a:lnTo>
                  <a:lnTo>
                    <a:pt x="0" y="52"/>
                  </a:lnTo>
                  <a:lnTo>
                    <a:pt x="2" y="48"/>
                  </a:lnTo>
                  <a:lnTo>
                    <a:pt x="10" y="44"/>
                  </a:lnTo>
                  <a:lnTo>
                    <a:pt x="10" y="44"/>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74" name="Freeform 41"/>
            <p:cNvSpPr>
              <a:spLocks/>
            </p:cNvSpPr>
            <p:nvPr/>
          </p:nvSpPr>
          <p:spPr bwMode="auto">
            <a:xfrm>
              <a:off x="3473357" y="3962618"/>
              <a:ext cx="283514" cy="288087"/>
            </a:xfrm>
            <a:custGeom>
              <a:avLst/>
              <a:gdLst/>
              <a:ahLst/>
              <a:cxnLst>
                <a:cxn ang="0">
                  <a:pos x="360" y="22"/>
                </a:cxn>
                <a:cxn ang="0">
                  <a:pos x="352" y="28"/>
                </a:cxn>
                <a:cxn ang="0">
                  <a:pos x="324" y="26"/>
                </a:cxn>
                <a:cxn ang="0">
                  <a:pos x="284" y="20"/>
                </a:cxn>
                <a:cxn ang="0">
                  <a:pos x="268" y="12"/>
                </a:cxn>
                <a:cxn ang="0">
                  <a:pos x="214" y="0"/>
                </a:cxn>
                <a:cxn ang="0">
                  <a:pos x="216" y="28"/>
                </a:cxn>
                <a:cxn ang="0">
                  <a:pos x="212" y="52"/>
                </a:cxn>
                <a:cxn ang="0">
                  <a:pos x="206" y="94"/>
                </a:cxn>
                <a:cxn ang="0">
                  <a:pos x="198" y="112"/>
                </a:cxn>
                <a:cxn ang="0">
                  <a:pos x="194" y="112"/>
                </a:cxn>
                <a:cxn ang="0">
                  <a:pos x="186" y="88"/>
                </a:cxn>
                <a:cxn ang="0">
                  <a:pos x="180" y="70"/>
                </a:cxn>
                <a:cxn ang="0">
                  <a:pos x="168" y="58"/>
                </a:cxn>
                <a:cxn ang="0">
                  <a:pos x="162" y="62"/>
                </a:cxn>
                <a:cxn ang="0">
                  <a:pos x="132" y="110"/>
                </a:cxn>
                <a:cxn ang="0">
                  <a:pos x="90" y="180"/>
                </a:cxn>
                <a:cxn ang="0">
                  <a:pos x="76" y="194"/>
                </a:cxn>
                <a:cxn ang="0">
                  <a:pos x="40" y="216"/>
                </a:cxn>
                <a:cxn ang="0">
                  <a:pos x="34" y="228"/>
                </a:cxn>
                <a:cxn ang="0">
                  <a:pos x="14" y="262"/>
                </a:cxn>
                <a:cxn ang="0">
                  <a:pos x="4" y="270"/>
                </a:cxn>
                <a:cxn ang="0">
                  <a:pos x="4" y="290"/>
                </a:cxn>
                <a:cxn ang="0">
                  <a:pos x="18" y="294"/>
                </a:cxn>
                <a:cxn ang="0">
                  <a:pos x="38" y="290"/>
                </a:cxn>
                <a:cxn ang="0">
                  <a:pos x="62" y="280"/>
                </a:cxn>
                <a:cxn ang="0">
                  <a:pos x="142" y="338"/>
                </a:cxn>
                <a:cxn ang="0">
                  <a:pos x="208" y="378"/>
                </a:cxn>
                <a:cxn ang="0">
                  <a:pos x="224" y="368"/>
                </a:cxn>
                <a:cxn ang="0">
                  <a:pos x="232" y="370"/>
                </a:cxn>
                <a:cxn ang="0">
                  <a:pos x="244" y="358"/>
                </a:cxn>
                <a:cxn ang="0">
                  <a:pos x="244" y="338"/>
                </a:cxn>
                <a:cxn ang="0">
                  <a:pos x="230" y="302"/>
                </a:cxn>
                <a:cxn ang="0">
                  <a:pos x="222" y="284"/>
                </a:cxn>
                <a:cxn ang="0">
                  <a:pos x="230" y="278"/>
                </a:cxn>
                <a:cxn ang="0">
                  <a:pos x="284" y="268"/>
                </a:cxn>
                <a:cxn ang="0">
                  <a:pos x="300" y="274"/>
                </a:cxn>
                <a:cxn ang="0">
                  <a:pos x="324" y="286"/>
                </a:cxn>
                <a:cxn ang="0">
                  <a:pos x="334" y="280"/>
                </a:cxn>
                <a:cxn ang="0">
                  <a:pos x="340" y="258"/>
                </a:cxn>
                <a:cxn ang="0">
                  <a:pos x="336" y="224"/>
                </a:cxn>
                <a:cxn ang="0">
                  <a:pos x="330" y="204"/>
                </a:cxn>
                <a:cxn ang="0">
                  <a:pos x="316" y="174"/>
                </a:cxn>
                <a:cxn ang="0">
                  <a:pos x="330" y="164"/>
                </a:cxn>
                <a:cxn ang="0">
                  <a:pos x="348" y="148"/>
                </a:cxn>
                <a:cxn ang="0">
                  <a:pos x="364" y="138"/>
                </a:cxn>
                <a:cxn ang="0">
                  <a:pos x="370" y="128"/>
                </a:cxn>
                <a:cxn ang="0">
                  <a:pos x="368" y="52"/>
                </a:cxn>
              </a:cxnLst>
              <a:rect l="0" t="0" r="r" b="b"/>
              <a:pathLst>
                <a:path w="372" h="378">
                  <a:moveTo>
                    <a:pt x="360" y="20"/>
                  </a:moveTo>
                  <a:lnTo>
                    <a:pt x="360" y="20"/>
                  </a:lnTo>
                  <a:lnTo>
                    <a:pt x="360" y="22"/>
                  </a:lnTo>
                  <a:lnTo>
                    <a:pt x="358" y="24"/>
                  </a:lnTo>
                  <a:lnTo>
                    <a:pt x="356" y="26"/>
                  </a:lnTo>
                  <a:lnTo>
                    <a:pt x="352" y="28"/>
                  </a:lnTo>
                  <a:lnTo>
                    <a:pt x="340" y="26"/>
                  </a:lnTo>
                  <a:lnTo>
                    <a:pt x="340" y="26"/>
                  </a:lnTo>
                  <a:lnTo>
                    <a:pt x="324" y="26"/>
                  </a:lnTo>
                  <a:lnTo>
                    <a:pt x="308" y="24"/>
                  </a:lnTo>
                  <a:lnTo>
                    <a:pt x="292" y="22"/>
                  </a:lnTo>
                  <a:lnTo>
                    <a:pt x="284" y="20"/>
                  </a:lnTo>
                  <a:lnTo>
                    <a:pt x="278" y="16"/>
                  </a:lnTo>
                  <a:lnTo>
                    <a:pt x="278" y="16"/>
                  </a:lnTo>
                  <a:lnTo>
                    <a:pt x="268" y="12"/>
                  </a:lnTo>
                  <a:lnTo>
                    <a:pt x="258" y="8"/>
                  </a:lnTo>
                  <a:lnTo>
                    <a:pt x="238" y="4"/>
                  </a:lnTo>
                  <a:lnTo>
                    <a:pt x="214" y="0"/>
                  </a:lnTo>
                  <a:lnTo>
                    <a:pt x="214" y="0"/>
                  </a:lnTo>
                  <a:lnTo>
                    <a:pt x="214" y="14"/>
                  </a:lnTo>
                  <a:lnTo>
                    <a:pt x="216" y="28"/>
                  </a:lnTo>
                  <a:lnTo>
                    <a:pt x="214" y="40"/>
                  </a:lnTo>
                  <a:lnTo>
                    <a:pt x="214" y="40"/>
                  </a:lnTo>
                  <a:lnTo>
                    <a:pt x="212" y="52"/>
                  </a:lnTo>
                  <a:lnTo>
                    <a:pt x="210" y="68"/>
                  </a:lnTo>
                  <a:lnTo>
                    <a:pt x="208" y="84"/>
                  </a:lnTo>
                  <a:lnTo>
                    <a:pt x="206" y="94"/>
                  </a:lnTo>
                  <a:lnTo>
                    <a:pt x="206" y="94"/>
                  </a:lnTo>
                  <a:lnTo>
                    <a:pt x="200" y="108"/>
                  </a:lnTo>
                  <a:lnTo>
                    <a:pt x="198" y="112"/>
                  </a:lnTo>
                  <a:lnTo>
                    <a:pt x="196" y="112"/>
                  </a:lnTo>
                  <a:lnTo>
                    <a:pt x="194" y="112"/>
                  </a:lnTo>
                  <a:lnTo>
                    <a:pt x="194" y="112"/>
                  </a:lnTo>
                  <a:lnTo>
                    <a:pt x="192" y="108"/>
                  </a:lnTo>
                  <a:lnTo>
                    <a:pt x="190" y="98"/>
                  </a:lnTo>
                  <a:lnTo>
                    <a:pt x="186" y="88"/>
                  </a:lnTo>
                  <a:lnTo>
                    <a:pt x="184" y="78"/>
                  </a:lnTo>
                  <a:lnTo>
                    <a:pt x="184" y="78"/>
                  </a:lnTo>
                  <a:lnTo>
                    <a:pt x="180" y="70"/>
                  </a:lnTo>
                  <a:lnTo>
                    <a:pt x="174" y="62"/>
                  </a:lnTo>
                  <a:lnTo>
                    <a:pt x="172" y="58"/>
                  </a:lnTo>
                  <a:lnTo>
                    <a:pt x="168" y="58"/>
                  </a:lnTo>
                  <a:lnTo>
                    <a:pt x="166" y="58"/>
                  </a:lnTo>
                  <a:lnTo>
                    <a:pt x="162" y="62"/>
                  </a:lnTo>
                  <a:lnTo>
                    <a:pt x="162" y="62"/>
                  </a:lnTo>
                  <a:lnTo>
                    <a:pt x="150" y="82"/>
                  </a:lnTo>
                  <a:lnTo>
                    <a:pt x="132" y="110"/>
                  </a:lnTo>
                  <a:lnTo>
                    <a:pt x="132" y="110"/>
                  </a:lnTo>
                  <a:lnTo>
                    <a:pt x="120" y="132"/>
                  </a:lnTo>
                  <a:lnTo>
                    <a:pt x="104" y="158"/>
                  </a:lnTo>
                  <a:lnTo>
                    <a:pt x="90" y="180"/>
                  </a:lnTo>
                  <a:lnTo>
                    <a:pt x="82" y="188"/>
                  </a:lnTo>
                  <a:lnTo>
                    <a:pt x="76" y="194"/>
                  </a:lnTo>
                  <a:lnTo>
                    <a:pt x="76" y="194"/>
                  </a:lnTo>
                  <a:lnTo>
                    <a:pt x="62" y="200"/>
                  </a:lnTo>
                  <a:lnTo>
                    <a:pt x="50" y="206"/>
                  </a:lnTo>
                  <a:lnTo>
                    <a:pt x="40" y="216"/>
                  </a:lnTo>
                  <a:lnTo>
                    <a:pt x="36" y="222"/>
                  </a:lnTo>
                  <a:lnTo>
                    <a:pt x="34" y="228"/>
                  </a:lnTo>
                  <a:lnTo>
                    <a:pt x="34" y="228"/>
                  </a:lnTo>
                  <a:lnTo>
                    <a:pt x="28" y="242"/>
                  </a:lnTo>
                  <a:lnTo>
                    <a:pt x="22" y="252"/>
                  </a:lnTo>
                  <a:lnTo>
                    <a:pt x="14" y="262"/>
                  </a:lnTo>
                  <a:lnTo>
                    <a:pt x="8" y="266"/>
                  </a:lnTo>
                  <a:lnTo>
                    <a:pt x="8" y="266"/>
                  </a:lnTo>
                  <a:lnTo>
                    <a:pt x="4" y="270"/>
                  </a:lnTo>
                  <a:lnTo>
                    <a:pt x="0" y="276"/>
                  </a:lnTo>
                  <a:lnTo>
                    <a:pt x="0" y="282"/>
                  </a:lnTo>
                  <a:lnTo>
                    <a:pt x="4" y="290"/>
                  </a:lnTo>
                  <a:lnTo>
                    <a:pt x="4" y="290"/>
                  </a:lnTo>
                  <a:lnTo>
                    <a:pt x="10" y="294"/>
                  </a:lnTo>
                  <a:lnTo>
                    <a:pt x="18" y="294"/>
                  </a:lnTo>
                  <a:lnTo>
                    <a:pt x="32" y="292"/>
                  </a:lnTo>
                  <a:lnTo>
                    <a:pt x="32" y="292"/>
                  </a:lnTo>
                  <a:lnTo>
                    <a:pt x="38" y="290"/>
                  </a:lnTo>
                  <a:lnTo>
                    <a:pt x="48" y="284"/>
                  </a:lnTo>
                  <a:lnTo>
                    <a:pt x="58" y="280"/>
                  </a:lnTo>
                  <a:lnTo>
                    <a:pt x="62" y="280"/>
                  </a:lnTo>
                  <a:lnTo>
                    <a:pt x="66" y="284"/>
                  </a:lnTo>
                  <a:lnTo>
                    <a:pt x="66" y="284"/>
                  </a:lnTo>
                  <a:lnTo>
                    <a:pt x="142" y="338"/>
                  </a:lnTo>
                  <a:lnTo>
                    <a:pt x="142" y="338"/>
                  </a:lnTo>
                  <a:lnTo>
                    <a:pt x="208" y="378"/>
                  </a:lnTo>
                  <a:lnTo>
                    <a:pt x="208" y="378"/>
                  </a:lnTo>
                  <a:lnTo>
                    <a:pt x="214" y="372"/>
                  </a:lnTo>
                  <a:lnTo>
                    <a:pt x="222" y="368"/>
                  </a:lnTo>
                  <a:lnTo>
                    <a:pt x="224" y="368"/>
                  </a:lnTo>
                  <a:lnTo>
                    <a:pt x="228" y="368"/>
                  </a:lnTo>
                  <a:lnTo>
                    <a:pt x="228" y="368"/>
                  </a:lnTo>
                  <a:lnTo>
                    <a:pt x="232" y="370"/>
                  </a:lnTo>
                  <a:lnTo>
                    <a:pt x="234" y="370"/>
                  </a:lnTo>
                  <a:lnTo>
                    <a:pt x="240" y="366"/>
                  </a:lnTo>
                  <a:lnTo>
                    <a:pt x="244" y="358"/>
                  </a:lnTo>
                  <a:lnTo>
                    <a:pt x="246" y="348"/>
                  </a:lnTo>
                  <a:lnTo>
                    <a:pt x="246" y="348"/>
                  </a:lnTo>
                  <a:lnTo>
                    <a:pt x="244" y="338"/>
                  </a:lnTo>
                  <a:lnTo>
                    <a:pt x="240" y="324"/>
                  </a:lnTo>
                  <a:lnTo>
                    <a:pt x="230" y="302"/>
                  </a:lnTo>
                  <a:lnTo>
                    <a:pt x="230" y="302"/>
                  </a:lnTo>
                  <a:lnTo>
                    <a:pt x="226" y="294"/>
                  </a:lnTo>
                  <a:lnTo>
                    <a:pt x="224" y="286"/>
                  </a:lnTo>
                  <a:lnTo>
                    <a:pt x="222" y="284"/>
                  </a:lnTo>
                  <a:lnTo>
                    <a:pt x="224" y="280"/>
                  </a:lnTo>
                  <a:lnTo>
                    <a:pt x="226" y="278"/>
                  </a:lnTo>
                  <a:lnTo>
                    <a:pt x="230" y="278"/>
                  </a:lnTo>
                  <a:lnTo>
                    <a:pt x="230" y="278"/>
                  </a:lnTo>
                  <a:lnTo>
                    <a:pt x="260" y="274"/>
                  </a:lnTo>
                  <a:lnTo>
                    <a:pt x="284" y="268"/>
                  </a:lnTo>
                  <a:lnTo>
                    <a:pt x="284" y="268"/>
                  </a:lnTo>
                  <a:lnTo>
                    <a:pt x="290" y="270"/>
                  </a:lnTo>
                  <a:lnTo>
                    <a:pt x="300" y="274"/>
                  </a:lnTo>
                  <a:lnTo>
                    <a:pt x="318" y="284"/>
                  </a:lnTo>
                  <a:lnTo>
                    <a:pt x="318" y="284"/>
                  </a:lnTo>
                  <a:lnTo>
                    <a:pt x="324" y="286"/>
                  </a:lnTo>
                  <a:lnTo>
                    <a:pt x="328" y="286"/>
                  </a:lnTo>
                  <a:lnTo>
                    <a:pt x="332" y="284"/>
                  </a:lnTo>
                  <a:lnTo>
                    <a:pt x="334" y="280"/>
                  </a:lnTo>
                  <a:lnTo>
                    <a:pt x="338" y="274"/>
                  </a:lnTo>
                  <a:lnTo>
                    <a:pt x="338" y="268"/>
                  </a:lnTo>
                  <a:lnTo>
                    <a:pt x="340" y="258"/>
                  </a:lnTo>
                  <a:lnTo>
                    <a:pt x="340" y="258"/>
                  </a:lnTo>
                  <a:lnTo>
                    <a:pt x="338" y="238"/>
                  </a:lnTo>
                  <a:lnTo>
                    <a:pt x="336" y="224"/>
                  </a:lnTo>
                  <a:lnTo>
                    <a:pt x="332" y="212"/>
                  </a:lnTo>
                  <a:lnTo>
                    <a:pt x="330" y="204"/>
                  </a:lnTo>
                  <a:lnTo>
                    <a:pt x="330" y="204"/>
                  </a:lnTo>
                  <a:lnTo>
                    <a:pt x="308" y="182"/>
                  </a:lnTo>
                  <a:lnTo>
                    <a:pt x="308" y="182"/>
                  </a:lnTo>
                  <a:lnTo>
                    <a:pt x="316" y="174"/>
                  </a:lnTo>
                  <a:lnTo>
                    <a:pt x="322" y="168"/>
                  </a:lnTo>
                  <a:lnTo>
                    <a:pt x="330" y="164"/>
                  </a:lnTo>
                  <a:lnTo>
                    <a:pt x="330" y="164"/>
                  </a:lnTo>
                  <a:lnTo>
                    <a:pt x="340" y="160"/>
                  </a:lnTo>
                  <a:lnTo>
                    <a:pt x="348" y="148"/>
                  </a:lnTo>
                  <a:lnTo>
                    <a:pt x="348" y="148"/>
                  </a:lnTo>
                  <a:lnTo>
                    <a:pt x="356" y="142"/>
                  </a:lnTo>
                  <a:lnTo>
                    <a:pt x="360" y="138"/>
                  </a:lnTo>
                  <a:lnTo>
                    <a:pt x="364" y="138"/>
                  </a:lnTo>
                  <a:lnTo>
                    <a:pt x="368" y="136"/>
                  </a:lnTo>
                  <a:lnTo>
                    <a:pt x="368" y="136"/>
                  </a:lnTo>
                  <a:lnTo>
                    <a:pt x="370" y="128"/>
                  </a:lnTo>
                  <a:lnTo>
                    <a:pt x="372" y="116"/>
                  </a:lnTo>
                  <a:lnTo>
                    <a:pt x="372" y="86"/>
                  </a:lnTo>
                  <a:lnTo>
                    <a:pt x="368" y="52"/>
                  </a:lnTo>
                  <a:lnTo>
                    <a:pt x="360" y="20"/>
                  </a:lnTo>
                  <a:lnTo>
                    <a:pt x="360" y="20"/>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76" name="Freeform 42"/>
            <p:cNvSpPr>
              <a:spLocks/>
            </p:cNvSpPr>
            <p:nvPr/>
          </p:nvSpPr>
          <p:spPr bwMode="auto">
            <a:xfrm>
              <a:off x="2805730" y="4183637"/>
              <a:ext cx="969432" cy="1085276"/>
            </a:xfrm>
            <a:custGeom>
              <a:avLst/>
              <a:gdLst/>
              <a:ahLst/>
              <a:cxnLst>
                <a:cxn ang="0">
                  <a:pos x="722" y="4"/>
                </a:cxn>
                <a:cxn ang="0">
                  <a:pos x="684" y="14"/>
                </a:cxn>
                <a:cxn ang="0">
                  <a:pos x="672" y="66"/>
                </a:cxn>
                <a:cxn ang="0">
                  <a:pos x="666" y="108"/>
                </a:cxn>
                <a:cxn ang="0">
                  <a:pos x="574" y="156"/>
                </a:cxn>
                <a:cxn ang="0">
                  <a:pos x="502" y="174"/>
                </a:cxn>
                <a:cxn ang="0">
                  <a:pos x="492" y="206"/>
                </a:cxn>
                <a:cxn ang="0">
                  <a:pos x="372" y="150"/>
                </a:cxn>
                <a:cxn ang="0">
                  <a:pos x="374" y="106"/>
                </a:cxn>
                <a:cxn ang="0">
                  <a:pos x="326" y="96"/>
                </a:cxn>
                <a:cxn ang="0">
                  <a:pos x="332" y="188"/>
                </a:cxn>
                <a:cxn ang="0">
                  <a:pos x="330" y="250"/>
                </a:cxn>
                <a:cxn ang="0">
                  <a:pos x="296" y="268"/>
                </a:cxn>
                <a:cxn ang="0">
                  <a:pos x="224" y="240"/>
                </a:cxn>
                <a:cxn ang="0">
                  <a:pos x="200" y="232"/>
                </a:cxn>
                <a:cxn ang="0">
                  <a:pos x="158" y="162"/>
                </a:cxn>
                <a:cxn ang="0">
                  <a:pos x="110" y="172"/>
                </a:cxn>
                <a:cxn ang="0">
                  <a:pos x="8" y="164"/>
                </a:cxn>
                <a:cxn ang="0">
                  <a:pos x="26" y="174"/>
                </a:cxn>
                <a:cxn ang="0">
                  <a:pos x="62" y="216"/>
                </a:cxn>
                <a:cxn ang="0">
                  <a:pos x="14" y="250"/>
                </a:cxn>
                <a:cxn ang="0">
                  <a:pos x="112" y="330"/>
                </a:cxn>
                <a:cxn ang="0">
                  <a:pos x="160" y="406"/>
                </a:cxn>
                <a:cxn ang="0">
                  <a:pos x="210" y="484"/>
                </a:cxn>
                <a:cxn ang="0">
                  <a:pos x="190" y="534"/>
                </a:cxn>
                <a:cxn ang="0">
                  <a:pos x="244" y="626"/>
                </a:cxn>
                <a:cxn ang="0">
                  <a:pos x="262" y="732"/>
                </a:cxn>
                <a:cxn ang="0">
                  <a:pos x="224" y="944"/>
                </a:cxn>
                <a:cxn ang="0">
                  <a:pos x="170" y="1074"/>
                </a:cxn>
                <a:cxn ang="0">
                  <a:pos x="124" y="1120"/>
                </a:cxn>
                <a:cxn ang="0">
                  <a:pos x="228" y="1210"/>
                </a:cxn>
                <a:cxn ang="0">
                  <a:pos x="308" y="1274"/>
                </a:cxn>
                <a:cxn ang="0">
                  <a:pos x="428" y="1320"/>
                </a:cxn>
                <a:cxn ang="0">
                  <a:pos x="548" y="1402"/>
                </a:cxn>
                <a:cxn ang="0">
                  <a:pos x="644" y="1362"/>
                </a:cxn>
                <a:cxn ang="0">
                  <a:pos x="666" y="1310"/>
                </a:cxn>
                <a:cxn ang="0">
                  <a:pos x="798" y="1272"/>
                </a:cxn>
                <a:cxn ang="0">
                  <a:pos x="894" y="1340"/>
                </a:cxn>
                <a:cxn ang="0">
                  <a:pos x="962" y="1386"/>
                </a:cxn>
                <a:cxn ang="0">
                  <a:pos x="1072" y="1340"/>
                </a:cxn>
                <a:cxn ang="0">
                  <a:pos x="1138" y="1312"/>
                </a:cxn>
                <a:cxn ang="0">
                  <a:pos x="1122" y="1260"/>
                </a:cxn>
                <a:cxn ang="0">
                  <a:pos x="1092" y="1164"/>
                </a:cxn>
                <a:cxn ang="0">
                  <a:pos x="1090" y="1086"/>
                </a:cxn>
                <a:cxn ang="0">
                  <a:pos x="1108" y="1048"/>
                </a:cxn>
                <a:cxn ang="0">
                  <a:pos x="1096" y="928"/>
                </a:cxn>
                <a:cxn ang="0">
                  <a:pos x="1072" y="874"/>
                </a:cxn>
                <a:cxn ang="0">
                  <a:pos x="1042" y="842"/>
                </a:cxn>
                <a:cxn ang="0">
                  <a:pos x="1106" y="746"/>
                </a:cxn>
                <a:cxn ang="0">
                  <a:pos x="1194" y="622"/>
                </a:cxn>
                <a:cxn ang="0">
                  <a:pos x="1218" y="534"/>
                </a:cxn>
                <a:cxn ang="0">
                  <a:pos x="1124" y="428"/>
                </a:cxn>
                <a:cxn ang="0">
                  <a:pos x="1086" y="376"/>
                </a:cxn>
                <a:cxn ang="0">
                  <a:pos x="1000" y="318"/>
                </a:cxn>
                <a:cxn ang="0">
                  <a:pos x="926" y="234"/>
                </a:cxn>
                <a:cxn ang="0">
                  <a:pos x="850" y="138"/>
                </a:cxn>
                <a:cxn ang="0">
                  <a:pos x="828" y="80"/>
                </a:cxn>
                <a:cxn ang="0">
                  <a:pos x="758" y="38"/>
                </a:cxn>
              </a:cxnLst>
              <a:rect l="0" t="0" r="r" b="b"/>
              <a:pathLst>
                <a:path w="1272" h="1424">
                  <a:moveTo>
                    <a:pt x="762" y="18"/>
                  </a:moveTo>
                  <a:lnTo>
                    <a:pt x="762" y="18"/>
                  </a:lnTo>
                  <a:lnTo>
                    <a:pt x="760" y="14"/>
                  </a:lnTo>
                  <a:lnTo>
                    <a:pt x="752" y="8"/>
                  </a:lnTo>
                  <a:lnTo>
                    <a:pt x="748" y="4"/>
                  </a:lnTo>
                  <a:lnTo>
                    <a:pt x="740" y="2"/>
                  </a:lnTo>
                  <a:lnTo>
                    <a:pt x="732" y="2"/>
                  </a:lnTo>
                  <a:lnTo>
                    <a:pt x="722" y="4"/>
                  </a:lnTo>
                  <a:lnTo>
                    <a:pt x="722" y="4"/>
                  </a:lnTo>
                  <a:lnTo>
                    <a:pt x="712" y="4"/>
                  </a:lnTo>
                  <a:lnTo>
                    <a:pt x="704" y="4"/>
                  </a:lnTo>
                  <a:lnTo>
                    <a:pt x="690" y="0"/>
                  </a:lnTo>
                  <a:lnTo>
                    <a:pt x="684" y="0"/>
                  </a:lnTo>
                  <a:lnTo>
                    <a:pt x="682" y="2"/>
                  </a:lnTo>
                  <a:lnTo>
                    <a:pt x="682" y="6"/>
                  </a:lnTo>
                  <a:lnTo>
                    <a:pt x="684" y="14"/>
                  </a:lnTo>
                  <a:lnTo>
                    <a:pt x="684" y="14"/>
                  </a:lnTo>
                  <a:lnTo>
                    <a:pt x="686" y="22"/>
                  </a:lnTo>
                  <a:lnTo>
                    <a:pt x="686" y="30"/>
                  </a:lnTo>
                  <a:lnTo>
                    <a:pt x="684" y="34"/>
                  </a:lnTo>
                  <a:lnTo>
                    <a:pt x="682" y="38"/>
                  </a:lnTo>
                  <a:lnTo>
                    <a:pt x="678" y="48"/>
                  </a:lnTo>
                  <a:lnTo>
                    <a:pt x="674" y="56"/>
                  </a:lnTo>
                  <a:lnTo>
                    <a:pt x="672" y="66"/>
                  </a:lnTo>
                  <a:lnTo>
                    <a:pt x="672" y="66"/>
                  </a:lnTo>
                  <a:lnTo>
                    <a:pt x="672" y="74"/>
                  </a:lnTo>
                  <a:lnTo>
                    <a:pt x="672" y="80"/>
                  </a:lnTo>
                  <a:lnTo>
                    <a:pt x="676" y="86"/>
                  </a:lnTo>
                  <a:lnTo>
                    <a:pt x="676" y="88"/>
                  </a:lnTo>
                  <a:lnTo>
                    <a:pt x="676" y="90"/>
                  </a:lnTo>
                  <a:lnTo>
                    <a:pt x="666" y="108"/>
                  </a:lnTo>
                  <a:lnTo>
                    <a:pt x="666" y="108"/>
                  </a:lnTo>
                  <a:lnTo>
                    <a:pt x="656" y="126"/>
                  </a:lnTo>
                  <a:lnTo>
                    <a:pt x="648" y="138"/>
                  </a:lnTo>
                  <a:lnTo>
                    <a:pt x="642" y="142"/>
                  </a:lnTo>
                  <a:lnTo>
                    <a:pt x="636" y="144"/>
                  </a:lnTo>
                  <a:lnTo>
                    <a:pt x="614" y="150"/>
                  </a:lnTo>
                  <a:lnTo>
                    <a:pt x="614" y="150"/>
                  </a:lnTo>
                  <a:lnTo>
                    <a:pt x="590" y="156"/>
                  </a:lnTo>
                  <a:lnTo>
                    <a:pt x="574" y="156"/>
                  </a:lnTo>
                  <a:lnTo>
                    <a:pt x="558" y="156"/>
                  </a:lnTo>
                  <a:lnTo>
                    <a:pt x="540" y="156"/>
                  </a:lnTo>
                  <a:lnTo>
                    <a:pt x="540" y="156"/>
                  </a:lnTo>
                  <a:lnTo>
                    <a:pt x="524" y="154"/>
                  </a:lnTo>
                  <a:lnTo>
                    <a:pt x="514" y="156"/>
                  </a:lnTo>
                  <a:lnTo>
                    <a:pt x="510" y="158"/>
                  </a:lnTo>
                  <a:lnTo>
                    <a:pt x="506" y="160"/>
                  </a:lnTo>
                  <a:lnTo>
                    <a:pt x="502" y="174"/>
                  </a:lnTo>
                  <a:lnTo>
                    <a:pt x="502" y="174"/>
                  </a:lnTo>
                  <a:lnTo>
                    <a:pt x="502" y="184"/>
                  </a:lnTo>
                  <a:lnTo>
                    <a:pt x="502" y="190"/>
                  </a:lnTo>
                  <a:lnTo>
                    <a:pt x="504" y="202"/>
                  </a:lnTo>
                  <a:lnTo>
                    <a:pt x="504" y="204"/>
                  </a:lnTo>
                  <a:lnTo>
                    <a:pt x="502" y="206"/>
                  </a:lnTo>
                  <a:lnTo>
                    <a:pt x="498" y="208"/>
                  </a:lnTo>
                  <a:lnTo>
                    <a:pt x="492" y="206"/>
                  </a:lnTo>
                  <a:lnTo>
                    <a:pt x="492" y="206"/>
                  </a:lnTo>
                  <a:lnTo>
                    <a:pt x="480" y="204"/>
                  </a:lnTo>
                  <a:lnTo>
                    <a:pt x="464" y="198"/>
                  </a:lnTo>
                  <a:lnTo>
                    <a:pt x="426" y="180"/>
                  </a:lnTo>
                  <a:lnTo>
                    <a:pt x="378" y="154"/>
                  </a:lnTo>
                  <a:lnTo>
                    <a:pt x="378" y="154"/>
                  </a:lnTo>
                  <a:lnTo>
                    <a:pt x="376" y="152"/>
                  </a:lnTo>
                  <a:lnTo>
                    <a:pt x="372" y="150"/>
                  </a:lnTo>
                  <a:lnTo>
                    <a:pt x="370" y="146"/>
                  </a:lnTo>
                  <a:lnTo>
                    <a:pt x="370" y="142"/>
                  </a:lnTo>
                  <a:lnTo>
                    <a:pt x="370" y="136"/>
                  </a:lnTo>
                  <a:lnTo>
                    <a:pt x="372" y="130"/>
                  </a:lnTo>
                  <a:lnTo>
                    <a:pt x="372" y="130"/>
                  </a:lnTo>
                  <a:lnTo>
                    <a:pt x="376" y="116"/>
                  </a:lnTo>
                  <a:lnTo>
                    <a:pt x="376" y="110"/>
                  </a:lnTo>
                  <a:lnTo>
                    <a:pt x="374" y="106"/>
                  </a:lnTo>
                  <a:lnTo>
                    <a:pt x="368" y="98"/>
                  </a:lnTo>
                  <a:lnTo>
                    <a:pt x="360" y="92"/>
                  </a:lnTo>
                  <a:lnTo>
                    <a:pt x="360" y="92"/>
                  </a:lnTo>
                  <a:lnTo>
                    <a:pt x="348" y="88"/>
                  </a:lnTo>
                  <a:lnTo>
                    <a:pt x="338" y="88"/>
                  </a:lnTo>
                  <a:lnTo>
                    <a:pt x="332" y="90"/>
                  </a:lnTo>
                  <a:lnTo>
                    <a:pt x="328" y="92"/>
                  </a:lnTo>
                  <a:lnTo>
                    <a:pt x="326" y="96"/>
                  </a:lnTo>
                  <a:lnTo>
                    <a:pt x="324" y="100"/>
                  </a:lnTo>
                  <a:lnTo>
                    <a:pt x="324" y="100"/>
                  </a:lnTo>
                  <a:lnTo>
                    <a:pt x="324" y="122"/>
                  </a:lnTo>
                  <a:lnTo>
                    <a:pt x="324" y="134"/>
                  </a:lnTo>
                  <a:lnTo>
                    <a:pt x="326" y="148"/>
                  </a:lnTo>
                  <a:lnTo>
                    <a:pt x="326" y="148"/>
                  </a:lnTo>
                  <a:lnTo>
                    <a:pt x="330" y="168"/>
                  </a:lnTo>
                  <a:lnTo>
                    <a:pt x="332" y="188"/>
                  </a:lnTo>
                  <a:lnTo>
                    <a:pt x="332" y="206"/>
                  </a:lnTo>
                  <a:lnTo>
                    <a:pt x="330" y="218"/>
                  </a:lnTo>
                  <a:lnTo>
                    <a:pt x="330" y="218"/>
                  </a:lnTo>
                  <a:lnTo>
                    <a:pt x="328" y="224"/>
                  </a:lnTo>
                  <a:lnTo>
                    <a:pt x="330" y="230"/>
                  </a:lnTo>
                  <a:lnTo>
                    <a:pt x="330" y="238"/>
                  </a:lnTo>
                  <a:lnTo>
                    <a:pt x="330" y="250"/>
                  </a:lnTo>
                  <a:lnTo>
                    <a:pt x="330" y="250"/>
                  </a:lnTo>
                  <a:lnTo>
                    <a:pt x="330" y="256"/>
                  </a:lnTo>
                  <a:lnTo>
                    <a:pt x="332" y="260"/>
                  </a:lnTo>
                  <a:lnTo>
                    <a:pt x="338" y="266"/>
                  </a:lnTo>
                  <a:lnTo>
                    <a:pt x="340" y="268"/>
                  </a:lnTo>
                  <a:lnTo>
                    <a:pt x="338" y="268"/>
                  </a:lnTo>
                  <a:lnTo>
                    <a:pt x="328" y="268"/>
                  </a:lnTo>
                  <a:lnTo>
                    <a:pt x="328" y="268"/>
                  </a:lnTo>
                  <a:lnTo>
                    <a:pt x="296" y="268"/>
                  </a:lnTo>
                  <a:lnTo>
                    <a:pt x="282" y="264"/>
                  </a:lnTo>
                  <a:lnTo>
                    <a:pt x="266" y="256"/>
                  </a:lnTo>
                  <a:lnTo>
                    <a:pt x="266" y="256"/>
                  </a:lnTo>
                  <a:lnTo>
                    <a:pt x="250" y="248"/>
                  </a:lnTo>
                  <a:lnTo>
                    <a:pt x="240" y="244"/>
                  </a:lnTo>
                  <a:lnTo>
                    <a:pt x="232" y="240"/>
                  </a:lnTo>
                  <a:lnTo>
                    <a:pt x="224" y="240"/>
                  </a:lnTo>
                  <a:lnTo>
                    <a:pt x="224" y="240"/>
                  </a:lnTo>
                  <a:lnTo>
                    <a:pt x="220" y="242"/>
                  </a:lnTo>
                  <a:lnTo>
                    <a:pt x="216" y="244"/>
                  </a:lnTo>
                  <a:lnTo>
                    <a:pt x="210" y="248"/>
                  </a:lnTo>
                  <a:lnTo>
                    <a:pt x="206" y="248"/>
                  </a:lnTo>
                  <a:lnTo>
                    <a:pt x="204" y="246"/>
                  </a:lnTo>
                  <a:lnTo>
                    <a:pt x="202" y="242"/>
                  </a:lnTo>
                  <a:lnTo>
                    <a:pt x="200" y="232"/>
                  </a:lnTo>
                  <a:lnTo>
                    <a:pt x="200" y="232"/>
                  </a:lnTo>
                  <a:lnTo>
                    <a:pt x="196" y="208"/>
                  </a:lnTo>
                  <a:lnTo>
                    <a:pt x="188" y="190"/>
                  </a:lnTo>
                  <a:lnTo>
                    <a:pt x="188" y="190"/>
                  </a:lnTo>
                  <a:lnTo>
                    <a:pt x="180" y="176"/>
                  </a:lnTo>
                  <a:lnTo>
                    <a:pt x="172" y="166"/>
                  </a:lnTo>
                  <a:lnTo>
                    <a:pt x="168" y="164"/>
                  </a:lnTo>
                  <a:lnTo>
                    <a:pt x="164" y="162"/>
                  </a:lnTo>
                  <a:lnTo>
                    <a:pt x="158" y="162"/>
                  </a:lnTo>
                  <a:lnTo>
                    <a:pt x="150" y="164"/>
                  </a:lnTo>
                  <a:lnTo>
                    <a:pt x="150" y="164"/>
                  </a:lnTo>
                  <a:lnTo>
                    <a:pt x="138" y="170"/>
                  </a:lnTo>
                  <a:lnTo>
                    <a:pt x="132" y="176"/>
                  </a:lnTo>
                  <a:lnTo>
                    <a:pt x="128" y="176"/>
                  </a:lnTo>
                  <a:lnTo>
                    <a:pt x="124" y="176"/>
                  </a:lnTo>
                  <a:lnTo>
                    <a:pt x="110" y="172"/>
                  </a:lnTo>
                  <a:lnTo>
                    <a:pt x="110" y="172"/>
                  </a:lnTo>
                  <a:lnTo>
                    <a:pt x="88" y="162"/>
                  </a:lnTo>
                  <a:lnTo>
                    <a:pt x="68" y="154"/>
                  </a:lnTo>
                  <a:lnTo>
                    <a:pt x="48" y="150"/>
                  </a:lnTo>
                  <a:lnTo>
                    <a:pt x="40" y="148"/>
                  </a:lnTo>
                  <a:lnTo>
                    <a:pt x="34" y="148"/>
                  </a:lnTo>
                  <a:lnTo>
                    <a:pt x="34" y="148"/>
                  </a:lnTo>
                  <a:lnTo>
                    <a:pt x="20" y="154"/>
                  </a:lnTo>
                  <a:lnTo>
                    <a:pt x="8" y="164"/>
                  </a:lnTo>
                  <a:lnTo>
                    <a:pt x="0" y="172"/>
                  </a:lnTo>
                  <a:lnTo>
                    <a:pt x="0" y="174"/>
                  </a:lnTo>
                  <a:lnTo>
                    <a:pt x="2" y="176"/>
                  </a:lnTo>
                  <a:lnTo>
                    <a:pt x="2" y="176"/>
                  </a:lnTo>
                  <a:lnTo>
                    <a:pt x="8" y="174"/>
                  </a:lnTo>
                  <a:lnTo>
                    <a:pt x="12" y="172"/>
                  </a:lnTo>
                  <a:lnTo>
                    <a:pt x="16" y="170"/>
                  </a:lnTo>
                  <a:lnTo>
                    <a:pt x="26" y="174"/>
                  </a:lnTo>
                  <a:lnTo>
                    <a:pt x="26" y="174"/>
                  </a:lnTo>
                  <a:lnTo>
                    <a:pt x="42" y="182"/>
                  </a:lnTo>
                  <a:lnTo>
                    <a:pt x="56" y="192"/>
                  </a:lnTo>
                  <a:lnTo>
                    <a:pt x="60" y="196"/>
                  </a:lnTo>
                  <a:lnTo>
                    <a:pt x="64" y="202"/>
                  </a:lnTo>
                  <a:lnTo>
                    <a:pt x="64" y="208"/>
                  </a:lnTo>
                  <a:lnTo>
                    <a:pt x="62" y="216"/>
                  </a:lnTo>
                  <a:lnTo>
                    <a:pt x="62" y="216"/>
                  </a:lnTo>
                  <a:lnTo>
                    <a:pt x="54" y="230"/>
                  </a:lnTo>
                  <a:lnTo>
                    <a:pt x="46" y="240"/>
                  </a:lnTo>
                  <a:lnTo>
                    <a:pt x="42" y="244"/>
                  </a:lnTo>
                  <a:lnTo>
                    <a:pt x="38" y="248"/>
                  </a:lnTo>
                  <a:lnTo>
                    <a:pt x="32" y="248"/>
                  </a:lnTo>
                  <a:lnTo>
                    <a:pt x="24" y="250"/>
                  </a:lnTo>
                  <a:lnTo>
                    <a:pt x="24" y="250"/>
                  </a:lnTo>
                  <a:lnTo>
                    <a:pt x="14" y="250"/>
                  </a:lnTo>
                  <a:lnTo>
                    <a:pt x="14" y="252"/>
                  </a:lnTo>
                  <a:lnTo>
                    <a:pt x="16" y="254"/>
                  </a:lnTo>
                  <a:lnTo>
                    <a:pt x="24" y="260"/>
                  </a:lnTo>
                  <a:lnTo>
                    <a:pt x="38" y="270"/>
                  </a:lnTo>
                  <a:lnTo>
                    <a:pt x="38" y="270"/>
                  </a:lnTo>
                  <a:lnTo>
                    <a:pt x="78" y="298"/>
                  </a:lnTo>
                  <a:lnTo>
                    <a:pt x="98" y="316"/>
                  </a:lnTo>
                  <a:lnTo>
                    <a:pt x="112" y="330"/>
                  </a:lnTo>
                  <a:lnTo>
                    <a:pt x="112" y="330"/>
                  </a:lnTo>
                  <a:lnTo>
                    <a:pt x="120" y="342"/>
                  </a:lnTo>
                  <a:lnTo>
                    <a:pt x="124" y="354"/>
                  </a:lnTo>
                  <a:lnTo>
                    <a:pt x="130" y="370"/>
                  </a:lnTo>
                  <a:lnTo>
                    <a:pt x="144" y="390"/>
                  </a:lnTo>
                  <a:lnTo>
                    <a:pt x="144" y="390"/>
                  </a:lnTo>
                  <a:lnTo>
                    <a:pt x="152" y="400"/>
                  </a:lnTo>
                  <a:lnTo>
                    <a:pt x="160" y="406"/>
                  </a:lnTo>
                  <a:lnTo>
                    <a:pt x="176" y="414"/>
                  </a:lnTo>
                  <a:lnTo>
                    <a:pt x="182" y="418"/>
                  </a:lnTo>
                  <a:lnTo>
                    <a:pt x="188" y="422"/>
                  </a:lnTo>
                  <a:lnTo>
                    <a:pt x="192" y="428"/>
                  </a:lnTo>
                  <a:lnTo>
                    <a:pt x="196" y="436"/>
                  </a:lnTo>
                  <a:lnTo>
                    <a:pt x="196" y="436"/>
                  </a:lnTo>
                  <a:lnTo>
                    <a:pt x="208" y="476"/>
                  </a:lnTo>
                  <a:lnTo>
                    <a:pt x="210" y="484"/>
                  </a:lnTo>
                  <a:lnTo>
                    <a:pt x="210" y="492"/>
                  </a:lnTo>
                  <a:lnTo>
                    <a:pt x="208" y="502"/>
                  </a:lnTo>
                  <a:lnTo>
                    <a:pt x="206" y="510"/>
                  </a:lnTo>
                  <a:lnTo>
                    <a:pt x="206" y="510"/>
                  </a:lnTo>
                  <a:lnTo>
                    <a:pt x="202" y="516"/>
                  </a:lnTo>
                  <a:lnTo>
                    <a:pt x="198" y="522"/>
                  </a:lnTo>
                  <a:lnTo>
                    <a:pt x="192" y="530"/>
                  </a:lnTo>
                  <a:lnTo>
                    <a:pt x="190" y="534"/>
                  </a:lnTo>
                  <a:lnTo>
                    <a:pt x="192" y="538"/>
                  </a:lnTo>
                  <a:lnTo>
                    <a:pt x="200" y="556"/>
                  </a:lnTo>
                  <a:lnTo>
                    <a:pt x="200" y="556"/>
                  </a:lnTo>
                  <a:lnTo>
                    <a:pt x="214" y="574"/>
                  </a:lnTo>
                  <a:lnTo>
                    <a:pt x="226" y="588"/>
                  </a:lnTo>
                  <a:lnTo>
                    <a:pt x="234" y="604"/>
                  </a:lnTo>
                  <a:lnTo>
                    <a:pt x="244" y="626"/>
                  </a:lnTo>
                  <a:lnTo>
                    <a:pt x="244" y="626"/>
                  </a:lnTo>
                  <a:lnTo>
                    <a:pt x="248" y="638"/>
                  </a:lnTo>
                  <a:lnTo>
                    <a:pt x="252" y="648"/>
                  </a:lnTo>
                  <a:lnTo>
                    <a:pt x="262" y="666"/>
                  </a:lnTo>
                  <a:lnTo>
                    <a:pt x="264" y="676"/>
                  </a:lnTo>
                  <a:lnTo>
                    <a:pt x="266" y="690"/>
                  </a:lnTo>
                  <a:lnTo>
                    <a:pt x="266" y="708"/>
                  </a:lnTo>
                  <a:lnTo>
                    <a:pt x="262" y="732"/>
                  </a:lnTo>
                  <a:lnTo>
                    <a:pt x="262" y="732"/>
                  </a:lnTo>
                  <a:lnTo>
                    <a:pt x="258" y="758"/>
                  </a:lnTo>
                  <a:lnTo>
                    <a:pt x="250" y="784"/>
                  </a:lnTo>
                  <a:lnTo>
                    <a:pt x="236" y="836"/>
                  </a:lnTo>
                  <a:lnTo>
                    <a:pt x="224" y="882"/>
                  </a:lnTo>
                  <a:lnTo>
                    <a:pt x="220" y="902"/>
                  </a:lnTo>
                  <a:lnTo>
                    <a:pt x="220" y="918"/>
                  </a:lnTo>
                  <a:lnTo>
                    <a:pt x="220" y="918"/>
                  </a:lnTo>
                  <a:lnTo>
                    <a:pt x="224" y="944"/>
                  </a:lnTo>
                  <a:lnTo>
                    <a:pt x="226" y="966"/>
                  </a:lnTo>
                  <a:lnTo>
                    <a:pt x="226" y="976"/>
                  </a:lnTo>
                  <a:lnTo>
                    <a:pt x="224" y="986"/>
                  </a:lnTo>
                  <a:lnTo>
                    <a:pt x="218" y="998"/>
                  </a:lnTo>
                  <a:lnTo>
                    <a:pt x="212" y="1012"/>
                  </a:lnTo>
                  <a:lnTo>
                    <a:pt x="212" y="1012"/>
                  </a:lnTo>
                  <a:lnTo>
                    <a:pt x="182" y="1058"/>
                  </a:lnTo>
                  <a:lnTo>
                    <a:pt x="170" y="1074"/>
                  </a:lnTo>
                  <a:lnTo>
                    <a:pt x="158" y="1086"/>
                  </a:lnTo>
                  <a:lnTo>
                    <a:pt x="158" y="1086"/>
                  </a:lnTo>
                  <a:lnTo>
                    <a:pt x="138" y="1104"/>
                  </a:lnTo>
                  <a:lnTo>
                    <a:pt x="128" y="1112"/>
                  </a:lnTo>
                  <a:lnTo>
                    <a:pt x="128" y="1112"/>
                  </a:lnTo>
                  <a:lnTo>
                    <a:pt x="124" y="1116"/>
                  </a:lnTo>
                  <a:lnTo>
                    <a:pt x="124" y="1118"/>
                  </a:lnTo>
                  <a:lnTo>
                    <a:pt x="124" y="1120"/>
                  </a:lnTo>
                  <a:lnTo>
                    <a:pt x="132" y="1132"/>
                  </a:lnTo>
                  <a:lnTo>
                    <a:pt x="154" y="1154"/>
                  </a:lnTo>
                  <a:lnTo>
                    <a:pt x="154" y="1154"/>
                  </a:lnTo>
                  <a:lnTo>
                    <a:pt x="170" y="1166"/>
                  </a:lnTo>
                  <a:lnTo>
                    <a:pt x="180" y="1176"/>
                  </a:lnTo>
                  <a:lnTo>
                    <a:pt x="200" y="1188"/>
                  </a:lnTo>
                  <a:lnTo>
                    <a:pt x="218" y="1202"/>
                  </a:lnTo>
                  <a:lnTo>
                    <a:pt x="228" y="1210"/>
                  </a:lnTo>
                  <a:lnTo>
                    <a:pt x="240" y="1224"/>
                  </a:lnTo>
                  <a:lnTo>
                    <a:pt x="240" y="1224"/>
                  </a:lnTo>
                  <a:lnTo>
                    <a:pt x="262" y="1246"/>
                  </a:lnTo>
                  <a:lnTo>
                    <a:pt x="274" y="1258"/>
                  </a:lnTo>
                  <a:lnTo>
                    <a:pt x="286" y="1264"/>
                  </a:lnTo>
                  <a:lnTo>
                    <a:pt x="298" y="1270"/>
                  </a:lnTo>
                  <a:lnTo>
                    <a:pt x="298" y="1270"/>
                  </a:lnTo>
                  <a:lnTo>
                    <a:pt x="308" y="1274"/>
                  </a:lnTo>
                  <a:lnTo>
                    <a:pt x="316" y="1278"/>
                  </a:lnTo>
                  <a:lnTo>
                    <a:pt x="340" y="1280"/>
                  </a:lnTo>
                  <a:lnTo>
                    <a:pt x="352" y="1284"/>
                  </a:lnTo>
                  <a:lnTo>
                    <a:pt x="366" y="1288"/>
                  </a:lnTo>
                  <a:lnTo>
                    <a:pt x="382" y="1294"/>
                  </a:lnTo>
                  <a:lnTo>
                    <a:pt x="400" y="1302"/>
                  </a:lnTo>
                  <a:lnTo>
                    <a:pt x="400" y="1302"/>
                  </a:lnTo>
                  <a:lnTo>
                    <a:pt x="428" y="1320"/>
                  </a:lnTo>
                  <a:lnTo>
                    <a:pt x="448" y="1334"/>
                  </a:lnTo>
                  <a:lnTo>
                    <a:pt x="466" y="1350"/>
                  </a:lnTo>
                  <a:lnTo>
                    <a:pt x="484" y="1370"/>
                  </a:lnTo>
                  <a:lnTo>
                    <a:pt x="484" y="1370"/>
                  </a:lnTo>
                  <a:lnTo>
                    <a:pt x="490" y="1376"/>
                  </a:lnTo>
                  <a:lnTo>
                    <a:pt x="500" y="1382"/>
                  </a:lnTo>
                  <a:lnTo>
                    <a:pt x="522" y="1392"/>
                  </a:lnTo>
                  <a:lnTo>
                    <a:pt x="548" y="1402"/>
                  </a:lnTo>
                  <a:lnTo>
                    <a:pt x="576" y="1410"/>
                  </a:lnTo>
                  <a:lnTo>
                    <a:pt x="624" y="1420"/>
                  </a:lnTo>
                  <a:lnTo>
                    <a:pt x="646" y="1424"/>
                  </a:lnTo>
                  <a:lnTo>
                    <a:pt x="646" y="1424"/>
                  </a:lnTo>
                  <a:lnTo>
                    <a:pt x="642" y="1400"/>
                  </a:lnTo>
                  <a:lnTo>
                    <a:pt x="642" y="1380"/>
                  </a:lnTo>
                  <a:lnTo>
                    <a:pt x="642" y="1370"/>
                  </a:lnTo>
                  <a:lnTo>
                    <a:pt x="644" y="1362"/>
                  </a:lnTo>
                  <a:lnTo>
                    <a:pt x="644" y="1362"/>
                  </a:lnTo>
                  <a:lnTo>
                    <a:pt x="646" y="1354"/>
                  </a:lnTo>
                  <a:lnTo>
                    <a:pt x="644" y="1346"/>
                  </a:lnTo>
                  <a:lnTo>
                    <a:pt x="644" y="1340"/>
                  </a:lnTo>
                  <a:lnTo>
                    <a:pt x="642" y="1334"/>
                  </a:lnTo>
                  <a:lnTo>
                    <a:pt x="646" y="1328"/>
                  </a:lnTo>
                  <a:lnTo>
                    <a:pt x="652" y="1320"/>
                  </a:lnTo>
                  <a:lnTo>
                    <a:pt x="666" y="1310"/>
                  </a:lnTo>
                  <a:lnTo>
                    <a:pt x="686" y="1300"/>
                  </a:lnTo>
                  <a:lnTo>
                    <a:pt x="686" y="1300"/>
                  </a:lnTo>
                  <a:lnTo>
                    <a:pt x="730" y="1282"/>
                  </a:lnTo>
                  <a:lnTo>
                    <a:pt x="750" y="1274"/>
                  </a:lnTo>
                  <a:lnTo>
                    <a:pt x="764" y="1270"/>
                  </a:lnTo>
                  <a:lnTo>
                    <a:pt x="778" y="1268"/>
                  </a:lnTo>
                  <a:lnTo>
                    <a:pt x="788" y="1270"/>
                  </a:lnTo>
                  <a:lnTo>
                    <a:pt x="798" y="1272"/>
                  </a:lnTo>
                  <a:lnTo>
                    <a:pt x="804" y="1278"/>
                  </a:lnTo>
                  <a:lnTo>
                    <a:pt x="804" y="1278"/>
                  </a:lnTo>
                  <a:lnTo>
                    <a:pt x="812" y="1292"/>
                  </a:lnTo>
                  <a:lnTo>
                    <a:pt x="822" y="1298"/>
                  </a:lnTo>
                  <a:lnTo>
                    <a:pt x="844" y="1312"/>
                  </a:lnTo>
                  <a:lnTo>
                    <a:pt x="844" y="1312"/>
                  </a:lnTo>
                  <a:lnTo>
                    <a:pt x="876" y="1330"/>
                  </a:lnTo>
                  <a:lnTo>
                    <a:pt x="894" y="1340"/>
                  </a:lnTo>
                  <a:lnTo>
                    <a:pt x="914" y="1354"/>
                  </a:lnTo>
                  <a:lnTo>
                    <a:pt x="914" y="1354"/>
                  </a:lnTo>
                  <a:lnTo>
                    <a:pt x="924" y="1362"/>
                  </a:lnTo>
                  <a:lnTo>
                    <a:pt x="930" y="1370"/>
                  </a:lnTo>
                  <a:lnTo>
                    <a:pt x="936" y="1380"/>
                  </a:lnTo>
                  <a:lnTo>
                    <a:pt x="940" y="1384"/>
                  </a:lnTo>
                  <a:lnTo>
                    <a:pt x="948" y="1386"/>
                  </a:lnTo>
                  <a:lnTo>
                    <a:pt x="962" y="1386"/>
                  </a:lnTo>
                  <a:lnTo>
                    <a:pt x="982" y="1384"/>
                  </a:lnTo>
                  <a:lnTo>
                    <a:pt x="982" y="1384"/>
                  </a:lnTo>
                  <a:lnTo>
                    <a:pt x="1002" y="1380"/>
                  </a:lnTo>
                  <a:lnTo>
                    <a:pt x="1020" y="1374"/>
                  </a:lnTo>
                  <a:lnTo>
                    <a:pt x="1034" y="1368"/>
                  </a:lnTo>
                  <a:lnTo>
                    <a:pt x="1046" y="1360"/>
                  </a:lnTo>
                  <a:lnTo>
                    <a:pt x="1064" y="1346"/>
                  </a:lnTo>
                  <a:lnTo>
                    <a:pt x="1072" y="1340"/>
                  </a:lnTo>
                  <a:lnTo>
                    <a:pt x="1080" y="1334"/>
                  </a:lnTo>
                  <a:lnTo>
                    <a:pt x="1080" y="1334"/>
                  </a:lnTo>
                  <a:lnTo>
                    <a:pt x="1098" y="1324"/>
                  </a:lnTo>
                  <a:lnTo>
                    <a:pt x="1110" y="1318"/>
                  </a:lnTo>
                  <a:lnTo>
                    <a:pt x="1122" y="1316"/>
                  </a:lnTo>
                  <a:lnTo>
                    <a:pt x="1130" y="1314"/>
                  </a:lnTo>
                  <a:lnTo>
                    <a:pt x="1130" y="1314"/>
                  </a:lnTo>
                  <a:lnTo>
                    <a:pt x="1138" y="1312"/>
                  </a:lnTo>
                  <a:lnTo>
                    <a:pt x="1144" y="1310"/>
                  </a:lnTo>
                  <a:lnTo>
                    <a:pt x="1148" y="1306"/>
                  </a:lnTo>
                  <a:lnTo>
                    <a:pt x="1148" y="1306"/>
                  </a:lnTo>
                  <a:lnTo>
                    <a:pt x="1142" y="1290"/>
                  </a:lnTo>
                  <a:lnTo>
                    <a:pt x="1134" y="1276"/>
                  </a:lnTo>
                  <a:lnTo>
                    <a:pt x="1128" y="1264"/>
                  </a:lnTo>
                  <a:lnTo>
                    <a:pt x="1128" y="1264"/>
                  </a:lnTo>
                  <a:lnTo>
                    <a:pt x="1122" y="1260"/>
                  </a:lnTo>
                  <a:lnTo>
                    <a:pt x="1118" y="1256"/>
                  </a:lnTo>
                  <a:lnTo>
                    <a:pt x="1108" y="1250"/>
                  </a:lnTo>
                  <a:lnTo>
                    <a:pt x="1102" y="1244"/>
                  </a:lnTo>
                  <a:lnTo>
                    <a:pt x="1100" y="1236"/>
                  </a:lnTo>
                  <a:lnTo>
                    <a:pt x="1096" y="1226"/>
                  </a:lnTo>
                  <a:lnTo>
                    <a:pt x="1094" y="1212"/>
                  </a:lnTo>
                  <a:lnTo>
                    <a:pt x="1094" y="1212"/>
                  </a:lnTo>
                  <a:lnTo>
                    <a:pt x="1092" y="1164"/>
                  </a:lnTo>
                  <a:lnTo>
                    <a:pt x="1092" y="1150"/>
                  </a:lnTo>
                  <a:lnTo>
                    <a:pt x="1094" y="1134"/>
                  </a:lnTo>
                  <a:lnTo>
                    <a:pt x="1094" y="1134"/>
                  </a:lnTo>
                  <a:lnTo>
                    <a:pt x="1094" y="1120"/>
                  </a:lnTo>
                  <a:lnTo>
                    <a:pt x="1092" y="1108"/>
                  </a:lnTo>
                  <a:lnTo>
                    <a:pt x="1090" y="1098"/>
                  </a:lnTo>
                  <a:lnTo>
                    <a:pt x="1090" y="1086"/>
                  </a:lnTo>
                  <a:lnTo>
                    <a:pt x="1090" y="1086"/>
                  </a:lnTo>
                  <a:lnTo>
                    <a:pt x="1092" y="1082"/>
                  </a:lnTo>
                  <a:lnTo>
                    <a:pt x="1094" y="1078"/>
                  </a:lnTo>
                  <a:lnTo>
                    <a:pt x="1102" y="1072"/>
                  </a:lnTo>
                  <a:lnTo>
                    <a:pt x="1106" y="1068"/>
                  </a:lnTo>
                  <a:lnTo>
                    <a:pt x="1108" y="1062"/>
                  </a:lnTo>
                  <a:lnTo>
                    <a:pt x="1110" y="1056"/>
                  </a:lnTo>
                  <a:lnTo>
                    <a:pt x="1108" y="1048"/>
                  </a:lnTo>
                  <a:lnTo>
                    <a:pt x="1108" y="1048"/>
                  </a:lnTo>
                  <a:lnTo>
                    <a:pt x="1108" y="1026"/>
                  </a:lnTo>
                  <a:lnTo>
                    <a:pt x="1108" y="1002"/>
                  </a:lnTo>
                  <a:lnTo>
                    <a:pt x="1112" y="974"/>
                  </a:lnTo>
                  <a:lnTo>
                    <a:pt x="1112" y="974"/>
                  </a:lnTo>
                  <a:lnTo>
                    <a:pt x="1104" y="960"/>
                  </a:lnTo>
                  <a:lnTo>
                    <a:pt x="1098" y="946"/>
                  </a:lnTo>
                  <a:lnTo>
                    <a:pt x="1096" y="928"/>
                  </a:lnTo>
                  <a:lnTo>
                    <a:pt x="1096" y="928"/>
                  </a:lnTo>
                  <a:lnTo>
                    <a:pt x="1096" y="910"/>
                  </a:lnTo>
                  <a:lnTo>
                    <a:pt x="1096" y="892"/>
                  </a:lnTo>
                  <a:lnTo>
                    <a:pt x="1094" y="886"/>
                  </a:lnTo>
                  <a:lnTo>
                    <a:pt x="1092" y="880"/>
                  </a:lnTo>
                  <a:lnTo>
                    <a:pt x="1088" y="876"/>
                  </a:lnTo>
                  <a:lnTo>
                    <a:pt x="1080" y="876"/>
                  </a:lnTo>
                  <a:lnTo>
                    <a:pt x="1080" y="876"/>
                  </a:lnTo>
                  <a:lnTo>
                    <a:pt x="1072" y="874"/>
                  </a:lnTo>
                  <a:lnTo>
                    <a:pt x="1064" y="872"/>
                  </a:lnTo>
                  <a:lnTo>
                    <a:pt x="1058" y="868"/>
                  </a:lnTo>
                  <a:lnTo>
                    <a:pt x="1052" y="864"/>
                  </a:lnTo>
                  <a:lnTo>
                    <a:pt x="1046" y="860"/>
                  </a:lnTo>
                  <a:lnTo>
                    <a:pt x="1044" y="854"/>
                  </a:lnTo>
                  <a:lnTo>
                    <a:pt x="1042" y="848"/>
                  </a:lnTo>
                  <a:lnTo>
                    <a:pt x="1042" y="842"/>
                  </a:lnTo>
                  <a:lnTo>
                    <a:pt x="1042" y="842"/>
                  </a:lnTo>
                  <a:lnTo>
                    <a:pt x="1042" y="832"/>
                  </a:lnTo>
                  <a:lnTo>
                    <a:pt x="1046" y="822"/>
                  </a:lnTo>
                  <a:lnTo>
                    <a:pt x="1054" y="806"/>
                  </a:lnTo>
                  <a:lnTo>
                    <a:pt x="1074" y="784"/>
                  </a:lnTo>
                  <a:lnTo>
                    <a:pt x="1074" y="784"/>
                  </a:lnTo>
                  <a:lnTo>
                    <a:pt x="1090" y="764"/>
                  </a:lnTo>
                  <a:lnTo>
                    <a:pt x="1098" y="754"/>
                  </a:lnTo>
                  <a:lnTo>
                    <a:pt x="1106" y="746"/>
                  </a:lnTo>
                  <a:lnTo>
                    <a:pt x="1122" y="730"/>
                  </a:lnTo>
                  <a:lnTo>
                    <a:pt x="1122" y="730"/>
                  </a:lnTo>
                  <a:lnTo>
                    <a:pt x="1142" y="710"/>
                  </a:lnTo>
                  <a:lnTo>
                    <a:pt x="1158" y="696"/>
                  </a:lnTo>
                  <a:lnTo>
                    <a:pt x="1172" y="686"/>
                  </a:lnTo>
                  <a:lnTo>
                    <a:pt x="1172" y="686"/>
                  </a:lnTo>
                  <a:lnTo>
                    <a:pt x="1194" y="622"/>
                  </a:lnTo>
                  <a:lnTo>
                    <a:pt x="1194" y="622"/>
                  </a:lnTo>
                  <a:lnTo>
                    <a:pt x="1196" y="606"/>
                  </a:lnTo>
                  <a:lnTo>
                    <a:pt x="1198" y="590"/>
                  </a:lnTo>
                  <a:lnTo>
                    <a:pt x="1198" y="568"/>
                  </a:lnTo>
                  <a:lnTo>
                    <a:pt x="1198" y="568"/>
                  </a:lnTo>
                  <a:lnTo>
                    <a:pt x="1200" y="560"/>
                  </a:lnTo>
                  <a:lnTo>
                    <a:pt x="1206" y="550"/>
                  </a:lnTo>
                  <a:lnTo>
                    <a:pt x="1212" y="542"/>
                  </a:lnTo>
                  <a:lnTo>
                    <a:pt x="1218" y="534"/>
                  </a:lnTo>
                  <a:lnTo>
                    <a:pt x="1218" y="534"/>
                  </a:lnTo>
                  <a:lnTo>
                    <a:pt x="1272" y="494"/>
                  </a:lnTo>
                  <a:lnTo>
                    <a:pt x="1272" y="494"/>
                  </a:lnTo>
                  <a:lnTo>
                    <a:pt x="1208" y="464"/>
                  </a:lnTo>
                  <a:lnTo>
                    <a:pt x="1162" y="442"/>
                  </a:lnTo>
                  <a:lnTo>
                    <a:pt x="1136" y="432"/>
                  </a:lnTo>
                  <a:lnTo>
                    <a:pt x="1136" y="432"/>
                  </a:lnTo>
                  <a:lnTo>
                    <a:pt x="1124" y="428"/>
                  </a:lnTo>
                  <a:lnTo>
                    <a:pt x="1120" y="424"/>
                  </a:lnTo>
                  <a:lnTo>
                    <a:pt x="1118" y="420"/>
                  </a:lnTo>
                  <a:lnTo>
                    <a:pt x="1118" y="420"/>
                  </a:lnTo>
                  <a:lnTo>
                    <a:pt x="1106" y="400"/>
                  </a:lnTo>
                  <a:lnTo>
                    <a:pt x="1100" y="390"/>
                  </a:lnTo>
                  <a:lnTo>
                    <a:pt x="1094" y="384"/>
                  </a:lnTo>
                  <a:lnTo>
                    <a:pt x="1094" y="384"/>
                  </a:lnTo>
                  <a:lnTo>
                    <a:pt x="1086" y="376"/>
                  </a:lnTo>
                  <a:lnTo>
                    <a:pt x="1074" y="362"/>
                  </a:lnTo>
                  <a:lnTo>
                    <a:pt x="1060" y="350"/>
                  </a:lnTo>
                  <a:lnTo>
                    <a:pt x="1052" y="342"/>
                  </a:lnTo>
                  <a:lnTo>
                    <a:pt x="1052" y="342"/>
                  </a:lnTo>
                  <a:lnTo>
                    <a:pt x="1040" y="338"/>
                  </a:lnTo>
                  <a:lnTo>
                    <a:pt x="1018" y="328"/>
                  </a:lnTo>
                  <a:lnTo>
                    <a:pt x="1018" y="328"/>
                  </a:lnTo>
                  <a:lnTo>
                    <a:pt x="1000" y="318"/>
                  </a:lnTo>
                  <a:lnTo>
                    <a:pt x="978" y="302"/>
                  </a:lnTo>
                  <a:lnTo>
                    <a:pt x="960" y="288"/>
                  </a:lnTo>
                  <a:lnTo>
                    <a:pt x="952" y="278"/>
                  </a:lnTo>
                  <a:lnTo>
                    <a:pt x="952" y="278"/>
                  </a:lnTo>
                  <a:lnTo>
                    <a:pt x="946" y="268"/>
                  </a:lnTo>
                  <a:lnTo>
                    <a:pt x="938" y="254"/>
                  </a:lnTo>
                  <a:lnTo>
                    <a:pt x="926" y="234"/>
                  </a:lnTo>
                  <a:lnTo>
                    <a:pt x="926" y="234"/>
                  </a:lnTo>
                  <a:lnTo>
                    <a:pt x="906" y="206"/>
                  </a:lnTo>
                  <a:lnTo>
                    <a:pt x="894" y="188"/>
                  </a:lnTo>
                  <a:lnTo>
                    <a:pt x="886" y="176"/>
                  </a:lnTo>
                  <a:lnTo>
                    <a:pt x="886" y="176"/>
                  </a:lnTo>
                  <a:lnTo>
                    <a:pt x="882" y="168"/>
                  </a:lnTo>
                  <a:lnTo>
                    <a:pt x="878" y="162"/>
                  </a:lnTo>
                  <a:lnTo>
                    <a:pt x="866" y="152"/>
                  </a:lnTo>
                  <a:lnTo>
                    <a:pt x="850" y="138"/>
                  </a:lnTo>
                  <a:lnTo>
                    <a:pt x="850" y="138"/>
                  </a:lnTo>
                  <a:lnTo>
                    <a:pt x="840" y="128"/>
                  </a:lnTo>
                  <a:lnTo>
                    <a:pt x="836" y="120"/>
                  </a:lnTo>
                  <a:lnTo>
                    <a:pt x="832" y="110"/>
                  </a:lnTo>
                  <a:lnTo>
                    <a:pt x="832" y="110"/>
                  </a:lnTo>
                  <a:lnTo>
                    <a:pt x="830" y="100"/>
                  </a:lnTo>
                  <a:lnTo>
                    <a:pt x="830" y="90"/>
                  </a:lnTo>
                  <a:lnTo>
                    <a:pt x="828" y="80"/>
                  </a:lnTo>
                  <a:lnTo>
                    <a:pt x="826" y="76"/>
                  </a:lnTo>
                  <a:lnTo>
                    <a:pt x="824" y="74"/>
                  </a:lnTo>
                  <a:lnTo>
                    <a:pt x="824" y="74"/>
                  </a:lnTo>
                  <a:lnTo>
                    <a:pt x="800" y="62"/>
                  </a:lnTo>
                  <a:lnTo>
                    <a:pt x="782" y="56"/>
                  </a:lnTo>
                  <a:lnTo>
                    <a:pt x="782" y="56"/>
                  </a:lnTo>
                  <a:lnTo>
                    <a:pt x="768" y="46"/>
                  </a:lnTo>
                  <a:lnTo>
                    <a:pt x="758" y="38"/>
                  </a:lnTo>
                  <a:lnTo>
                    <a:pt x="756" y="34"/>
                  </a:lnTo>
                  <a:lnTo>
                    <a:pt x="756" y="32"/>
                  </a:lnTo>
                  <a:lnTo>
                    <a:pt x="756" y="32"/>
                  </a:lnTo>
                  <a:lnTo>
                    <a:pt x="764" y="26"/>
                  </a:lnTo>
                  <a:lnTo>
                    <a:pt x="768" y="24"/>
                  </a:lnTo>
                  <a:lnTo>
                    <a:pt x="762" y="18"/>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77" name="Freeform 43"/>
            <p:cNvSpPr>
              <a:spLocks/>
            </p:cNvSpPr>
            <p:nvPr/>
          </p:nvSpPr>
          <p:spPr bwMode="auto">
            <a:xfrm>
              <a:off x="2581662" y="3383398"/>
              <a:ext cx="346008" cy="411551"/>
            </a:xfrm>
            <a:custGeom>
              <a:avLst/>
              <a:gdLst/>
              <a:ahLst/>
              <a:cxnLst>
                <a:cxn ang="0">
                  <a:pos x="438" y="292"/>
                </a:cxn>
                <a:cxn ang="0">
                  <a:pos x="442" y="324"/>
                </a:cxn>
                <a:cxn ang="0">
                  <a:pos x="418" y="370"/>
                </a:cxn>
                <a:cxn ang="0">
                  <a:pos x="396" y="436"/>
                </a:cxn>
                <a:cxn ang="0">
                  <a:pos x="388" y="476"/>
                </a:cxn>
                <a:cxn ang="0">
                  <a:pos x="360" y="500"/>
                </a:cxn>
                <a:cxn ang="0">
                  <a:pos x="276" y="520"/>
                </a:cxn>
                <a:cxn ang="0">
                  <a:pos x="214" y="512"/>
                </a:cxn>
                <a:cxn ang="0">
                  <a:pos x="178" y="516"/>
                </a:cxn>
                <a:cxn ang="0">
                  <a:pos x="104" y="540"/>
                </a:cxn>
                <a:cxn ang="0">
                  <a:pos x="44" y="530"/>
                </a:cxn>
                <a:cxn ang="0">
                  <a:pos x="6" y="510"/>
                </a:cxn>
                <a:cxn ang="0">
                  <a:pos x="16" y="496"/>
                </a:cxn>
                <a:cxn ang="0">
                  <a:pos x="30" y="478"/>
                </a:cxn>
                <a:cxn ang="0">
                  <a:pos x="10" y="452"/>
                </a:cxn>
                <a:cxn ang="0">
                  <a:pos x="0" y="416"/>
                </a:cxn>
                <a:cxn ang="0">
                  <a:pos x="16" y="394"/>
                </a:cxn>
                <a:cxn ang="0">
                  <a:pos x="72" y="350"/>
                </a:cxn>
                <a:cxn ang="0">
                  <a:pos x="74" y="328"/>
                </a:cxn>
                <a:cxn ang="0">
                  <a:pos x="94" y="326"/>
                </a:cxn>
                <a:cxn ang="0">
                  <a:pos x="136" y="292"/>
                </a:cxn>
                <a:cxn ang="0">
                  <a:pos x="158" y="278"/>
                </a:cxn>
                <a:cxn ang="0">
                  <a:pos x="162" y="250"/>
                </a:cxn>
                <a:cxn ang="0">
                  <a:pos x="136" y="220"/>
                </a:cxn>
                <a:cxn ang="0">
                  <a:pos x="112" y="198"/>
                </a:cxn>
                <a:cxn ang="0">
                  <a:pos x="112" y="164"/>
                </a:cxn>
                <a:cxn ang="0">
                  <a:pos x="128" y="150"/>
                </a:cxn>
                <a:cxn ang="0">
                  <a:pos x="156" y="136"/>
                </a:cxn>
                <a:cxn ang="0">
                  <a:pos x="162" y="120"/>
                </a:cxn>
                <a:cxn ang="0">
                  <a:pos x="156" y="100"/>
                </a:cxn>
                <a:cxn ang="0">
                  <a:pos x="178" y="74"/>
                </a:cxn>
                <a:cxn ang="0">
                  <a:pos x="210" y="64"/>
                </a:cxn>
                <a:cxn ang="0">
                  <a:pos x="226" y="72"/>
                </a:cxn>
                <a:cxn ang="0">
                  <a:pos x="244" y="96"/>
                </a:cxn>
                <a:cxn ang="0">
                  <a:pos x="282" y="110"/>
                </a:cxn>
                <a:cxn ang="0">
                  <a:pos x="310" y="106"/>
                </a:cxn>
                <a:cxn ang="0">
                  <a:pos x="328" y="90"/>
                </a:cxn>
                <a:cxn ang="0">
                  <a:pos x="332" y="76"/>
                </a:cxn>
                <a:cxn ang="0">
                  <a:pos x="318" y="58"/>
                </a:cxn>
                <a:cxn ang="0">
                  <a:pos x="328" y="38"/>
                </a:cxn>
                <a:cxn ang="0">
                  <a:pos x="374" y="2"/>
                </a:cxn>
                <a:cxn ang="0">
                  <a:pos x="410" y="4"/>
                </a:cxn>
                <a:cxn ang="0">
                  <a:pos x="438" y="14"/>
                </a:cxn>
                <a:cxn ang="0">
                  <a:pos x="444" y="34"/>
                </a:cxn>
                <a:cxn ang="0">
                  <a:pos x="448" y="58"/>
                </a:cxn>
                <a:cxn ang="0">
                  <a:pos x="360" y="130"/>
                </a:cxn>
                <a:cxn ang="0">
                  <a:pos x="342" y="140"/>
                </a:cxn>
                <a:cxn ang="0">
                  <a:pos x="336" y="156"/>
                </a:cxn>
                <a:cxn ang="0">
                  <a:pos x="352" y="182"/>
                </a:cxn>
                <a:cxn ang="0">
                  <a:pos x="366" y="186"/>
                </a:cxn>
                <a:cxn ang="0">
                  <a:pos x="396" y="174"/>
                </a:cxn>
                <a:cxn ang="0">
                  <a:pos x="410" y="180"/>
                </a:cxn>
                <a:cxn ang="0">
                  <a:pos x="422" y="222"/>
                </a:cxn>
                <a:cxn ang="0">
                  <a:pos x="430" y="286"/>
                </a:cxn>
              </a:cxnLst>
              <a:rect l="0" t="0" r="r" b="b"/>
              <a:pathLst>
                <a:path w="454" h="540">
                  <a:moveTo>
                    <a:pt x="430" y="286"/>
                  </a:moveTo>
                  <a:lnTo>
                    <a:pt x="430" y="286"/>
                  </a:lnTo>
                  <a:lnTo>
                    <a:pt x="436" y="288"/>
                  </a:lnTo>
                  <a:lnTo>
                    <a:pt x="438" y="292"/>
                  </a:lnTo>
                  <a:lnTo>
                    <a:pt x="442" y="296"/>
                  </a:lnTo>
                  <a:lnTo>
                    <a:pt x="444" y="304"/>
                  </a:lnTo>
                  <a:lnTo>
                    <a:pt x="446" y="312"/>
                  </a:lnTo>
                  <a:lnTo>
                    <a:pt x="442" y="324"/>
                  </a:lnTo>
                  <a:lnTo>
                    <a:pt x="434" y="338"/>
                  </a:lnTo>
                  <a:lnTo>
                    <a:pt x="434" y="338"/>
                  </a:lnTo>
                  <a:lnTo>
                    <a:pt x="426" y="354"/>
                  </a:lnTo>
                  <a:lnTo>
                    <a:pt x="418" y="370"/>
                  </a:lnTo>
                  <a:lnTo>
                    <a:pt x="408" y="398"/>
                  </a:lnTo>
                  <a:lnTo>
                    <a:pt x="402" y="420"/>
                  </a:lnTo>
                  <a:lnTo>
                    <a:pt x="396" y="436"/>
                  </a:lnTo>
                  <a:lnTo>
                    <a:pt x="396" y="436"/>
                  </a:lnTo>
                  <a:lnTo>
                    <a:pt x="394" y="444"/>
                  </a:lnTo>
                  <a:lnTo>
                    <a:pt x="394" y="450"/>
                  </a:lnTo>
                  <a:lnTo>
                    <a:pt x="390" y="466"/>
                  </a:lnTo>
                  <a:lnTo>
                    <a:pt x="388" y="476"/>
                  </a:lnTo>
                  <a:lnTo>
                    <a:pt x="382" y="484"/>
                  </a:lnTo>
                  <a:lnTo>
                    <a:pt x="374" y="492"/>
                  </a:lnTo>
                  <a:lnTo>
                    <a:pt x="360" y="500"/>
                  </a:lnTo>
                  <a:lnTo>
                    <a:pt x="360" y="500"/>
                  </a:lnTo>
                  <a:lnTo>
                    <a:pt x="336" y="510"/>
                  </a:lnTo>
                  <a:lnTo>
                    <a:pt x="316" y="518"/>
                  </a:lnTo>
                  <a:lnTo>
                    <a:pt x="300" y="520"/>
                  </a:lnTo>
                  <a:lnTo>
                    <a:pt x="276" y="520"/>
                  </a:lnTo>
                  <a:lnTo>
                    <a:pt x="276" y="520"/>
                  </a:lnTo>
                  <a:lnTo>
                    <a:pt x="252" y="518"/>
                  </a:lnTo>
                  <a:lnTo>
                    <a:pt x="232" y="514"/>
                  </a:lnTo>
                  <a:lnTo>
                    <a:pt x="214" y="512"/>
                  </a:lnTo>
                  <a:lnTo>
                    <a:pt x="204" y="512"/>
                  </a:lnTo>
                  <a:lnTo>
                    <a:pt x="192" y="512"/>
                  </a:lnTo>
                  <a:lnTo>
                    <a:pt x="192" y="512"/>
                  </a:lnTo>
                  <a:lnTo>
                    <a:pt x="178" y="516"/>
                  </a:lnTo>
                  <a:lnTo>
                    <a:pt x="164" y="520"/>
                  </a:lnTo>
                  <a:lnTo>
                    <a:pt x="134" y="532"/>
                  </a:lnTo>
                  <a:lnTo>
                    <a:pt x="120" y="536"/>
                  </a:lnTo>
                  <a:lnTo>
                    <a:pt x="104" y="540"/>
                  </a:lnTo>
                  <a:lnTo>
                    <a:pt x="88" y="540"/>
                  </a:lnTo>
                  <a:lnTo>
                    <a:pt x="72" y="538"/>
                  </a:lnTo>
                  <a:lnTo>
                    <a:pt x="72" y="538"/>
                  </a:lnTo>
                  <a:lnTo>
                    <a:pt x="44" y="530"/>
                  </a:lnTo>
                  <a:lnTo>
                    <a:pt x="20" y="524"/>
                  </a:lnTo>
                  <a:lnTo>
                    <a:pt x="12" y="520"/>
                  </a:lnTo>
                  <a:lnTo>
                    <a:pt x="8" y="514"/>
                  </a:lnTo>
                  <a:lnTo>
                    <a:pt x="6" y="510"/>
                  </a:lnTo>
                  <a:lnTo>
                    <a:pt x="6" y="504"/>
                  </a:lnTo>
                  <a:lnTo>
                    <a:pt x="6" y="504"/>
                  </a:lnTo>
                  <a:lnTo>
                    <a:pt x="10" y="500"/>
                  </a:lnTo>
                  <a:lnTo>
                    <a:pt x="16" y="496"/>
                  </a:lnTo>
                  <a:lnTo>
                    <a:pt x="26" y="490"/>
                  </a:lnTo>
                  <a:lnTo>
                    <a:pt x="30" y="486"/>
                  </a:lnTo>
                  <a:lnTo>
                    <a:pt x="30" y="484"/>
                  </a:lnTo>
                  <a:lnTo>
                    <a:pt x="30" y="478"/>
                  </a:lnTo>
                  <a:lnTo>
                    <a:pt x="26" y="472"/>
                  </a:lnTo>
                  <a:lnTo>
                    <a:pt x="26" y="472"/>
                  </a:lnTo>
                  <a:lnTo>
                    <a:pt x="16" y="462"/>
                  </a:lnTo>
                  <a:lnTo>
                    <a:pt x="10" y="452"/>
                  </a:lnTo>
                  <a:lnTo>
                    <a:pt x="6" y="442"/>
                  </a:lnTo>
                  <a:lnTo>
                    <a:pt x="2" y="430"/>
                  </a:lnTo>
                  <a:lnTo>
                    <a:pt x="2" y="430"/>
                  </a:lnTo>
                  <a:lnTo>
                    <a:pt x="0" y="416"/>
                  </a:lnTo>
                  <a:lnTo>
                    <a:pt x="2" y="404"/>
                  </a:lnTo>
                  <a:lnTo>
                    <a:pt x="8" y="398"/>
                  </a:lnTo>
                  <a:lnTo>
                    <a:pt x="16" y="394"/>
                  </a:lnTo>
                  <a:lnTo>
                    <a:pt x="16" y="394"/>
                  </a:lnTo>
                  <a:lnTo>
                    <a:pt x="86" y="374"/>
                  </a:lnTo>
                  <a:lnTo>
                    <a:pt x="86" y="374"/>
                  </a:lnTo>
                  <a:lnTo>
                    <a:pt x="82" y="366"/>
                  </a:lnTo>
                  <a:lnTo>
                    <a:pt x="72" y="350"/>
                  </a:lnTo>
                  <a:lnTo>
                    <a:pt x="70" y="342"/>
                  </a:lnTo>
                  <a:lnTo>
                    <a:pt x="70" y="334"/>
                  </a:lnTo>
                  <a:lnTo>
                    <a:pt x="70" y="332"/>
                  </a:lnTo>
                  <a:lnTo>
                    <a:pt x="74" y="328"/>
                  </a:lnTo>
                  <a:lnTo>
                    <a:pt x="76" y="328"/>
                  </a:lnTo>
                  <a:lnTo>
                    <a:pt x="82" y="326"/>
                  </a:lnTo>
                  <a:lnTo>
                    <a:pt x="82" y="326"/>
                  </a:lnTo>
                  <a:lnTo>
                    <a:pt x="94" y="326"/>
                  </a:lnTo>
                  <a:lnTo>
                    <a:pt x="106" y="320"/>
                  </a:lnTo>
                  <a:lnTo>
                    <a:pt x="114" y="314"/>
                  </a:lnTo>
                  <a:lnTo>
                    <a:pt x="124" y="306"/>
                  </a:lnTo>
                  <a:lnTo>
                    <a:pt x="136" y="292"/>
                  </a:lnTo>
                  <a:lnTo>
                    <a:pt x="140" y="286"/>
                  </a:lnTo>
                  <a:lnTo>
                    <a:pt x="140" y="286"/>
                  </a:lnTo>
                  <a:lnTo>
                    <a:pt x="146" y="284"/>
                  </a:lnTo>
                  <a:lnTo>
                    <a:pt x="158" y="278"/>
                  </a:lnTo>
                  <a:lnTo>
                    <a:pt x="164" y="274"/>
                  </a:lnTo>
                  <a:lnTo>
                    <a:pt x="166" y="268"/>
                  </a:lnTo>
                  <a:lnTo>
                    <a:pt x="166" y="260"/>
                  </a:lnTo>
                  <a:lnTo>
                    <a:pt x="162" y="250"/>
                  </a:lnTo>
                  <a:lnTo>
                    <a:pt x="162" y="250"/>
                  </a:lnTo>
                  <a:lnTo>
                    <a:pt x="150" y="234"/>
                  </a:lnTo>
                  <a:lnTo>
                    <a:pt x="142" y="226"/>
                  </a:lnTo>
                  <a:lnTo>
                    <a:pt x="136" y="220"/>
                  </a:lnTo>
                  <a:lnTo>
                    <a:pt x="122" y="212"/>
                  </a:lnTo>
                  <a:lnTo>
                    <a:pt x="122" y="212"/>
                  </a:lnTo>
                  <a:lnTo>
                    <a:pt x="116" y="206"/>
                  </a:lnTo>
                  <a:lnTo>
                    <a:pt x="112" y="198"/>
                  </a:lnTo>
                  <a:lnTo>
                    <a:pt x="110" y="190"/>
                  </a:lnTo>
                  <a:lnTo>
                    <a:pt x="108" y="182"/>
                  </a:lnTo>
                  <a:lnTo>
                    <a:pt x="110" y="172"/>
                  </a:lnTo>
                  <a:lnTo>
                    <a:pt x="112" y="164"/>
                  </a:lnTo>
                  <a:lnTo>
                    <a:pt x="116" y="158"/>
                  </a:lnTo>
                  <a:lnTo>
                    <a:pt x="120" y="154"/>
                  </a:lnTo>
                  <a:lnTo>
                    <a:pt x="120" y="154"/>
                  </a:lnTo>
                  <a:lnTo>
                    <a:pt x="128" y="150"/>
                  </a:lnTo>
                  <a:lnTo>
                    <a:pt x="140" y="148"/>
                  </a:lnTo>
                  <a:lnTo>
                    <a:pt x="146" y="144"/>
                  </a:lnTo>
                  <a:lnTo>
                    <a:pt x="152" y="142"/>
                  </a:lnTo>
                  <a:lnTo>
                    <a:pt x="156" y="136"/>
                  </a:lnTo>
                  <a:lnTo>
                    <a:pt x="160" y="130"/>
                  </a:lnTo>
                  <a:lnTo>
                    <a:pt x="160" y="130"/>
                  </a:lnTo>
                  <a:lnTo>
                    <a:pt x="162" y="124"/>
                  </a:lnTo>
                  <a:lnTo>
                    <a:pt x="162" y="120"/>
                  </a:lnTo>
                  <a:lnTo>
                    <a:pt x="156" y="114"/>
                  </a:lnTo>
                  <a:lnTo>
                    <a:pt x="154" y="110"/>
                  </a:lnTo>
                  <a:lnTo>
                    <a:pt x="154" y="106"/>
                  </a:lnTo>
                  <a:lnTo>
                    <a:pt x="156" y="100"/>
                  </a:lnTo>
                  <a:lnTo>
                    <a:pt x="162" y="90"/>
                  </a:lnTo>
                  <a:lnTo>
                    <a:pt x="162" y="90"/>
                  </a:lnTo>
                  <a:lnTo>
                    <a:pt x="170" y="80"/>
                  </a:lnTo>
                  <a:lnTo>
                    <a:pt x="178" y="74"/>
                  </a:lnTo>
                  <a:lnTo>
                    <a:pt x="186" y="68"/>
                  </a:lnTo>
                  <a:lnTo>
                    <a:pt x="194" y="64"/>
                  </a:lnTo>
                  <a:lnTo>
                    <a:pt x="202" y="64"/>
                  </a:lnTo>
                  <a:lnTo>
                    <a:pt x="210" y="64"/>
                  </a:lnTo>
                  <a:lnTo>
                    <a:pt x="216" y="66"/>
                  </a:lnTo>
                  <a:lnTo>
                    <a:pt x="222" y="68"/>
                  </a:lnTo>
                  <a:lnTo>
                    <a:pt x="222" y="68"/>
                  </a:lnTo>
                  <a:lnTo>
                    <a:pt x="226" y="72"/>
                  </a:lnTo>
                  <a:lnTo>
                    <a:pt x="228" y="76"/>
                  </a:lnTo>
                  <a:lnTo>
                    <a:pt x="232" y="84"/>
                  </a:lnTo>
                  <a:lnTo>
                    <a:pt x="238" y="92"/>
                  </a:lnTo>
                  <a:lnTo>
                    <a:pt x="244" y="96"/>
                  </a:lnTo>
                  <a:lnTo>
                    <a:pt x="252" y="102"/>
                  </a:lnTo>
                  <a:lnTo>
                    <a:pt x="252" y="102"/>
                  </a:lnTo>
                  <a:lnTo>
                    <a:pt x="270" y="108"/>
                  </a:lnTo>
                  <a:lnTo>
                    <a:pt x="282" y="110"/>
                  </a:lnTo>
                  <a:lnTo>
                    <a:pt x="292" y="110"/>
                  </a:lnTo>
                  <a:lnTo>
                    <a:pt x="302" y="108"/>
                  </a:lnTo>
                  <a:lnTo>
                    <a:pt x="302" y="108"/>
                  </a:lnTo>
                  <a:lnTo>
                    <a:pt x="310" y="106"/>
                  </a:lnTo>
                  <a:lnTo>
                    <a:pt x="316" y="102"/>
                  </a:lnTo>
                  <a:lnTo>
                    <a:pt x="320" y="96"/>
                  </a:lnTo>
                  <a:lnTo>
                    <a:pt x="320" y="96"/>
                  </a:lnTo>
                  <a:lnTo>
                    <a:pt x="328" y="90"/>
                  </a:lnTo>
                  <a:lnTo>
                    <a:pt x="332" y="84"/>
                  </a:lnTo>
                  <a:lnTo>
                    <a:pt x="332" y="80"/>
                  </a:lnTo>
                  <a:lnTo>
                    <a:pt x="332" y="76"/>
                  </a:lnTo>
                  <a:lnTo>
                    <a:pt x="332" y="76"/>
                  </a:lnTo>
                  <a:lnTo>
                    <a:pt x="330" y="72"/>
                  </a:lnTo>
                  <a:lnTo>
                    <a:pt x="326" y="70"/>
                  </a:lnTo>
                  <a:lnTo>
                    <a:pt x="318" y="64"/>
                  </a:lnTo>
                  <a:lnTo>
                    <a:pt x="318" y="58"/>
                  </a:lnTo>
                  <a:lnTo>
                    <a:pt x="318" y="54"/>
                  </a:lnTo>
                  <a:lnTo>
                    <a:pt x="320" y="48"/>
                  </a:lnTo>
                  <a:lnTo>
                    <a:pt x="328" y="38"/>
                  </a:lnTo>
                  <a:lnTo>
                    <a:pt x="328" y="38"/>
                  </a:lnTo>
                  <a:lnTo>
                    <a:pt x="344" y="22"/>
                  </a:lnTo>
                  <a:lnTo>
                    <a:pt x="360" y="8"/>
                  </a:lnTo>
                  <a:lnTo>
                    <a:pt x="368" y="4"/>
                  </a:lnTo>
                  <a:lnTo>
                    <a:pt x="374" y="2"/>
                  </a:lnTo>
                  <a:lnTo>
                    <a:pt x="384" y="0"/>
                  </a:lnTo>
                  <a:lnTo>
                    <a:pt x="392" y="2"/>
                  </a:lnTo>
                  <a:lnTo>
                    <a:pt x="392" y="2"/>
                  </a:lnTo>
                  <a:lnTo>
                    <a:pt x="410" y="4"/>
                  </a:lnTo>
                  <a:lnTo>
                    <a:pt x="424" y="6"/>
                  </a:lnTo>
                  <a:lnTo>
                    <a:pt x="430" y="6"/>
                  </a:lnTo>
                  <a:lnTo>
                    <a:pt x="434" y="10"/>
                  </a:lnTo>
                  <a:lnTo>
                    <a:pt x="438" y="14"/>
                  </a:lnTo>
                  <a:lnTo>
                    <a:pt x="440" y="22"/>
                  </a:lnTo>
                  <a:lnTo>
                    <a:pt x="440" y="22"/>
                  </a:lnTo>
                  <a:lnTo>
                    <a:pt x="442" y="28"/>
                  </a:lnTo>
                  <a:lnTo>
                    <a:pt x="444" y="34"/>
                  </a:lnTo>
                  <a:lnTo>
                    <a:pt x="452" y="42"/>
                  </a:lnTo>
                  <a:lnTo>
                    <a:pt x="454" y="46"/>
                  </a:lnTo>
                  <a:lnTo>
                    <a:pt x="452" y="52"/>
                  </a:lnTo>
                  <a:lnTo>
                    <a:pt x="448" y="58"/>
                  </a:lnTo>
                  <a:lnTo>
                    <a:pt x="440" y="64"/>
                  </a:lnTo>
                  <a:lnTo>
                    <a:pt x="440" y="64"/>
                  </a:lnTo>
                  <a:lnTo>
                    <a:pt x="394" y="102"/>
                  </a:lnTo>
                  <a:lnTo>
                    <a:pt x="360" y="130"/>
                  </a:lnTo>
                  <a:lnTo>
                    <a:pt x="360" y="130"/>
                  </a:lnTo>
                  <a:lnTo>
                    <a:pt x="356" y="134"/>
                  </a:lnTo>
                  <a:lnTo>
                    <a:pt x="352" y="136"/>
                  </a:lnTo>
                  <a:lnTo>
                    <a:pt x="342" y="140"/>
                  </a:lnTo>
                  <a:lnTo>
                    <a:pt x="338" y="142"/>
                  </a:lnTo>
                  <a:lnTo>
                    <a:pt x="336" y="144"/>
                  </a:lnTo>
                  <a:lnTo>
                    <a:pt x="336" y="148"/>
                  </a:lnTo>
                  <a:lnTo>
                    <a:pt x="336" y="156"/>
                  </a:lnTo>
                  <a:lnTo>
                    <a:pt x="336" y="156"/>
                  </a:lnTo>
                  <a:lnTo>
                    <a:pt x="342" y="168"/>
                  </a:lnTo>
                  <a:lnTo>
                    <a:pt x="348" y="178"/>
                  </a:lnTo>
                  <a:lnTo>
                    <a:pt x="352" y="182"/>
                  </a:lnTo>
                  <a:lnTo>
                    <a:pt x="356" y="184"/>
                  </a:lnTo>
                  <a:lnTo>
                    <a:pt x="360" y="186"/>
                  </a:lnTo>
                  <a:lnTo>
                    <a:pt x="366" y="186"/>
                  </a:lnTo>
                  <a:lnTo>
                    <a:pt x="366" y="186"/>
                  </a:lnTo>
                  <a:lnTo>
                    <a:pt x="372" y="184"/>
                  </a:lnTo>
                  <a:lnTo>
                    <a:pt x="378" y="182"/>
                  </a:lnTo>
                  <a:lnTo>
                    <a:pt x="390" y="176"/>
                  </a:lnTo>
                  <a:lnTo>
                    <a:pt x="396" y="174"/>
                  </a:lnTo>
                  <a:lnTo>
                    <a:pt x="402" y="172"/>
                  </a:lnTo>
                  <a:lnTo>
                    <a:pt x="406" y="174"/>
                  </a:lnTo>
                  <a:lnTo>
                    <a:pt x="410" y="180"/>
                  </a:lnTo>
                  <a:lnTo>
                    <a:pt x="410" y="180"/>
                  </a:lnTo>
                  <a:lnTo>
                    <a:pt x="420" y="198"/>
                  </a:lnTo>
                  <a:lnTo>
                    <a:pt x="422" y="206"/>
                  </a:lnTo>
                  <a:lnTo>
                    <a:pt x="422" y="222"/>
                  </a:lnTo>
                  <a:lnTo>
                    <a:pt x="422" y="222"/>
                  </a:lnTo>
                  <a:lnTo>
                    <a:pt x="424" y="244"/>
                  </a:lnTo>
                  <a:lnTo>
                    <a:pt x="426" y="264"/>
                  </a:lnTo>
                  <a:lnTo>
                    <a:pt x="430" y="286"/>
                  </a:lnTo>
                  <a:lnTo>
                    <a:pt x="430" y="286"/>
                  </a:lnTo>
                  <a:close/>
                </a:path>
              </a:pathLst>
            </a:custGeom>
            <a:solidFill>
              <a:schemeClr val="bg2">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78" name="Freeform 44"/>
            <p:cNvSpPr>
              <a:spLocks/>
            </p:cNvSpPr>
            <p:nvPr/>
          </p:nvSpPr>
          <p:spPr bwMode="auto">
            <a:xfrm>
              <a:off x="2836215" y="3445893"/>
              <a:ext cx="158523" cy="147853"/>
            </a:xfrm>
            <a:custGeom>
              <a:avLst/>
              <a:gdLst/>
              <a:ahLst/>
              <a:cxnLst>
                <a:cxn ang="0">
                  <a:pos x="120" y="4"/>
                </a:cxn>
                <a:cxn ang="0">
                  <a:pos x="134" y="0"/>
                </a:cxn>
                <a:cxn ang="0">
                  <a:pos x="144" y="0"/>
                </a:cxn>
                <a:cxn ang="0">
                  <a:pos x="162" y="12"/>
                </a:cxn>
                <a:cxn ang="0">
                  <a:pos x="170" y="18"/>
                </a:cxn>
                <a:cxn ang="0">
                  <a:pos x="182" y="34"/>
                </a:cxn>
                <a:cxn ang="0">
                  <a:pos x="192" y="60"/>
                </a:cxn>
                <a:cxn ang="0">
                  <a:pos x="194" y="80"/>
                </a:cxn>
                <a:cxn ang="0">
                  <a:pos x="200" y="112"/>
                </a:cxn>
                <a:cxn ang="0">
                  <a:pos x="208" y="138"/>
                </a:cxn>
                <a:cxn ang="0">
                  <a:pos x="208" y="146"/>
                </a:cxn>
                <a:cxn ang="0">
                  <a:pos x="202" y="168"/>
                </a:cxn>
                <a:cxn ang="0">
                  <a:pos x="184" y="186"/>
                </a:cxn>
                <a:cxn ang="0">
                  <a:pos x="168" y="190"/>
                </a:cxn>
                <a:cxn ang="0">
                  <a:pos x="122" y="194"/>
                </a:cxn>
                <a:cxn ang="0">
                  <a:pos x="114" y="194"/>
                </a:cxn>
                <a:cxn ang="0">
                  <a:pos x="94" y="190"/>
                </a:cxn>
                <a:cxn ang="0">
                  <a:pos x="90" y="136"/>
                </a:cxn>
                <a:cxn ang="0">
                  <a:pos x="88" y="126"/>
                </a:cxn>
                <a:cxn ang="0">
                  <a:pos x="76" y="98"/>
                </a:cxn>
                <a:cxn ang="0">
                  <a:pos x="72" y="94"/>
                </a:cxn>
                <a:cxn ang="0">
                  <a:pos x="62" y="92"/>
                </a:cxn>
                <a:cxn ang="0">
                  <a:pos x="40" y="98"/>
                </a:cxn>
                <a:cxn ang="0">
                  <a:pos x="20" y="100"/>
                </a:cxn>
                <a:cxn ang="0">
                  <a:pos x="14" y="96"/>
                </a:cxn>
                <a:cxn ang="0">
                  <a:pos x="6" y="78"/>
                </a:cxn>
                <a:cxn ang="0">
                  <a:pos x="0" y="70"/>
                </a:cxn>
                <a:cxn ang="0">
                  <a:pos x="8" y="62"/>
                </a:cxn>
                <a:cxn ang="0">
                  <a:pos x="24" y="50"/>
                </a:cxn>
                <a:cxn ang="0">
                  <a:pos x="76" y="8"/>
                </a:cxn>
                <a:cxn ang="0">
                  <a:pos x="86" y="6"/>
                </a:cxn>
                <a:cxn ang="0">
                  <a:pos x="104" y="6"/>
                </a:cxn>
                <a:cxn ang="0">
                  <a:pos x="110" y="6"/>
                </a:cxn>
                <a:cxn ang="0">
                  <a:pos x="120" y="4"/>
                </a:cxn>
              </a:cxnLst>
              <a:rect l="0" t="0" r="r" b="b"/>
              <a:pathLst>
                <a:path w="208" h="194">
                  <a:moveTo>
                    <a:pt x="120" y="4"/>
                  </a:moveTo>
                  <a:lnTo>
                    <a:pt x="120" y="4"/>
                  </a:lnTo>
                  <a:lnTo>
                    <a:pt x="128" y="2"/>
                  </a:lnTo>
                  <a:lnTo>
                    <a:pt x="134" y="0"/>
                  </a:lnTo>
                  <a:lnTo>
                    <a:pt x="138" y="0"/>
                  </a:lnTo>
                  <a:lnTo>
                    <a:pt x="144" y="0"/>
                  </a:lnTo>
                  <a:lnTo>
                    <a:pt x="152" y="4"/>
                  </a:lnTo>
                  <a:lnTo>
                    <a:pt x="162" y="12"/>
                  </a:lnTo>
                  <a:lnTo>
                    <a:pt x="162" y="12"/>
                  </a:lnTo>
                  <a:lnTo>
                    <a:pt x="170" y="18"/>
                  </a:lnTo>
                  <a:lnTo>
                    <a:pt x="178" y="26"/>
                  </a:lnTo>
                  <a:lnTo>
                    <a:pt x="182" y="34"/>
                  </a:lnTo>
                  <a:lnTo>
                    <a:pt x="186" y="44"/>
                  </a:lnTo>
                  <a:lnTo>
                    <a:pt x="192" y="60"/>
                  </a:lnTo>
                  <a:lnTo>
                    <a:pt x="194" y="80"/>
                  </a:lnTo>
                  <a:lnTo>
                    <a:pt x="194" y="80"/>
                  </a:lnTo>
                  <a:lnTo>
                    <a:pt x="196" y="98"/>
                  </a:lnTo>
                  <a:lnTo>
                    <a:pt x="200" y="112"/>
                  </a:lnTo>
                  <a:lnTo>
                    <a:pt x="204" y="124"/>
                  </a:lnTo>
                  <a:lnTo>
                    <a:pt x="208" y="138"/>
                  </a:lnTo>
                  <a:lnTo>
                    <a:pt x="208" y="138"/>
                  </a:lnTo>
                  <a:lnTo>
                    <a:pt x="208" y="146"/>
                  </a:lnTo>
                  <a:lnTo>
                    <a:pt x="208" y="154"/>
                  </a:lnTo>
                  <a:lnTo>
                    <a:pt x="202" y="168"/>
                  </a:lnTo>
                  <a:lnTo>
                    <a:pt x="194" y="180"/>
                  </a:lnTo>
                  <a:lnTo>
                    <a:pt x="184" y="186"/>
                  </a:lnTo>
                  <a:lnTo>
                    <a:pt x="184" y="186"/>
                  </a:lnTo>
                  <a:lnTo>
                    <a:pt x="168" y="190"/>
                  </a:lnTo>
                  <a:lnTo>
                    <a:pt x="152" y="192"/>
                  </a:lnTo>
                  <a:lnTo>
                    <a:pt x="122" y="194"/>
                  </a:lnTo>
                  <a:lnTo>
                    <a:pt x="122" y="194"/>
                  </a:lnTo>
                  <a:lnTo>
                    <a:pt x="114" y="194"/>
                  </a:lnTo>
                  <a:lnTo>
                    <a:pt x="104" y="192"/>
                  </a:lnTo>
                  <a:lnTo>
                    <a:pt x="94" y="190"/>
                  </a:lnTo>
                  <a:lnTo>
                    <a:pt x="94" y="190"/>
                  </a:lnTo>
                  <a:lnTo>
                    <a:pt x="90" y="136"/>
                  </a:lnTo>
                  <a:lnTo>
                    <a:pt x="90" y="136"/>
                  </a:lnTo>
                  <a:lnTo>
                    <a:pt x="88" y="126"/>
                  </a:lnTo>
                  <a:lnTo>
                    <a:pt x="82" y="114"/>
                  </a:lnTo>
                  <a:lnTo>
                    <a:pt x="76" y="98"/>
                  </a:lnTo>
                  <a:lnTo>
                    <a:pt x="76" y="98"/>
                  </a:lnTo>
                  <a:lnTo>
                    <a:pt x="72" y="94"/>
                  </a:lnTo>
                  <a:lnTo>
                    <a:pt x="68" y="92"/>
                  </a:lnTo>
                  <a:lnTo>
                    <a:pt x="62" y="92"/>
                  </a:lnTo>
                  <a:lnTo>
                    <a:pt x="62" y="92"/>
                  </a:lnTo>
                  <a:lnTo>
                    <a:pt x="40" y="98"/>
                  </a:lnTo>
                  <a:lnTo>
                    <a:pt x="26" y="100"/>
                  </a:lnTo>
                  <a:lnTo>
                    <a:pt x="20" y="100"/>
                  </a:lnTo>
                  <a:lnTo>
                    <a:pt x="20" y="100"/>
                  </a:lnTo>
                  <a:lnTo>
                    <a:pt x="14" y="96"/>
                  </a:lnTo>
                  <a:lnTo>
                    <a:pt x="12" y="90"/>
                  </a:lnTo>
                  <a:lnTo>
                    <a:pt x="6" y="78"/>
                  </a:lnTo>
                  <a:lnTo>
                    <a:pt x="6" y="78"/>
                  </a:lnTo>
                  <a:lnTo>
                    <a:pt x="0" y="70"/>
                  </a:lnTo>
                  <a:lnTo>
                    <a:pt x="0" y="66"/>
                  </a:lnTo>
                  <a:lnTo>
                    <a:pt x="8" y="62"/>
                  </a:lnTo>
                  <a:lnTo>
                    <a:pt x="8" y="62"/>
                  </a:lnTo>
                  <a:lnTo>
                    <a:pt x="24" y="50"/>
                  </a:lnTo>
                  <a:lnTo>
                    <a:pt x="46" y="32"/>
                  </a:lnTo>
                  <a:lnTo>
                    <a:pt x="76" y="8"/>
                  </a:lnTo>
                  <a:lnTo>
                    <a:pt x="76" y="8"/>
                  </a:lnTo>
                  <a:lnTo>
                    <a:pt x="86" y="6"/>
                  </a:lnTo>
                  <a:lnTo>
                    <a:pt x="94" y="4"/>
                  </a:lnTo>
                  <a:lnTo>
                    <a:pt x="104" y="6"/>
                  </a:lnTo>
                  <a:lnTo>
                    <a:pt x="104" y="6"/>
                  </a:lnTo>
                  <a:lnTo>
                    <a:pt x="110" y="6"/>
                  </a:lnTo>
                  <a:lnTo>
                    <a:pt x="116" y="6"/>
                  </a:lnTo>
                  <a:lnTo>
                    <a:pt x="120" y="4"/>
                  </a:lnTo>
                  <a:lnTo>
                    <a:pt x="120" y="4"/>
                  </a:lnTo>
                  <a:close/>
                </a:path>
              </a:pathLst>
            </a:custGeom>
            <a:solidFill>
              <a:schemeClr val="bg2">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79" name="Freeform 45"/>
            <p:cNvSpPr>
              <a:spLocks/>
            </p:cNvSpPr>
            <p:nvPr/>
          </p:nvSpPr>
          <p:spPr bwMode="auto">
            <a:xfrm>
              <a:off x="2796584" y="3109031"/>
              <a:ext cx="583793" cy="1065460"/>
            </a:xfrm>
            <a:custGeom>
              <a:avLst/>
              <a:gdLst/>
              <a:ahLst/>
              <a:cxnLst>
                <a:cxn ang="0">
                  <a:pos x="698" y="1364"/>
                </a:cxn>
                <a:cxn ang="0">
                  <a:pos x="572" y="1396"/>
                </a:cxn>
                <a:cxn ang="0">
                  <a:pos x="428" y="1352"/>
                </a:cxn>
                <a:cxn ang="0">
                  <a:pos x="252" y="1276"/>
                </a:cxn>
                <a:cxn ang="0">
                  <a:pos x="182" y="1318"/>
                </a:cxn>
                <a:cxn ang="0">
                  <a:pos x="124" y="1280"/>
                </a:cxn>
                <a:cxn ang="0">
                  <a:pos x="2" y="1286"/>
                </a:cxn>
                <a:cxn ang="0">
                  <a:pos x="112" y="1228"/>
                </a:cxn>
                <a:cxn ang="0">
                  <a:pos x="208" y="1168"/>
                </a:cxn>
                <a:cxn ang="0">
                  <a:pos x="308" y="1184"/>
                </a:cxn>
                <a:cxn ang="0">
                  <a:pos x="272" y="1150"/>
                </a:cxn>
                <a:cxn ang="0">
                  <a:pos x="244" y="1100"/>
                </a:cxn>
                <a:cxn ang="0">
                  <a:pos x="144" y="1056"/>
                </a:cxn>
                <a:cxn ang="0">
                  <a:pos x="132" y="1018"/>
                </a:cxn>
                <a:cxn ang="0">
                  <a:pos x="156" y="996"/>
                </a:cxn>
                <a:cxn ang="0">
                  <a:pos x="222" y="1010"/>
                </a:cxn>
                <a:cxn ang="0">
                  <a:pos x="272" y="954"/>
                </a:cxn>
                <a:cxn ang="0">
                  <a:pos x="282" y="904"/>
                </a:cxn>
                <a:cxn ang="0">
                  <a:pos x="270" y="858"/>
                </a:cxn>
                <a:cxn ang="0">
                  <a:pos x="334" y="854"/>
                </a:cxn>
                <a:cxn ang="0">
                  <a:pos x="394" y="830"/>
                </a:cxn>
                <a:cxn ang="0">
                  <a:pos x="448" y="758"/>
                </a:cxn>
                <a:cxn ang="0">
                  <a:pos x="424" y="634"/>
                </a:cxn>
                <a:cxn ang="0">
                  <a:pos x="412" y="608"/>
                </a:cxn>
                <a:cxn ang="0">
                  <a:pos x="322" y="576"/>
                </a:cxn>
                <a:cxn ang="0">
                  <a:pos x="342" y="502"/>
                </a:cxn>
                <a:cxn ang="0">
                  <a:pos x="376" y="442"/>
                </a:cxn>
                <a:cxn ang="0">
                  <a:pos x="398" y="414"/>
                </a:cxn>
                <a:cxn ang="0">
                  <a:pos x="356" y="396"/>
                </a:cxn>
                <a:cxn ang="0">
                  <a:pos x="326" y="348"/>
                </a:cxn>
                <a:cxn ang="0">
                  <a:pos x="386" y="270"/>
                </a:cxn>
                <a:cxn ang="0">
                  <a:pos x="330" y="276"/>
                </a:cxn>
                <a:cxn ang="0">
                  <a:pos x="382" y="200"/>
                </a:cxn>
                <a:cxn ang="0">
                  <a:pos x="360" y="154"/>
                </a:cxn>
                <a:cxn ang="0">
                  <a:pos x="334" y="98"/>
                </a:cxn>
                <a:cxn ang="0">
                  <a:pos x="374" y="82"/>
                </a:cxn>
                <a:cxn ang="0">
                  <a:pos x="412" y="94"/>
                </a:cxn>
                <a:cxn ang="0">
                  <a:pos x="458" y="84"/>
                </a:cxn>
                <a:cxn ang="0">
                  <a:pos x="508" y="2"/>
                </a:cxn>
                <a:cxn ang="0">
                  <a:pos x="588" y="26"/>
                </a:cxn>
                <a:cxn ang="0">
                  <a:pos x="650" y="54"/>
                </a:cxn>
                <a:cxn ang="0">
                  <a:pos x="598" y="112"/>
                </a:cxn>
                <a:cxn ang="0">
                  <a:pos x="508" y="154"/>
                </a:cxn>
                <a:cxn ang="0">
                  <a:pos x="586" y="170"/>
                </a:cxn>
                <a:cxn ang="0">
                  <a:pos x="584" y="378"/>
                </a:cxn>
                <a:cxn ang="0">
                  <a:pos x="562" y="406"/>
                </a:cxn>
                <a:cxn ang="0">
                  <a:pos x="512" y="456"/>
                </a:cxn>
                <a:cxn ang="0">
                  <a:pos x="584" y="500"/>
                </a:cxn>
                <a:cxn ang="0">
                  <a:pos x="612" y="626"/>
                </a:cxn>
                <a:cxn ang="0">
                  <a:pos x="598" y="734"/>
                </a:cxn>
                <a:cxn ang="0">
                  <a:pos x="650" y="770"/>
                </a:cxn>
                <a:cxn ang="0">
                  <a:pos x="672" y="858"/>
                </a:cxn>
                <a:cxn ang="0">
                  <a:pos x="636" y="924"/>
                </a:cxn>
                <a:cxn ang="0">
                  <a:pos x="656" y="1014"/>
                </a:cxn>
                <a:cxn ang="0">
                  <a:pos x="626" y="1048"/>
                </a:cxn>
                <a:cxn ang="0">
                  <a:pos x="724" y="1092"/>
                </a:cxn>
                <a:cxn ang="0">
                  <a:pos x="760" y="1180"/>
                </a:cxn>
                <a:cxn ang="0">
                  <a:pos x="690" y="1270"/>
                </a:cxn>
                <a:cxn ang="0">
                  <a:pos x="592" y="1262"/>
                </a:cxn>
                <a:cxn ang="0">
                  <a:pos x="626" y="1294"/>
                </a:cxn>
              </a:cxnLst>
              <a:rect l="0" t="0" r="r" b="b"/>
              <a:pathLst>
                <a:path w="766" h="1398">
                  <a:moveTo>
                    <a:pt x="626" y="1294"/>
                  </a:moveTo>
                  <a:lnTo>
                    <a:pt x="696" y="1342"/>
                  </a:lnTo>
                  <a:lnTo>
                    <a:pt x="696" y="1342"/>
                  </a:lnTo>
                  <a:lnTo>
                    <a:pt x="698" y="1344"/>
                  </a:lnTo>
                  <a:lnTo>
                    <a:pt x="704" y="1348"/>
                  </a:lnTo>
                  <a:lnTo>
                    <a:pt x="704" y="1350"/>
                  </a:lnTo>
                  <a:lnTo>
                    <a:pt x="704" y="1354"/>
                  </a:lnTo>
                  <a:lnTo>
                    <a:pt x="702" y="1358"/>
                  </a:lnTo>
                  <a:lnTo>
                    <a:pt x="698" y="1364"/>
                  </a:lnTo>
                  <a:lnTo>
                    <a:pt x="698" y="1364"/>
                  </a:lnTo>
                  <a:lnTo>
                    <a:pt x="686" y="1374"/>
                  </a:lnTo>
                  <a:lnTo>
                    <a:pt x="672" y="1380"/>
                  </a:lnTo>
                  <a:lnTo>
                    <a:pt x="638" y="1390"/>
                  </a:lnTo>
                  <a:lnTo>
                    <a:pt x="638" y="1390"/>
                  </a:lnTo>
                  <a:lnTo>
                    <a:pt x="618" y="1396"/>
                  </a:lnTo>
                  <a:lnTo>
                    <a:pt x="604" y="1398"/>
                  </a:lnTo>
                  <a:lnTo>
                    <a:pt x="590" y="1398"/>
                  </a:lnTo>
                  <a:lnTo>
                    <a:pt x="580" y="1398"/>
                  </a:lnTo>
                  <a:lnTo>
                    <a:pt x="580" y="1398"/>
                  </a:lnTo>
                  <a:lnTo>
                    <a:pt x="572" y="1396"/>
                  </a:lnTo>
                  <a:lnTo>
                    <a:pt x="564" y="1394"/>
                  </a:lnTo>
                  <a:lnTo>
                    <a:pt x="542" y="1380"/>
                  </a:lnTo>
                  <a:lnTo>
                    <a:pt x="542" y="1380"/>
                  </a:lnTo>
                  <a:lnTo>
                    <a:pt x="522" y="1370"/>
                  </a:lnTo>
                  <a:lnTo>
                    <a:pt x="502" y="1362"/>
                  </a:lnTo>
                  <a:lnTo>
                    <a:pt x="482" y="1358"/>
                  </a:lnTo>
                  <a:lnTo>
                    <a:pt x="462" y="1356"/>
                  </a:lnTo>
                  <a:lnTo>
                    <a:pt x="462" y="1356"/>
                  </a:lnTo>
                  <a:lnTo>
                    <a:pt x="446" y="1354"/>
                  </a:lnTo>
                  <a:lnTo>
                    <a:pt x="428" y="1352"/>
                  </a:lnTo>
                  <a:lnTo>
                    <a:pt x="390" y="1344"/>
                  </a:lnTo>
                  <a:lnTo>
                    <a:pt x="390" y="1344"/>
                  </a:lnTo>
                  <a:lnTo>
                    <a:pt x="372" y="1342"/>
                  </a:lnTo>
                  <a:lnTo>
                    <a:pt x="358" y="1336"/>
                  </a:lnTo>
                  <a:lnTo>
                    <a:pt x="344" y="1330"/>
                  </a:lnTo>
                  <a:lnTo>
                    <a:pt x="330" y="1320"/>
                  </a:lnTo>
                  <a:lnTo>
                    <a:pt x="330" y="1320"/>
                  </a:lnTo>
                  <a:lnTo>
                    <a:pt x="308" y="1306"/>
                  </a:lnTo>
                  <a:lnTo>
                    <a:pt x="282" y="1292"/>
                  </a:lnTo>
                  <a:lnTo>
                    <a:pt x="252" y="1276"/>
                  </a:lnTo>
                  <a:lnTo>
                    <a:pt x="252" y="1276"/>
                  </a:lnTo>
                  <a:lnTo>
                    <a:pt x="242" y="1284"/>
                  </a:lnTo>
                  <a:lnTo>
                    <a:pt x="222" y="1298"/>
                  </a:lnTo>
                  <a:lnTo>
                    <a:pt x="222" y="1298"/>
                  </a:lnTo>
                  <a:lnTo>
                    <a:pt x="212" y="1304"/>
                  </a:lnTo>
                  <a:lnTo>
                    <a:pt x="206" y="1312"/>
                  </a:lnTo>
                  <a:lnTo>
                    <a:pt x="200" y="1316"/>
                  </a:lnTo>
                  <a:lnTo>
                    <a:pt x="188" y="1318"/>
                  </a:lnTo>
                  <a:lnTo>
                    <a:pt x="188" y="1318"/>
                  </a:lnTo>
                  <a:lnTo>
                    <a:pt x="182" y="1318"/>
                  </a:lnTo>
                  <a:lnTo>
                    <a:pt x="178" y="1316"/>
                  </a:lnTo>
                  <a:lnTo>
                    <a:pt x="174" y="1314"/>
                  </a:lnTo>
                  <a:lnTo>
                    <a:pt x="174" y="1310"/>
                  </a:lnTo>
                  <a:lnTo>
                    <a:pt x="172" y="1302"/>
                  </a:lnTo>
                  <a:lnTo>
                    <a:pt x="172" y="1298"/>
                  </a:lnTo>
                  <a:lnTo>
                    <a:pt x="172" y="1298"/>
                  </a:lnTo>
                  <a:lnTo>
                    <a:pt x="166" y="1294"/>
                  </a:lnTo>
                  <a:lnTo>
                    <a:pt x="148" y="1286"/>
                  </a:lnTo>
                  <a:lnTo>
                    <a:pt x="136" y="1282"/>
                  </a:lnTo>
                  <a:lnTo>
                    <a:pt x="124" y="1280"/>
                  </a:lnTo>
                  <a:lnTo>
                    <a:pt x="114" y="1280"/>
                  </a:lnTo>
                  <a:lnTo>
                    <a:pt x="104" y="1282"/>
                  </a:lnTo>
                  <a:lnTo>
                    <a:pt x="104" y="1282"/>
                  </a:lnTo>
                  <a:lnTo>
                    <a:pt x="74" y="1292"/>
                  </a:lnTo>
                  <a:lnTo>
                    <a:pt x="64" y="1296"/>
                  </a:lnTo>
                  <a:lnTo>
                    <a:pt x="50" y="1298"/>
                  </a:lnTo>
                  <a:lnTo>
                    <a:pt x="50" y="1298"/>
                  </a:lnTo>
                  <a:lnTo>
                    <a:pt x="34" y="1296"/>
                  </a:lnTo>
                  <a:lnTo>
                    <a:pt x="16" y="1292"/>
                  </a:lnTo>
                  <a:lnTo>
                    <a:pt x="2" y="1286"/>
                  </a:lnTo>
                  <a:lnTo>
                    <a:pt x="0" y="1284"/>
                  </a:lnTo>
                  <a:lnTo>
                    <a:pt x="2" y="1282"/>
                  </a:lnTo>
                  <a:lnTo>
                    <a:pt x="2" y="1282"/>
                  </a:lnTo>
                  <a:lnTo>
                    <a:pt x="32" y="1264"/>
                  </a:lnTo>
                  <a:lnTo>
                    <a:pt x="50" y="1254"/>
                  </a:lnTo>
                  <a:lnTo>
                    <a:pt x="64" y="1250"/>
                  </a:lnTo>
                  <a:lnTo>
                    <a:pt x="64" y="1250"/>
                  </a:lnTo>
                  <a:lnTo>
                    <a:pt x="74" y="1246"/>
                  </a:lnTo>
                  <a:lnTo>
                    <a:pt x="84" y="1242"/>
                  </a:lnTo>
                  <a:lnTo>
                    <a:pt x="112" y="1228"/>
                  </a:lnTo>
                  <a:lnTo>
                    <a:pt x="136" y="1212"/>
                  </a:lnTo>
                  <a:lnTo>
                    <a:pt x="150" y="1202"/>
                  </a:lnTo>
                  <a:lnTo>
                    <a:pt x="150" y="1202"/>
                  </a:lnTo>
                  <a:lnTo>
                    <a:pt x="160" y="1192"/>
                  </a:lnTo>
                  <a:lnTo>
                    <a:pt x="172" y="1182"/>
                  </a:lnTo>
                  <a:lnTo>
                    <a:pt x="180" y="1176"/>
                  </a:lnTo>
                  <a:lnTo>
                    <a:pt x="188" y="1172"/>
                  </a:lnTo>
                  <a:lnTo>
                    <a:pt x="198" y="1168"/>
                  </a:lnTo>
                  <a:lnTo>
                    <a:pt x="208" y="1168"/>
                  </a:lnTo>
                  <a:lnTo>
                    <a:pt x="208" y="1168"/>
                  </a:lnTo>
                  <a:lnTo>
                    <a:pt x="240" y="1170"/>
                  </a:lnTo>
                  <a:lnTo>
                    <a:pt x="252" y="1172"/>
                  </a:lnTo>
                  <a:lnTo>
                    <a:pt x="264" y="1176"/>
                  </a:lnTo>
                  <a:lnTo>
                    <a:pt x="264" y="1176"/>
                  </a:lnTo>
                  <a:lnTo>
                    <a:pt x="274" y="1184"/>
                  </a:lnTo>
                  <a:lnTo>
                    <a:pt x="288" y="1188"/>
                  </a:lnTo>
                  <a:lnTo>
                    <a:pt x="298" y="1188"/>
                  </a:lnTo>
                  <a:lnTo>
                    <a:pt x="304" y="1186"/>
                  </a:lnTo>
                  <a:lnTo>
                    <a:pt x="308" y="1184"/>
                  </a:lnTo>
                  <a:lnTo>
                    <a:pt x="308" y="1184"/>
                  </a:lnTo>
                  <a:lnTo>
                    <a:pt x="314" y="1180"/>
                  </a:lnTo>
                  <a:lnTo>
                    <a:pt x="320" y="1178"/>
                  </a:lnTo>
                  <a:lnTo>
                    <a:pt x="332" y="1176"/>
                  </a:lnTo>
                  <a:lnTo>
                    <a:pt x="334" y="1174"/>
                  </a:lnTo>
                  <a:lnTo>
                    <a:pt x="336" y="1172"/>
                  </a:lnTo>
                  <a:lnTo>
                    <a:pt x="330" y="1170"/>
                  </a:lnTo>
                  <a:lnTo>
                    <a:pt x="320" y="1166"/>
                  </a:lnTo>
                  <a:lnTo>
                    <a:pt x="320" y="1166"/>
                  </a:lnTo>
                  <a:lnTo>
                    <a:pt x="296" y="1156"/>
                  </a:lnTo>
                  <a:lnTo>
                    <a:pt x="272" y="1150"/>
                  </a:lnTo>
                  <a:lnTo>
                    <a:pt x="252" y="1142"/>
                  </a:lnTo>
                  <a:lnTo>
                    <a:pt x="246" y="1138"/>
                  </a:lnTo>
                  <a:lnTo>
                    <a:pt x="240" y="1134"/>
                  </a:lnTo>
                  <a:lnTo>
                    <a:pt x="240" y="1134"/>
                  </a:lnTo>
                  <a:lnTo>
                    <a:pt x="240" y="1128"/>
                  </a:lnTo>
                  <a:lnTo>
                    <a:pt x="240" y="1124"/>
                  </a:lnTo>
                  <a:lnTo>
                    <a:pt x="246" y="1116"/>
                  </a:lnTo>
                  <a:lnTo>
                    <a:pt x="248" y="1110"/>
                  </a:lnTo>
                  <a:lnTo>
                    <a:pt x="248" y="1106"/>
                  </a:lnTo>
                  <a:lnTo>
                    <a:pt x="244" y="1100"/>
                  </a:lnTo>
                  <a:lnTo>
                    <a:pt x="234" y="1094"/>
                  </a:lnTo>
                  <a:lnTo>
                    <a:pt x="234" y="1094"/>
                  </a:lnTo>
                  <a:lnTo>
                    <a:pt x="192" y="1072"/>
                  </a:lnTo>
                  <a:lnTo>
                    <a:pt x="174" y="1062"/>
                  </a:lnTo>
                  <a:lnTo>
                    <a:pt x="174" y="1062"/>
                  </a:lnTo>
                  <a:lnTo>
                    <a:pt x="170" y="1064"/>
                  </a:lnTo>
                  <a:lnTo>
                    <a:pt x="160" y="1062"/>
                  </a:lnTo>
                  <a:lnTo>
                    <a:pt x="160" y="1062"/>
                  </a:lnTo>
                  <a:lnTo>
                    <a:pt x="150" y="1060"/>
                  </a:lnTo>
                  <a:lnTo>
                    <a:pt x="144" y="1056"/>
                  </a:lnTo>
                  <a:lnTo>
                    <a:pt x="140" y="1052"/>
                  </a:lnTo>
                  <a:lnTo>
                    <a:pt x="140" y="1046"/>
                  </a:lnTo>
                  <a:lnTo>
                    <a:pt x="140" y="1046"/>
                  </a:lnTo>
                  <a:lnTo>
                    <a:pt x="138" y="1044"/>
                  </a:lnTo>
                  <a:lnTo>
                    <a:pt x="134" y="1040"/>
                  </a:lnTo>
                  <a:lnTo>
                    <a:pt x="126" y="1032"/>
                  </a:lnTo>
                  <a:lnTo>
                    <a:pt x="122" y="1030"/>
                  </a:lnTo>
                  <a:lnTo>
                    <a:pt x="120" y="1026"/>
                  </a:lnTo>
                  <a:lnTo>
                    <a:pt x="124" y="1022"/>
                  </a:lnTo>
                  <a:lnTo>
                    <a:pt x="132" y="1018"/>
                  </a:lnTo>
                  <a:lnTo>
                    <a:pt x="132" y="1018"/>
                  </a:lnTo>
                  <a:lnTo>
                    <a:pt x="148" y="1012"/>
                  </a:lnTo>
                  <a:lnTo>
                    <a:pt x="152" y="1008"/>
                  </a:lnTo>
                  <a:lnTo>
                    <a:pt x="154" y="1006"/>
                  </a:lnTo>
                  <a:lnTo>
                    <a:pt x="154" y="1000"/>
                  </a:lnTo>
                  <a:lnTo>
                    <a:pt x="154" y="1000"/>
                  </a:lnTo>
                  <a:lnTo>
                    <a:pt x="154" y="1000"/>
                  </a:lnTo>
                  <a:lnTo>
                    <a:pt x="152" y="998"/>
                  </a:lnTo>
                  <a:lnTo>
                    <a:pt x="152" y="996"/>
                  </a:lnTo>
                  <a:lnTo>
                    <a:pt x="156" y="996"/>
                  </a:lnTo>
                  <a:lnTo>
                    <a:pt x="168" y="998"/>
                  </a:lnTo>
                  <a:lnTo>
                    <a:pt x="168" y="998"/>
                  </a:lnTo>
                  <a:lnTo>
                    <a:pt x="180" y="1006"/>
                  </a:lnTo>
                  <a:lnTo>
                    <a:pt x="190" y="1012"/>
                  </a:lnTo>
                  <a:lnTo>
                    <a:pt x="194" y="1014"/>
                  </a:lnTo>
                  <a:lnTo>
                    <a:pt x="200" y="1016"/>
                  </a:lnTo>
                  <a:lnTo>
                    <a:pt x="206" y="1016"/>
                  </a:lnTo>
                  <a:lnTo>
                    <a:pt x="212" y="1014"/>
                  </a:lnTo>
                  <a:lnTo>
                    <a:pt x="212" y="1014"/>
                  </a:lnTo>
                  <a:lnTo>
                    <a:pt x="222" y="1010"/>
                  </a:lnTo>
                  <a:lnTo>
                    <a:pt x="230" y="1008"/>
                  </a:lnTo>
                  <a:lnTo>
                    <a:pt x="238" y="1006"/>
                  </a:lnTo>
                  <a:lnTo>
                    <a:pt x="252" y="1000"/>
                  </a:lnTo>
                  <a:lnTo>
                    <a:pt x="252" y="1000"/>
                  </a:lnTo>
                  <a:lnTo>
                    <a:pt x="258" y="994"/>
                  </a:lnTo>
                  <a:lnTo>
                    <a:pt x="264" y="988"/>
                  </a:lnTo>
                  <a:lnTo>
                    <a:pt x="268" y="982"/>
                  </a:lnTo>
                  <a:lnTo>
                    <a:pt x="270" y="976"/>
                  </a:lnTo>
                  <a:lnTo>
                    <a:pt x="272" y="966"/>
                  </a:lnTo>
                  <a:lnTo>
                    <a:pt x="272" y="954"/>
                  </a:lnTo>
                  <a:lnTo>
                    <a:pt x="272" y="954"/>
                  </a:lnTo>
                  <a:lnTo>
                    <a:pt x="274" y="946"/>
                  </a:lnTo>
                  <a:lnTo>
                    <a:pt x="272" y="944"/>
                  </a:lnTo>
                  <a:lnTo>
                    <a:pt x="272" y="940"/>
                  </a:lnTo>
                  <a:lnTo>
                    <a:pt x="276" y="930"/>
                  </a:lnTo>
                  <a:lnTo>
                    <a:pt x="276" y="930"/>
                  </a:lnTo>
                  <a:lnTo>
                    <a:pt x="284" y="922"/>
                  </a:lnTo>
                  <a:lnTo>
                    <a:pt x="286" y="916"/>
                  </a:lnTo>
                  <a:lnTo>
                    <a:pt x="286" y="910"/>
                  </a:lnTo>
                  <a:lnTo>
                    <a:pt x="282" y="904"/>
                  </a:lnTo>
                  <a:lnTo>
                    <a:pt x="282" y="904"/>
                  </a:lnTo>
                  <a:lnTo>
                    <a:pt x="274" y="898"/>
                  </a:lnTo>
                  <a:lnTo>
                    <a:pt x="270" y="894"/>
                  </a:lnTo>
                  <a:lnTo>
                    <a:pt x="258" y="888"/>
                  </a:lnTo>
                  <a:lnTo>
                    <a:pt x="258" y="888"/>
                  </a:lnTo>
                  <a:lnTo>
                    <a:pt x="256" y="884"/>
                  </a:lnTo>
                  <a:lnTo>
                    <a:pt x="256" y="880"/>
                  </a:lnTo>
                  <a:lnTo>
                    <a:pt x="258" y="872"/>
                  </a:lnTo>
                  <a:lnTo>
                    <a:pt x="264" y="864"/>
                  </a:lnTo>
                  <a:lnTo>
                    <a:pt x="270" y="858"/>
                  </a:lnTo>
                  <a:lnTo>
                    <a:pt x="270" y="858"/>
                  </a:lnTo>
                  <a:lnTo>
                    <a:pt x="280" y="850"/>
                  </a:lnTo>
                  <a:lnTo>
                    <a:pt x="286" y="848"/>
                  </a:lnTo>
                  <a:lnTo>
                    <a:pt x="290" y="848"/>
                  </a:lnTo>
                  <a:lnTo>
                    <a:pt x="294" y="848"/>
                  </a:lnTo>
                  <a:lnTo>
                    <a:pt x="294" y="848"/>
                  </a:lnTo>
                  <a:lnTo>
                    <a:pt x="302" y="850"/>
                  </a:lnTo>
                  <a:lnTo>
                    <a:pt x="310" y="852"/>
                  </a:lnTo>
                  <a:lnTo>
                    <a:pt x="320" y="852"/>
                  </a:lnTo>
                  <a:lnTo>
                    <a:pt x="334" y="854"/>
                  </a:lnTo>
                  <a:lnTo>
                    <a:pt x="334" y="854"/>
                  </a:lnTo>
                  <a:lnTo>
                    <a:pt x="354" y="856"/>
                  </a:lnTo>
                  <a:lnTo>
                    <a:pt x="372" y="860"/>
                  </a:lnTo>
                  <a:lnTo>
                    <a:pt x="372" y="860"/>
                  </a:lnTo>
                  <a:lnTo>
                    <a:pt x="378" y="862"/>
                  </a:lnTo>
                  <a:lnTo>
                    <a:pt x="382" y="862"/>
                  </a:lnTo>
                  <a:lnTo>
                    <a:pt x="392" y="858"/>
                  </a:lnTo>
                  <a:lnTo>
                    <a:pt x="396" y="854"/>
                  </a:lnTo>
                  <a:lnTo>
                    <a:pt x="398" y="852"/>
                  </a:lnTo>
                  <a:lnTo>
                    <a:pt x="394" y="830"/>
                  </a:lnTo>
                  <a:lnTo>
                    <a:pt x="394" y="830"/>
                  </a:lnTo>
                  <a:lnTo>
                    <a:pt x="412" y="804"/>
                  </a:lnTo>
                  <a:lnTo>
                    <a:pt x="430" y="776"/>
                  </a:lnTo>
                  <a:lnTo>
                    <a:pt x="430" y="776"/>
                  </a:lnTo>
                  <a:lnTo>
                    <a:pt x="446" y="770"/>
                  </a:lnTo>
                  <a:lnTo>
                    <a:pt x="450" y="768"/>
                  </a:lnTo>
                  <a:lnTo>
                    <a:pt x="452" y="764"/>
                  </a:lnTo>
                  <a:lnTo>
                    <a:pt x="452" y="762"/>
                  </a:lnTo>
                  <a:lnTo>
                    <a:pt x="448" y="758"/>
                  </a:lnTo>
                  <a:lnTo>
                    <a:pt x="448" y="758"/>
                  </a:lnTo>
                  <a:lnTo>
                    <a:pt x="422" y="738"/>
                  </a:lnTo>
                  <a:lnTo>
                    <a:pt x="404" y="724"/>
                  </a:lnTo>
                  <a:lnTo>
                    <a:pt x="404" y="724"/>
                  </a:lnTo>
                  <a:lnTo>
                    <a:pt x="402" y="706"/>
                  </a:lnTo>
                  <a:lnTo>
                    <a:pt x="404" y="692"/>
                  </a:lnTo>
                  <a:lnTo>
                    <a:pt x="406" y="678"/>
                  </a:lnTo>
                  <a:lnTo>
                    <a:pt x="406" y="678"/>
                  </a:lnTo>
                  <a:lnTo>
                    <a:pt x="412" y="658"/>
                  </a:lnTo>
                  <a:lnTo>
                    <a:pt x="418" y="648"/>
                  </a:lnTo>
                  <a:lnTo>
                    <a:pt x="424" y="634"/>
                  </a:lnTo>
                  <a:lnTo>
                    <a:pt x="424" y="634"/>
                  </a:lnTo>
                  <a:lnTo>
                    <a:pt x="436" y="616"/>
                  </a:lnTo>
                  <a:lnTo>
                    <a:pt x="438" y="612"/>
                  </a:lnTo>
                  <a:lnTo>
                    <a:pt x="436" y="610"/>
                  </a:lnTo>
                  <a:lnTo>
                    <a:pt x="436" y="610"/>
                  </a:lnTo>
                  <a:lnTo>
                    <a:pt x="426" y="606"/>
                  </a:lnTo>
                  <a:lnTo>
                    <a:pt x="420" y="604"/>
                  </a:lnTo>
                  <a:lnTo>
                    <a:pt x="414" y="604"/>
                  </a:lnTo>
                  <a:lnTo>
                    <a:pt x="414" y="604"/>
                  </a:lnTo>
                  <a:lnTo>
                    <a:pt x="412" y="608"/>
                  </a:lnTo>
                  <a:lnTo>
                    <a:pt x="408" y="614"/>
                  </a:lnTo>
                  <a:lnTo>
                    <a:pt x="406" y="616"/>
                  </a:lnTo>
                  <a:lnTo>
                    <a:pt x="404" y="616"/>
                  </a:lnTo>
                  <a:lnTo>
                    <a:pt x="398" y="616"/>
                  </a:lnTo>
                  <a:lnTo>
                    <a:pt x="394" y="614"/>
                  </a:lnTo>
                  <a:lnTo>
                    <a:pt x="394" y="614"/>
                  </a:lnTo>
                  <a:lnTo>
                    <a:pt x="354" y="592"/>
                  </a:lnTo>
                  <a:lnTo>
                    <a:pt x="334" y="580"/>
                  </a:lnTo>
                  <a:lnTo>
                    <a:pt x="322" y="576"/>
                  </a:lnTo>
                  <a:lnTo>
                    <a:pt x="322" y="576"/>
                  </a:lnTo>
                  <a:lnTo>
                    <a:pt x="312" y="574"/>
                  </a:lnTo>
                  <a:lnTo>
                    <a:pt x="300" y="574"/>
                  </a:lnTo>
                  <a:lnTo>
                    <a:pt x="296" y="572"/>
                  </a:lnTo>
                  <a:lnTo>
                    <a:pt x="296" y="566"/>
                  </a:lnTo>
                  <a:lnTo>
                    <a:pt x="298" y="560"/>
                  </a:lnTo>
                  <a:lnTo>
                    <a:pt x="304" y="552"/>
                  </a:lnTo>
                  <a:lnTo>
                    <a:pt x="304" y="552"/>
                  </a:lnTo>
                  <a:lnTo>
                    <a:pt x="320" y="530"/>
                  </a:lnTo>
                  <a:lnTo>
                    <a:pt x="332" y="514"/>
                  </a:lnTo>
                  <a:lnTo>
                    <a:pt x="342" y="502"/>
                  </a:lnTo>
                  <a:lnTo>
                    <a:pt x="346" y="498"/>
                  </a:lnTo>
                  <a:lnTo>
                    <a:pt x="350" y="494"/>
                  </a:lnTo>
                  <a:lnTo>
                    <a:pt x="350" y="494"/>
                  </a:lnTo>
                  <a:lnTo>
                    <a:pt x="356" y="492"/>
                  </a:lnTo>
                  <a:lnTo>
                    <a:pt x="360" y="488"/>
                  </a:lnTo>
                  <a:lnTo>
                    <a:pt x="368" y="476"/>
                  </a:lnTo>
                  <a:lnTo>
                    <a:pt x="376" y="460"/>
                  </a:lnTo>
                  <a:lnTo>
                    <a:pt x="376" y="460"/>
                  </a:lnTo>
                  <a:lnTo>
                    <a:pt x="374" y="450"/>
                  </a:lnTo>
                  <a:lnTo>
                    <a:pt x="376" y="442"/>
                  </a:lnTo>
                  <a:lnTo>
                    <a:pt x="378" y="434"/>
                  </a:lnTo>
                  <a:lnTo>
                    <a:pt x="378" y="434"/>
                  </a:lnTo>
                  <a:lnTo>
                    <a:pt x="380" y="432"/>
                  </a:lnTo>
                  <a:lnTo>
                    <a:pt x="384" y="430"/>
                  </a:lnTo>
                  <a:lnTo>
                    <a:pt x="392" y="426"/>
                  </a:lnTo>
                  <a:lnTo>
                    <a:pt x="396" y="426"/>
                  </a:lnTo>
                  <a:lnTo>
                    <a:pt x="398" y="422"/>
                  </a:lnTo>
                  <a:lnTo>
                    <a:pt x="400" y="418"/>
                  </a:lnTo>
                  <a:lnTo>
                    <a:pt x="398" y="414"/>
                  </a:lnTo>
                  <a:lnTo>
                    <a:pt x="398" y="414"/>
                  </a:lnTo>
                  <a:lnTo>
                    <a:pt x="396" y="408"/>
                  </a:lnTo>
                  <a:lnTo>
                    <a:pt x="392" y="402"/>
                  </a:lnTo>
                  <a:lnTo>
                    <a:pt x="382" y="392"/>
                  </a:lnTo>
                  <a:lnTo>
                    <a:pt x="372" y="388"/>
                  </a:lnTo>
                  <a:lnTo>
                    <a:pt x="368" y="386"/>
                  </a:lnTo>
                  <a:lnTo>
                    <a:pt x="366" y="386"/>
                  </a:lnTo>
                  <a:lnTo>
                    <a:pt x="366" y="386"/>
                  </a:lnTo>
                  <a:lnTo>
                    <a:pt x="364" y="390"/>
                  </a:lnTo>
                  <a:lnTo>
                    <a:pt x="360" y="396"/>
                  </a:lnTo>
                  <a:lnTo>
                    <a:pt x="356" y="396"/>
                  </a:lnTo>
                  <a:lnTo>
                    <a:pt x="352" y="394"/>
                  </a:lnTo>
                  <a:lnTo>
                    <a:pt x="348" y="390"/>
                  </a:lnTo>
                  <a:lnTo>
                    <a:pt x="344" y="382"/>
                  </a:lnTo>
                  <a:lnTo>
                    <a:pt x="344" y="382"/>
                  </a:lnTo>
                  <a:lnTo>
                    <a:pt x="334" y="368"/>
                  </a:lnTo>
                  <a:lnTo>
                    <a:pt x="326" y="356"/>
                  </a:lnTo>
                  <a:lnTo>
                    <a:pt x="322" y="352"/>
                  </a:lnTo>
                  <a:lnTo>
                    <a:pt x="322" y="350"/>
                  </a:lnTo>
                  <a:lnTo>
                    <a:pt x="326" y="348"/>
                  </a:lnTo>
                  <a:lnTo>
                    <a:pt x="326" y="348"/>
                  </a:lnTo>
                  <a:lnTo>
                    <a:pt x="330" y="348"/>
                  </a:lnTo>
                  <a:lnTo>
                    <a:pt x="332" y="346"/>
                  </a:lnTo>
                  <a:lnTo>
                    <a:pt x="334" y="340"/>
                  </a:lnTo>
                  <a:lnTo>
                    <a:pt x="344" y="322"/>
                  </a:lnTo>
                  <a:lnTo>
                    <a:pt x="344" y="322"/>
                  </a:lnTo>
                  <a:lnTo>
                    <a:pt x="364" y="286"/>
                  </a:lnTo>
                  <a:lnTo>
                    <a:pt x="372" y="278"/>
                  </a:lnTo>
                  <a:lnTo>
                    <a:pt x="382" y="272"/>
                  </a:lnTo>
                  <a:lnTo>
                    <a:pt x="382" y="272"/>
                  </a:lnTo>
                  <a:lnTo>
                    <a:pt x="386" y="270"/>
                  </a:lnTo>
                  <a:lnTo>
                    <a:pt x="390" y="266"/>
                  </a:lnTo>
                  <a:lnTo>
                    <a:pt x="396" y="256"/>
                  </a:lnTo>
                  <a:lnTo>
                    <a:pt x="396" y="252"/>
                  </a:lnTo>
                  <a:lnTo>
                    <a:pt x="394" y="252"/>
                  </a:lnTo>
                  <a:lnTo>
                    <a:pt x="388" y="252"/>
                  </a:lnTo>
                  <a:lnTo>
                    <a:pt x="380" y="256"/>
                  </a:lnTo>
                  <a:lnTo>
                    <a:pt x="380" y="256"/>
                  </a:lnTo>
                  <a:lnTo>
                    <a:pt x="358" y="268"/>
                  </a:lnTo>
                  <a:lnTo>
                    <a:pt x="338" y="276"/>
                  </a:lnTo>
                  <a:lnTo>
                    <a:pt x="330" y="276"/>
                  </a:lnTo>
                  <a:lnTo>
                    <a:pt x="328" y="276"/>
                  </a:lnTo>
                  <a:lnTo>
                    <a:pt x="328" y="274"/>
                  </a:lnTo>
                  <a:lnTo>
                    <a:pt x="328" y="268"/>
                  </a:lnTo>
                  <a:lnTo>
                    <a:pt x="334" y="258"/>
                  </a:lnTo>
                  <a:lnTo>
                    <a:pt x="334" y="258"/>
                  </a:lnTo>
                  <a:lnTo>
                    <a:pt x="348" y="238"/>
                  </a:lnTo>
                  <a:lnTo>
                    <a:pt x="360" y="222"/>
                  </a:lnTo>
                  <a:lnTo>
                    <a:pt x="372" y="210"/>
                  </a:lnTo>
                  <a:lnTo>
                    <a:pt x="382" y="200"/>
                  </a:lnTo>
                  <a:lnTo>
                    <a:pt x="382" y="200"/>
                  </a:lnTo>
                  <a:lnTo>
                    <a:pt x="390" y="192"/>
                  </a:lnTo>
                  <a:lnTo>
                    <a:pt x="396" y="184"/>
                  </a:lnTo>
                  <a:lnTo>
                    <a:pt x="398" y="176"/>
                  </a:lnTo>
                  <a:lnTo>
                    <a:pt x="396" y="172"/>
                  </a:lnTo>
                  <a:lnTo>
                    <a:pt x="394" y="170"/>
                  </a:lnTo>
                  <a:lnTo>
                    <a:pt x="394" y="170"/>
                  </a:lnTo>
                  <a:lnTo>
                    <a:pt x="380" y="164"/>
                  </a:lnTo>
                  <a:lnTo>
                    <a:pt x="366" y="158"/>
                  </a:lnTo>
                  <a:lnTo>
                    <a:pt x="366" y="158"/>
                  </a:lnTo>
                  <a:lnTo>
                    <a:pt x="360" y="154"/>
                  </a:lnTo>
                  <a:lnTo>
                    <a:pt x="352" y="148"/>
                  </a:lnTo>
                  <a:lnTo>
                    <a:pt x="346" y="138"/>
                  </a:lnTo>
                  <a:lnTo>
                    <a:pt x="344" y="130"/>
                  </a:lnTo>
                  <a:lnTo>
                    <a:pt x="344" y="124"/>
                  </a:lnTo>
                  <a:lnTo>
                    <a:pt x="344" y="124"/>
                  </a:lnTo>
                  <a:lnTo>
                    <a:pt x="344" y="116"/>
                  </a:lnTo>
                  <a:lnTo>
                    <a:pt x="342" y="112"/>
                  </a:lnTo>
                  <a:lnTo>
                    <a:pt x="336" y="104"/>
                  </a:lnTo>
                  <a:lnTo>
                    <a:pt x="334" y="102"/>
                  </a:lnTo>
                  <a:lnTo>
                    <a:pt x="334" y="98"/>
                  </a:lnTo>
                  <a:lnTo>
                    <a:pt x="338" y="96"/>
                  </a:lnTo>
                  <a:lnTo>
                    <a:pt x="342" y="92"/>
                  </a:lnTo>
                  <a:lnTo>
                    <a:pt x="342" y="92"/>
                  </a:lnTo>
                  <a:lnTo>
                    <a:pt x="354" y="84"/>
                  </a:lnTo>
                  <a:lnTo>
                    <a:pt x="362" y="78"/>
                  </a:lnTo>
                  <a:lnTo>
                    <a:pt x="366" y="76"/>
                  </a:lnTo>
                  <a:lnTo>
                    <a:pt x="368" y="76"/>
                  </a:lnTo>
                  <a:lnTo>
                    <a:pt x="370" y="78"/>
                  </a:lnTo>
                  <a:lnTo>
                    <a:pt x="374" y="82"/>
                  </a:lnTo>
                  <a:lnTo>
                    <a:pt x="374" y="82"/>
                  </a:lnTo>
                  <a:lnTo>
                    <a:pt x="382" y="94"/>
                  </a:lnTo>
                  <a:lnTo>
                    <a:pt x="384" y="98"/>
                  </a:lnTo>
                  <a:lnTo>
                    <a:pt x="388" y="100"/>
                  </a:lnTo>
                  <a:lnTo>
                    <a:pt x="388" y="100"/>
                  </a:lnTo>
                  <a:lnTo>
                    <a:pt x="390" y="102"/>
                  </a:lnTo>
                  <a:lnTo>
                    <a:pt x="392" y="100"/>
                  </a:lnTo>
                  <a:lnTo>
                    <a:pt x="396" y="98"/>
                  </a:lnTo>
                  <a:lnTo>
                    <a:pt x="402" y="96"/>
                  </a:lnTo>
                  <a:lnTo>
                    <a:pt x="402" y="96"/>
                  </a:lnTo>
                  <a:lnTo>
                    <a:pt x="412" y="94"/>
                  </a:lnTo>
                  <a:lnTo>
                    <a:pt x="424" y="94"/>
                  </a:lnTo>
                  <a:lnTo>
                    <a:pt x="436" y="94"/>
                  </a:lnTo>
                  <a:lnTo>
                    <a:pt x="446" y="96"/>
                  </a:lnTo>
                  <a:lnTo>
                    <a:pt x="446" y="96"/>
                  </a:lnTo>
                  <a:lnTo>
                    <a:pt x="450" y="98"/>
                  </a:lnTo>
                  <a:lnTo>
                    <a:pt x="454" y="98"/>
                  </a:lnTo>
                  <a:lnTo>
                    <a:pt x="456" y="96"/>
                  </a:lnTo>
                  <a:lnTo>
                    <a:pt x="458" y="94"/>
                  </a:lnTo>
                  <a:lnTo>
                    <a:pt x="460" y="88"/>
                  </a:lnTo>
                  <a:lnTo>
                    <a:pt x="458" y="84"/>
                  </a:lnTo>
                  <a:lnTo>
                    <a:pt x="458" y="84"/>
                  </a:lnTo>
                  <a:lnTo>
                    <a:pt x="458" y="80"/>
                  </a:lnTo>
                  <a:lnTo>
                    <a:pt x="460" y="72"/>
                  </a:lnTo>
                  <a:lnTo>
                    <a:pt x="470" y="50"/>
                  </a:lnTo>
                  <a:lnTo>
                    <a:pt x="486" y="20"/>
                  </a:lnTo>
                  <a:lnTo>
                    <a:pt x="486" y="20"/>
                  </a:lnTo>
                  <a:lnTo>
                    <a:pt x="488" y="18"/>
                  </a:lnTo>
                  <a:lnTo>
                    <a:pt x="494" y="12"/>
                  </a:lnTo>
                  <a:lnTo>
                    <a:pt x="502" y="4"/>
                  </a:lnTo>
                  <a:lnTo>
                    <a:pt x="508" y="2"/>
                  </a:lnTo>
                  <a:lnTo>
                    <a:pt x="516" y="0"/>
                  </a:lnTo>
                  <a:lnTo>
                    <a:pt x="516" y="0"/>
                  </a:lnTo>
                  <a:lnTo>
                    <a:pt x="524" y="0"/>
                  </a:lnTo>
                  <a:lnTo>
                    <a:pt x="530" y="2"/>
                  </a:lnTo>
                  <a:lnTo>
                    <a:pt x="544" y="8"/>
                  </a:lnTo>
                  <a:lnTo>
                    <a:pt x="560" y="16"/>
                  </a:lnTo>
                  <a:lnTo>
                    <a:pt x="568" y="20"/>
                  </a:lnTo>
                  <a:lnTo>
                    <a:pt x="578" y="24"/>
                  </a:lnTo>
                  <a:lnTo>
                    <a:pt x="578" y="24"/>
                  </a:lnTo>
                  <a:lnTo>
                    <a:pt x="588" y="26"/>
                  </a:lnTo>
                  <a:lnTo>
                    <a:pt x="594" y="24"/>
                  </a:lnTo>
                  <a:lnTo>
                    <a:pt x="598" y="20"/>
                  </a:lnTo>
                  <a:lnTo>
                    <a:pt x="602" y="18"/>
                  </a:lnTo>
                  <a:lnTo>
                    <a:pt x="606" y="16"/>
                  </a:lnTo>
                  <a:lnTo>
                    <a:pt x="610" y="16"/>
                  </a:lnTo>
                  <a:lnTo>
                    <a:pt x="616" y="20"/>
                  </a:lnTo>
                  <a:lnTo>
                    <a:pt x="624" y="28"/>
                  </a:lnTo>
                  <a:lnTo>
                    <a:pt x="624" y="28"/>
                  </a:lnTo>
                  <a:lnTo>
                    <a:pt x="640" y="46"/>
                  </a:lnTo>
                  <a:lnTo>
                    <a:pt x="650" y="54"/>
                  </a:lnTo>
                  <a:lnTo>
                    <a:pt x="654" y="60"/>
                  </a:lnTo>
                  <a:lnTo>
                    <a:pt x="654" y="62"/>
                  </a:lnTo>
                  <a:lnTo>
                    <a:pt x="652" y="64"/>
                  </a:lnTo>
                  <a:lnTo>
                    <a:pt x="652" y="64"/>
                  </a:lnTo>
                  <a:lnTo>
                    <a:pt x="646" y="74"/>
                  </a:lnTo>
                  <a:lnTo>
                    <a:pt x="636" y="84"/>
                  </a:lnTo>
                  <a:lnTo>
                    <a:pt x="624" y="94"/>
                  </a:lnTo>
                  <a:lnTo>
                    <a:pt x="612" y="104"/>
                  </a:lnTo>
                  <a:lnTo>
                    <a:pt x="612" y="104"/>
                  </a:lnTo>
                  <a:lnTo>
                    <a:pt x="598" y="112"/>
                  </a:lnTo>
                  <a:lnTo>
                    <a:pt x="584" y="116"/>
                  </a:lnTo>
                  <a:lnTo>
                    <a:pt x="562" y="124"/>
                  </a:lnTo>
                  <a:lnTo>
                    <a:pt x="562" y="124"/>
                  </a:lnTo>
                  <a:lnTo>
                    <a:pt x="546" y="128"/>
                  </a:lnTo>
                  <a:lnTo>
                    <a:pt x="524" y="134"/>
                  </a:lnTo>
                  <a:lnTo>
                    <a:pt x="516" y="140"/>
                  </a:lnTo>
                  <a:lnTo>
                    <a:pt x="508" y="144"/>
                  </a:lnTo>
                  <a:lnTo>
                    <a:pt x="508" y="148"/>
                  </a:lnTo>
                  <a:lnTo>
                    <a:pt x="506" y="152"/>
                  </a:lnTo>
                  <a:lnTo>
                    <a:pt x="508" y="154"/>
                  </a:lnTo>
                  <a:lnTo>
                    <a:pt x="510" y="160"/>
                  </a:lnTo>
                  <a:lnTo>
                    <a:pt x="510" y="160"/>
                  </a:lnTo>
                  <a:lnTo>
                    <a:pt x="520" y="166"/>
                  </a:lnTo>
                  <a:lnTo>
                    <a:pt x="528" y="170"/>
                  </a:lnTo>
                  <a:lnTo>
                    <a:pt x="540" y="170"/>
                  </a:lnTo>
                  <a:lnTo>
                    <a:pt x="550" y="170"/>
                  </a:lnTo>
                  <a:lnTo>
                    <a:pt x="570" y="168"/>
                  </a:lnTo>
                  <a:lnTo>
                    <a:pt x="580" y="168"/>
                  </a:lnTo>
                  <a:lnTo>
                    <a:pt x="586" y="170"/>
                  </a:lnTo>
                  <a:lnTo>
                    <a:pt x="586" y="170"/>
                  </a:lnTo>
                  <a:lnTo>
                    <a:pt x="646" y="212"/>
                  </a:lnTo>
                  <a:lnTo>
                    <a:pt x="696" y="248"/>
                  </a:lnTo>
                  <a:lnTo>
                    <a:pt x="696" y="248"/>
                  </a:lnTo>
                  <a:lnTo>
                    <a:pt x="630" y="352"/>
                  </a:lnTo>
                  <a:lnTo>
                    <a:pt x="630" y="352"/>
                  </a:lnTo>
                  <a:lnTo>
                    <a:pt x="624" y="354"/>
                  </a:lnTo>
                  <a:lnTo>
                    <a:pt x="614" y="358"/>
                  </a:lnTo>
                  <a:lnTo>
                    <a:pt x="600" y="366"/>
                  </a:lnTo>
                  <a:lnTo>
                    <a:pt x="592" y="370"/>
                  </a:lnTo>
                  <a:lnTo>
                    <a:pt x="584" y="378"/>
                  </a:lnTo>
                  <a:lnTo>
                    <a:pt x="584" y="378"/>
                  </a:lnTo>
                  <a:lnTo>
                    <a:pt x="576" y="384"/>
                  </a:lnTo>
                  <a:lnTo>
                    <a:pt x="564" y="390"/>
                  </a:lnTo>
                  <a:lnTo>
                    <a:pt x="540" y="402"/>
                  </a:lnTo>
                  <a:lnTo>
                    <a:pt x="526" y="408"/>
                  </a:lnTo>
                  <a:lnTo>
                    <a:pt x="530" y="406"/>
                  </a:lnTo>
                  <a:lnTo>
                    <a:pt x="530" y="406"/>
                  </a:lnTo>
                  <a:lnTo>
                    <a:pt x="550" y="404"/>
                  </a:lnTo>
                  <a:lnTo>
                    <a:pt x="556" y="404"/>
                  </a:lnTo>
                  <a:lnTo>
                    <a:pt x="562" y="406"/>
                  </a:lnTo>
                  <a:lnTo>
                    <a:pt x="568" y="408"/>
                  </a:lnTo>
                  <a:lnTo>
                    <a:pt x="570" y="412"/>
                  </a:lnTo>
                  <a:lnTo>
                    <a:pt x="572" y="416"/>
                  </a:lnTo>
                  <a:lnTo>
                    <a:pt x="570" y="420"/>
                  </a:lnTo>
                  <a:lnTo>
                    <a:pt x="570" y="420"/>
                  </a:lnTo>
                  <a:lnTo>
                    <a:pt x="566" y="424"/>
                  </a:lnTo>
                  <a:lnTo>
                    <a:pt x="560" y="430"/>
                  </a:lnTo>
                  <a:lnTo>
                    <a:pt x="540" y="444"/>
                  </a:lnTo>
                  <a:lnTo>
                    <a:pt x="520" y="454"/>
                  </a:lnTo>
                  <a:lnTo>
                    <a:pt x="512" y="456"/>
                  </a:lnTo>
                  <a:lnTo>
                    <a:pt x="508" y="458"/>
                  </a:lnTo>
                  <a:lnTo>
                    <a:pt x="508" y="458"/>
                  </a:lnTo>
                  <a:lnTo>
                    <a:pt x="506" y="458"/>
                  </a:lnTo>
                  <a:lnTo>
                    <a:pt x="508" y="460"/>
                  </a:lnTo>
                  <a:lnTo>
                    <a:pt x="522" y="464"/>
                  </a:lnTo>
                  <a:lnTo>
                    <a:pt x="552" y="472"/>
                  </a:lnTo>
                  <a:lnTo>
                    <a:pt x="552" y="472"/>
                  </a:lnTo>
                  <a:lnTo>
                    <a:pt x="560" y="478"/>
                  </a:lnTo>
                  <a:lnTo>
                    <a:pt x="570" y="488"/>
                  </a:lnTo>
                  <a:lnTo>
                    <a:pt x="584" y="500"/>
                  </a:lnTo>
                  <a:lnTo>
                    <a:pt x="584" y="500"/>
                  </a:lnTo>
                  <a:lnTo>
                    <a:pt x="588" y="516"/>
                  </a:lnTo>
                  <a:lnTo>
                    <a:pt x="598" y="558"/>
                  </a:lnTo>
                  <a:lnTo>
                    <a:pt x="598" y="558"/>
                  </a:lnTo>
                  <a:lnTo>
                    <a:pt x="606" y="582"/>
                  </a:lnTo>
                  <a:lnTo>
                    <a:pt x="612" y="600"/>
                  </a:lnTo>
                  <a:lnTo>
                    <a:pt x="616" y="614"/>
                  </a:lnTo>
                  <a:lnTo>
                    <a:pt x="614" y="620"/>
                  </a:lnTo>
                  <a:lnTo>
                    <a:pt x="612" y="626"/>
                  </a:lnTo>
                  <a:lnTo>
                    <a:pt x="612" y="626"/>
                  </a:lnTo>
                  <a:lnTo>
                    <a:pt x="604" y="640"/>
                  </a:lnTo>
                  <a:lnTo>
                    <a:pt x="598" y="658"/>
                  </a:lnTo>
                  <a:lnTo>
                    <a:pt x="594" y="674"/>
                  </a:lnTo>
                  <a:lnTo>
                    <a:pt x="594" y="682"/>
                  </a:lnTo>
                  <a:lnTo>
                    <a:pt x="594" y="690"/>
                  </a:lnTo>
                  <a:lnTo>
                    <a:pt x="594" y="690"/>
                  </a:lnTo>
                  <a:lnTo>
                    <a:pt x="596" y="706"/>
                  </a:lnTo>
                  <a:lnTo>
                    <a:pt x="596" y="718"/>
                  </a:lnTo>
                  <a:lnTo>
                    <a:pt x="598" y="730"/>
                  </a:lnTo>
                  <a:lnTo>
                    <a:pt x="598" y="734"/>
                  </a:lnTo>
                  <a:lnTo>
                    <a:pt x="602" y="738"/>
                  </a:lnTo>
                  <a:lnTo>
                    <a:pt x="602" y="738"/>
                  </a:lnTo>
                  <a:lnTo>
                    <a:pt x="612" y="744"/>
                  </a:lnTo>
                  <a:lnTo>
                    <a:pt x="624" y="750"/>
                  </a:lnTo>
                  <a:lnTo>
                    <a:pt x="638" y="756"/>
                  </a:lnTo>
                  <a:lnTo>
                    <a:pt x="642" y="760"/>
                  </a:lnTo>
                  <a:lnTo>
                    <a:pt x="646" y="766"/>
                  </a:lnTo>
                  <a:lnTo>
                    <a:pt x="646" y="766"/>
                  </a:lnTo>
                  <a:lnTo>
                    <a:pt x="648" y="768"/>
                  </a:lnTo>
                  <a:lnTo>
                    <a:pt x="650" y="770"/>
                  </a:lnTo>
                  <a:lnTo>
                    <a:pt x="654" y="768"/>
                  </a:lnTo>
                  <a:lnTo>
                    <a:pt x="666" y="762"/>
                  </a:lnTo>
                  <a:lnTo>
                    <a:pt x="670" y="762"/>
                  </a:lnTo>
                  <a:lnTo>
                    <a:pt x="672" y="764"/>
                  </a:lnTo>
                  <a:lnTo>
                    <a:pt x="674" y="766"/>
                  </a:lnTo>
                  <a:lnTo>
                    <a:pt x="676" y="778"/>
                  </a:lnTo>
                  <a:lnTo>
                    <a:pt x="676" y="798"/>
                  </a:lnTo>
                  <a:lnTo>
                    <a:pt x="676" y="798"/>
                  </a:lnTo>
                  <a:lnTo>
                    <a:pt x="674" y="836"/>
                  </a:lnTo>
                  <a:lnTo>
                    <a:pt x="672" y="858"/>
                  </a:lnTo>
                  <a:lnTo>
                    <a:pt x="668" y="884"/>
                  </a:lnTo>
                  <a:lnTo>
                    <a:pt x="668" y="884"/>
                  </a:lnTo>
                  <a:lnTo>
                    <a:pt x="664" y="898"/>
                  </a:lnTo>
                  <a:lnTo>
                    <a:pt x="658" y="910"/>
                  </a:lnTo>
                  <a:lnTo>
                    <a:pt x="650" y="916"/>
                  </a:lnTo>
                  <a:lnTo>
                    <a:pt x="642" y="920"/>
                  </a:lnTo>
                  <a:lnTo>
                    <a:pt x="642" y="920"/>
                  </a:lnTo>
                  <a:lnTo>
                    <a:pt x="638" y="920"/>
                  </a:lnTo>
                  <a:lnTo>
                    <a:pt x="636" y="922"/>
                  </a:lnTo>
                  <a:lnTo>
                    <a:pt x="636" y="924"/>
                  </a:lnTo>
                  <a:lnTo>
                    <a:pt x="636" y="928"/>
                  </a:lnTo>
                  <a:lnTo>
                    <a:pt x="640" y="934"/>
                  </a:lnTo>
                  <a:lnTo>
                    <a:pt x="644" y="944"/>
                  </a:lnTo>
                  <a:lnTo>
                    <a:pt x="644" y="944"/>
                  </a:lnTo>
                  <a:lnTo>
                    <a:pt x="650" y="954"/>
                  </a:lnTo>
                  <a:lnTo>
                    <a:pt x="652" y="964"/>
                  </a:lnTo>
                  <a:lnTo>
                    <a:pt x="654" y="976"/>
                  </a:lnTo>
                  <a:lnTo>
                    <a:pt x="656" y="992"/>
                  </a:lnTo>
                  <a:lnTo>
                    <a:pt x="656" y="992"/>
                  </a:lnTo>
                  <a:lnTo>
                    <a:pt x="656" y="1014"/>
                  </a:lnTo>
                  <a:lnTo>
                    <a:pt x="654" y="1024"/>
                  </a:lnTo>
                  <a:lnTo>
                    <a:pt x="654" y="1024"/>
                  </a:lnTo>
                  <a:lnTo>
                    <a:pt x="650" y="1028"/>
                  </a:lnTo>
                  <a:lnTo>
                    <a:pt x="646" y="1030"/>
                  </a:lnTo>
                  <a:lnTo>
                    <a:pt x="632" y="1032"/>
                  </a:lnTo>
                  <a:lnTo>
                    <a:pt x="628" y="1034"/>
                  </a:lnTo>
                  <a:lnTo>
                    <a:pt x="624" y="1036"/>
                  </a:lnTo>
                  <a:lnTo>
                    <a:pt x="622" y="1040"/>
                  </a:lnTo>
                  <a:lnTo>
                    <a:pt x="626" y="1048"/>
                  </a:lnTo>
                  <a:lnTo>
                    <a:pt x="626" y="1048"/>
                  </a:lnTo>
                  <a:lnTo>
                    <a:pt x="632" y="1054"/>
                  </a:lnTo>
                  <a:lnTo>
                    <a:pt x="636" y="1056"/>
                  </a:lnTo>
                  <a:lnTo>
                    <a:pt x="642" y="1056"/>
                  </a:lnTo>
                  <a:lnTo>
                    <a:pt x="646" y="1056"/>
                  </a:lnTo>
                  <a:lnTo>
                    <a:pt x="652" y="1054"/>
                  </a:lnTo>
                  <a:lnTo>
                    <a:pt x="660" y="1054"/>
                  </a:lnTo>
                  <a:lnTo>
                    <a:pt x="668" y="1056"/>
                  </a:lnTo>
                  <a:lnTo>
                    <a:pt x="678" y="1060"/>
                  </a:lnTo>
                  <a:lnTo>
                    <a:pt x="678" y="1060"/>
                  </a:lnTo>
                  <a:lnTo>
                    <a:pt x="724" y="1092"/>
                  </a:lnTo>
                  <a:lnTo>
                    <a:pt x="744" y="1106"/>
                  </a:lnTo>
                  <a:lnTo>
                    <a:pt x="756" y="1116"/>
                  </a:lnTo>
                  <a:lnTo>
                    <a:pt x="756" y="1116"/>
                  </a:lnTo>
                  <a:lnTo>
                    <a:pt x="758" y="1122"/>
                  </a:lnTo>
                  <a:lnTo>
                    <a:pt x="760" y="1128"/>
                  </a:lnTo>
                  <a:lnTo>
                    <a:pt x="762" y="1146"/>
                  </a:lnTo>
                  <a:lnTo>
                    <a:pt x="760" y="1164"/>
                  </a:lnTo>
                  <a:lnTo>
                    <a:pt x="760" y="1176"/>
                  </a:lnTo>
                  <a:lnTo>
                    <a:pt x="760" y="1176"/>
                  </a:lnTo>
                  <a:lnTo>
                    <a:pt x="760" y="1180"/>
                  </a:lnTo>
                  <a:lnTo>
                    <a:pt x="760" y="1184"/>
                  </a:lnTo>
                  <a:lnTo>
                    <a:pt x="764" y="1186"/>
                  </a:lnTo>
                  <a:lnTo>
                    <a:pt x="766" y="1188"/>
                  </a:lnTo>
                  <a:lnTo>
                    <a:pt x="764" y="1192"/>
                  </a:lnTo>
                  <a:lnTo>
                    <a:pt x="754" y="1204"/>
                  </a:lnTo>
                  <a:lnTo>
                    <a:pt x="754" y="1204"/>
                  </a:lnTo>
                  <a:lnTo>
                    <a:pt x="722" y="1244"/>
                  </a:lnTo>
                  <a:lnTo>
                    <a:pt x="706" y="1260"/>
                  </a:lnTo>
                  <a:lnTo>
                    <a:pt x="698" y="1266"/>
                  </a:lnTo>
                  <a:lnTo>
                    <a:pt x="690" y="1270"/>
                  </a:lnTo>
                  <a:lnTo>
                    <a:pt x="690" y="1270"/>
                  </a:lnTo>
                  <a:lnTo>
                    <a:pt x="674" y="1276"/>
                  </a:lnTo>
                  <a:lnTo>
                    <a:pt x="664" y="1280"/>
                  </a:lnTo>
                  <a:lnTo>
                    <a:pt x="654" y="1280"/>
                  </a:lnTo>
                  <a:lnTo>
                    <a:pt x="640" y="1276"/>
                  </a:lnTo>
                  <a:lnTo>
                    <a:pt x="640" y="1276"/>
                  </a:lnTo>
                  <a:lnTo>
                    <a:pt x="624" y="1270"/>
                  </a:lnTo>
                  <a:lnTo>
                    <a:pt x="608" y="1266"/>
                  </a:lnTo>
                  <a:lnTo>
                    <a:pt x="592" y="1262"/>
                  </a:lnTo>
                  <a:lnTo>
                    <a:pt x="592" y="1262"/>
                  </a:lnTo>
                  <a:lnTo>
                    <a:pt x="570" y="1258"/>
                  </a:lnTo>
                  <a:lnTo>
                    <a:pt x="564" y="1258"/>
                  </a:lnTo>
                  <a:lnTo>
                    <a:pt x="560" y="1260"/>
                  </a:lnTo>
                  <a:lnTo>
                    <a:pt x="560" y="1262"/>
                  </a:lnTo>
                  <a:lnTo>
                    <a:pt x="566" y="1268"/>
                  </a:lnTo>
                  <a:lnTo>
                    <a:pt x="566" y="1268"/>
                  </a:lnTo>
                  <a:lnTo>
                    <a:pt x="586" y="1278"/>
                  </a:lnTo>
                  <a:lnTo>
                    <a:pt x="606" y="1286"/>
                  </a:lnTo>
                  <a:lnTo>
                    <a:pt x="626" y="1294"/>
                  </a:lnTo>
                  <a:lnTo>
                    <a:pt x="626" y="1294"/>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86" name="Freeform 52"/>
            <p:cNvSpPr>
              <a:spLocks/>
            </p:cNvSpPr>
            <p:nvPr/>
          </p:nvSpPr>
          <p:spPr bwMode="auto">
            <a:xfrm>
              <a:off x="4206528" y="3909269"/>
              <a:ext cx="716404" cy="705734"/>
            </a:xfrm>
            <a:custGeom>
              <a:avLst/>
              <a:gdLst/>
              <a:ahLst/>
              <a:cxnLst>
                <a:cxn ang="0">
                  <a:pos x="492" y="94"/>
                </a:cxn>
                <a:cxn ang="0">
                  <a:pos x="442" y="104"/>
                </a:cxn>
                <a:cxn ang="0">
                  <a:pos x="424" y="96"/>
                </a:cxn>
                <a:cxn ang="0">
                  <a:pos x="398" y="94"/>
                </a:cxn>
                <a:cxn ang="0">
                  <a:pos x="396" y="74"/>
                </a:cxn>
                <a:cxn ang="0">
                  <a:pos x="392" y="30"/>
                </a:cxn>
                <a:cxn ang="0">
                  <a:pos x="346" y="0"/>
                </a:cxn>
                <a:cxn ang="0">
                  <a:pos x="280" y="22"/>
                </a:cxn>
                <a:cxn ang="0">
                  <a:pos x="222" y="52"/>
                </a:cxn>
                <a:cxn ang="0">
                  <a:pos x="162" y="108"/>
                </a:cxn>
                <a:cxn ang="0">
                  <a:pos x="90" y="116"/>
                </a:cxn>
                <a:cxn ang="0">
                  <a:pos x="6" y="148"/>
                </a:cxn>
                <a:cxn ang="0">
                  <a:pos x="36" y="224"/>
                </a:cxn>
                <a:cxn ang="0">
                  <a:pos x="26" y="270"/>
                </a:cxn>
                <a:cxn ang="0">
                  <a:pos x="26" y="314"/>
                </a:cxn>
                <a:cxn ang="0">
                  <a:pos x="46" y="356"/>
                </a:cxn>
                <a:cxn ang="0">
                  <a:pos x="46" y="434"/>
                </a:cxn>
                <a:cxn ang="0">
                  <a:pos x="78" y="552"/>
                </a:cxn>
                <a:cxn ang="0">
                  <a:pos x="92" y="592"/>
                </a:cxn>
                <a:cxn ang="0">
                  <a:pos x="98" y="606"/>
                </a:cxn>
                <a:cxn ang="0">
                  <a:pos x="164" y="652"/>
                </a:cxn>
                <a:cxn ang="0">
                  <a:pos x="210" y="656"/>
                </a:cxn>
                <a:cxn ang="0">
                  <a:pos x="220" y="678"/>
                </a:cxn>
                <a:cxn ang="0">
                  <a:pos x="226" y="726"/>
                </a:cxn>
                <a:cxn ang="0">
                  <a:pos x="266" y="756"/>
                </a:cxn>
                <a:cxn ang="0">
                  <a:pos x="288" y="736"/>
                </a:cxn>
                <a:cxn ang="0">
                  <a:pos x="306" y="718"/>
                </a:cxn>
                <a:cxn ang="0">
                  <a:pos x="348" y="752"/>
                </a:cxn>
                <a:cxn ang="0">
                  <a:pos x="384" y="786"/>
                </a:cxn>
                <a:cxn ang="0">
                  <a:pos x="426" y="800"/>
                </a:cxn>
                <a:cxn ang="0">
                  <a:pos x="442" y="844"/>
                </a:cxn>
                <a:cxn ang="0">
                  <a:pos x="468" y="856"/>
                </a:cxn>
                <a:cxn ang="0">
                  <a:pos x="506" y="850"/>
                </a:cxn>
                <a:cxn ang="0">
                  <a:pos x="536" y="890"/>
                </a:cxn>
                <a:cxn ang="0">
                  <a:pos x="564" y="902"/>
                </a:cxn>
                <a:cxn ang="0">
                  <a:pos x="606" y="868"/>
                </a:cxn>
                <a:cxn ang="0">
                  <a:pos x="640" y="872"/>
                </a:cxn>
                <a:cxn ang="0">
                  <a:pos x="672" y="876"/>
                </a:cxn>
                <a:cxn ang="0">
                  <a:pos x="824" y="926"/>
                </a:cxn>
                <a:cxn ang="0">
                  <a:pos x="860" y="924"/>
                </a:cxn>
                <a:cxn ang="0">
                  <a:pos x="836" y="882"/>
                </a:cxn>
                <a:cxn ang="0">
                  <a:pos x="842" y="826"/>
                </a:cxn>
                <a:cxn ang="0">
                  <a:pos x="928" y="706"/>
                </a:cxn>
                <a:cxn ang="0">
                  <a:pos x="938" y="698"/>
                </a:cxn>
                <a:cxn ang="0">
                  <a:pos x="934" y="634"/>
                </a:cxn>
                <a:cxn ang="0">
                  <a:pos x="906" y="604"/>
                </a:cxn>
                <a:cxn ang="0">
                  <a:pos x="882" y="536"/>
                </a:cxn>
                <a:cxn ang="0">
                  <a:pos x="868" y="478"/>
                </a:cxn>
                <a:cxn ang="0">
                  <a:pos x="824" y="412"/>
                </a:cxn>
                <a:cxn ang="0">
                  <a:pos x="834" y="388"/>
                </a:cxn>
                <a:cxn ang="0">
                  <a:pos x="882" y="348"/>
                </a:cxn>
                <a:cxn ang="0">
                  <a:pos x="890" y="314"/>
                </a:cxn>
                <a:cxn ang="0">
                  <a:pos x="850" y="224"/>
                </a:cxn>
                <a:cxn ang="0">
                  <a:pos x="828" y="134"/>
                </a:cxn>
                <a:cxn ang="0">
                  <a:pos x="758" y="82"/>
                </a:cxn>
                <a:cxn ang="0">
                  <a:pos x="736" y="96"/>
                </a:cxn>
                <a:cxn ang="0">
                  <a:pos x="608" y="102"/>
                </a:cxn>
                <a:cxn ang="0">
                  <a:pos x="534" y="96"/>
                </a:cxn>
                <a:cxn ang="0">
                  <a:pos x="516" y="80"/>
                </a:cxn>
              </a:cxnLst>
              <a:rect l="0" t="0" r="r" b="b"/>
              <a:pathLst>
                <a:path w="940" h="926">
                  <a:moveTo>
                    <a:pt x="516" y="80"/>
                  </a:moveTo>
                  <a:lnTo>
                    <a:pt x="516" y="80"/>
                  </a:lnTo>
                  <a:lnTo>
                    <a:pt x="514" y="82"/>
                  </a:lnTo>
                  <a:lnTo>
                    <a:pt x="506" y="88"/>
                  </a:lnTo>
                  <a:lnTo>
                    <a:pt x="492" y="94"/>
                  </a:lnTo>
                  <a:lnTo>
                    <a:pt x="484" y="96"/>
                  </a:lnTo>
                  <a:lnTo>
                    <a:pt x="474" y="98"/>
                  </a:lnTo>
                  <a:lnTo>
                    <a:pt x="474" y="98"/>
                  </a:lnTo>
                  <a:lnTo>
                    <a:pt x="456" y="102"/>
                  </a:lnTo>
                  <a:lnTo>
                    <a:pt x="442" y="104"/>
                  </a:lnTo>
                  <a:lnTo>
                    <a:pt x="438" y="104"/>
                  </a:lnTo>
                  <a:lnTo>
                    <a:pt x="434" y="104"/>
                  </a:lnTo>
                  <a:lnTo>
                    <a:pt x="428" y="100"/>
                  </a:lnTo>
                  <a:lnTo>
                    <a:pt x="424" y="96"/>
                  </a:lnTo>
                  <a:lnTo>
                    <a:pt x="424" y="96"/>
                  </a:lnTo>
                  <a:lnTo>
                    <a:pt x="420" y="90"/>
                  </a:lnTo>
                  <a:lnTo>
                    <a:pt x="414" y="88"/>
                  </a:lnTo>
                  <a:lnTo>
                    <a:pt x="410" y="88"/>
                  </a:lnTo>
                  <a:lnTo>
                    <a:pt x="404" y="90"/>
                  </a:lnTo>
                  <a:lnTo>
                    <a:pt x="398" y="94"/>
                  </a:lnTo>
                  <a:lnTo>
                    <a:pt x="394" y="92"/>
                  </a:lnTo>
                  <a:lnTo>
                    <a:pt x="394" y="88"/>
                  </a:lnTo>
                  <a:lnTo>
                    <a:pt x="394" y="88"/>
                  </a:lnTo>
                  <a:lnTo>
                    <a:pt x="394" y="82"/>
                  </a:lnTo>
                  <a:lnTo>
                    <a:pt x="396" y="74"/>
                  </a:lnTo>
                  <a:lnTo>
                    <a:pt x="402" y="58"/>
                  </a:lnTo>
                  <a:lnTo>
                    <a:pt x="402" y="50"/>
                  </a:lnTo>
                  <a:lnTo>
                    <a:pt x="402" y="42"/>
                  </a:lnTo>
                  <a:lnTo>
                    <a:pt x="400" y="36"/>
                  </a:lnTo>
                  <a:lnTo>
                    <a:pt x="392" y="30"/>
                  </a:lnTo>
                  <a:lnTo>
                    <a:pt x="392" y="30"/>
                  </a:lnTo>
                  <a:lnTo>
                    <a:pt x="378" y="18"/>
                  </a:lnTo>
                  <a:lnTo>
                    <a:pt x="362" y="6"/>
                  </a:lnTo>
                  <a:lnTo>
                    <a:pt x="354" y="2"/>
                  </a:lnTo>
                  <a:lnTo>
                    <a:pt x="346" y="0"/>
                  </a:lnTo>
                  <a:lnTo>
                    <a:pt x="338" y="0"/>
                  </a:lnTo>
                  <a:lnTo>
                    <a:pt x="328" y="2"/>
                  </a:lnTo>
                  <a:lnTo>
                    <a:pt x="328" y="2"/>
                  </a:lnTo>
                  <a:lnTo>
                    <a:pt x="304" y="10"/>
                  </a:lnTo>
                  <a:lnTo>
                    <a:pt x="280" y="22"/>
                  </a:lnTo>
                  <a:lnTo>
                    <a:pt x="258" y="32"/>
                  </a:lnTo>
                  <a:lnTo>
                    <a:pt x="240" y="40"/>
                  </a:lnTo>
                  <a:lnTo>
                    <a:pt x="240" y="40"/>
                  </a:lnTo>
                  <a:lnTo>
                    <a:pt x="232" y="46"/>
                  </a:lnTo>
                  <a:lnTo>
                    <a:pt x="222" y="52"/>
                  </a:lnTo>
                  <a:lnTo>
                    <a:pt x="204" y="72"/>
                  </a:lnTo>
                  <a:lnTo>
                    <a:pt x="178" y="104"/>
                  </a:lnTo>
                  <a:lnTo>
                    <a:pt x="178" y="104"/>
                  </a:lnTo>
                  <a:lnTo>
                    <a:pt x="172" y="106"/>
                  </a:lnTo>
                  <a:lnTo>
                    <a:pt x="162" y="108"/>
                  </a:lnTo>
                  <a:lnTo>
                    <a:pt x="138" y="110"/>
                  </a:lnTo>
                  <a:lnTo>
                    <a:pt x="112" y="112"/>
                  </a:lnTo>
                  <a:lnTo>
                    <a:pt x="100" y="114"/>
                  </a:lnTo>
                  <a:lnTo>
                    <a:pt x="90" y="116"/>
                  </a:lnTo>
                  <a:lnTo>
                    <a:pt x="90" y="116"/>
                  </a:lnTo>
                  <a:lnTo>
                    <a:pt x="66" y="124"/>
                  </a:lnTo>
                  <a:lnTo>
                    <a:pt x="36" y="130"/>
                  </a:lnTo>
                  <a:lnTo>
                    <a:pt x="0" y="138"/>
                  </a:lnTo>
                  <a:lnTo>
                    <a:pt x="0" y="138"/>
                  </a:lnTo>
                  <a:lnTo>
                    <a:pt x="6" y="148"/>
                  </a:lnTo>
                  <a:lnTo>
                    <a:pt x="18" y="170"/>
                  </a:lnTo>
                  <a:lnTo>
                    <a:pt x="26" y="184"/>
                  </a:lnTo>
                  <a:lnTo>
                    <a:pt x="32" y="200"/>
                  </a:lnTo>
                  <a:lnTo>
                    <a:pt x="36" y="212"/>
                  </a:lnTo>
                  <a:lnTo>
                    <a:pt x="36" y="224"/>
                  </a:lnTo>
                  <a:lnTo>
                    <a:pt x="36" y="224"/>
                  </a:lnTo>
                  <a:lnTo>
                    <a:pt x="34" y="252"/>
                  </a:lnTo>
                  <a:lnTo>
                    <a:pt x="32" y="260"/>
                  </a:lnTo>
                  <a:lnTo>
                    <a:pt x="26" y="270"/>
                  </a:lnTo>
                  <a:lnTo>
                    <a:pt x="26" y="270"/>
                  </a:lnTo>
                  <a:lnTo>
                    <a:pt x="22" y="280"/>
                  </a:lnTo>
                  <a:lnTo>
                    <a:pt x="22" y="294"/>
                  </a:lnTo>
                  <a:lnTo>
                    <a:pt x="22" y="306"/>
                  </a:lnTo>
                  <a:lnTo>
                    <a:pt x="26" y="314"/>
                  </a:lnTo>
                  <a:lnTo>
                    <a:pt x="26" y="314"/>
                  </a:lnTo>
                  <a:lnTo>
                    <a:pt x="32" y="320"/>
                  </a:lnTo>
                  <a:lnTo>
                    <a:pt x="38" y="332"/>
                  </a:lnTo>
                  <a:lnTo>
                    <a:pt x="44" y="344"/>
                  </a:lnTo>
                  <a:lnTo>
                    <a:pt x="46" y="350"/>
                  </a:lnTo>
                  <a:lnTo>
                    <a:pt x="46" y="356"/>
                  </a:lnTo>
                  <a:lnTo>
                    <a:pt x="46" y="356"/>
                  </a:lnTo>
                  <a:lnTo>
                    <a:pt x="44" y="390"/>
                  </a:lnTo>
                  <a:lnTo>
                    <a:pt x="44" y="412"/>
                  </a:lnTo>
                  <a:lnTo>
                    <a:pt x="46" y="434"/>
                  </a:lnTo>
                  <a:lnTo>
                    <a:pt x="46" y="434"/>
                  </a:lnTo>
                  <a:lnTo>
                    <a:pt x="54" y="464"/>
                  </a:lnTo>
                  <a:lnTo>
                    <a:pt x="66" y="500"/>
                  </a:lnTo>
                  <a:lnTo>
                    <a:pt x="74" y="534"/>
                  </a:lnTo>
                  <a:lnTo>
                    <a:pt x="78" y="552"/>
                  </a:lnTo>
                  <a:lnTo>
                    <a:pt x="78" y="552"/>
                  </a:lnTo>
                  <a:lnTo>
                    <a:pt x="78" y="558"/>
                  </a:lnTo>
                  <a:lnTo>
                    <a:pt x="80" y="564"/>
                  </a:lnTo>
                  <a:lnTo>
                    <a:pt x="86" y="576"/>
                  </a:lnTo>
                  <a:lnTo>
                    <a:pt x="92" y="588"/>
                  </a:lnTo>
                  <a:lnTo>
                    <a:pt x="92" y="592"/>
                  </a:lnTo>
                  <a:lnTo>
                    <a:pt x="92" y="596"/>
                  </a:lnTo>
                  <a:lnTo>
                    <a:pt x="92" y="596"/>
                  </a:lnTo>
                  <a:lnTo>
                    <a:pt x="90" y="598"/>
                  </a:lnTo>
                  <a:lnTo>
                    <a:pt x="92" y="600"/>
                  </a:lnTo>
                  <a:lnTo>
                    <a:pt x="98" y="606"/>
                  </a:lnTo>
                  <a:lnTo>
                    <a:pt x="108" y="612"/>
                  </a:lnTo>
                  <a:lnTo>
                    <a:pt x="120" y="618"/>
                  </a:lnTo>
                  <a:lnTo>
                    <a:pt x="120" y="618"/>
                  </a:lnTo>
                  <a:lnTo>
                    <a:pt x="148" y="642"/>
                  </a:lnTo>
                  <a:lnTo>
                    <a:pt x="164" y="652"/>
                  </a:lnTo>
                  <a:lnTo>
                    <a:pt x="172" y="656"/>
                  </a:lnTo>
                  <a:lnTo>
                    <a:pt x="180" y="656"/>
                  </a:lnTo>
                  <a:lnTo>
                    <a:pt x="180" y="656"/>
                  </a:lnTo>
                  <a:lnTo>
                    <a:pt x="204" y="656"/>
                  </a:lnTo>
                  <a:lnTo>
                    <a:pt x="210" y="656"/>
                  </a:lnTo>
                  <a:lnTo>
                    <a:pt x="214" y="658"/>
                  </a:lnTo>
                  <a:lnTo>
                    <a:pt x="216" y="660"/>
                  </a:lnTo>
                  <a:lnTo>
                    <a:pt x="220" y="666"/>
                  </a:lnTo>
                  <a:lnTo>
                    <a:pt x="220" y="666"/>
                  </a:lnTo>
                  <a:lnTo>
                    <a:pt x="220" y="678"/>
                  </a:lnTo>
                  <a:lnTo>
                    <a:pt x="218" y="694"/>
                  </a:lnTo>
                  <a:lnTo>
                    <a:pt x="220" y="710"/>
                  </a:lnTo>
                  <a:lnTo>
                    <a:pt x="222" y="718"/>
                  </a:lnTo>
                  <a:lnTo>
                    <a:pt x="226" y="726"/>
                  </a:lnTo>
                  <a:lnTo>
                    <a:pt x="226" y="726"/>
                  </a:lnTo>
                  <a:lnTo>
                    <a:pt x="238" y="742"/>
                  </a:lnTo>
                  <a:lnTo>
                    <a:pt x="244" y="748"/>
                  </a:lnTo>
                  <a:lnTo>
                    <a:pt x="252" y="752"/>
                  </a:lnTo>
                  <a:lnTo>
                    <a:pt x="258" y="756"/>
                  </a:lnTo>
                  <a:lnTo>
                    <a:pt x="266" y="756"/>
                  </a:lnTo>
                  <a:lnTo>
                    <a:pt x="272" y="754"/>
                  </a:lnTo>
                  <a:lnTo>
                    <a:pt x="280" y="748"/>
                  </a:lnTo>
                  <a:lnTo>
                    <a:pt x="280" y="748"/>
                  </a:lnTo>
                  <a:lnTo>
                    <a:pt x="284" y="742"/>
                  </a:lnTo>
                  <a:lnTo>
                    <a:pt x="288" y="736"/>
                  </a:lnTo>
                  <a:lnTo>
                    <a:pt x="292" y="724"/>
                  </a:lnTo>
                  <a:lnTo>
                    <a:pt x="294" y="720"/>
                  </a:lnTo>
                  <a:lnTo>
                    <a:pt x="298" y="716"/>
                  </a:lnTo>
                  <a:lnTo>
                    <a:pt x="300" y="716"/>
                  </a:lnTo>
                  <a:lnTo>
                    <a:pt x="306" y="718"/>
                  </a:lnTo>
                  <a:lnTo>
                    <a:pt x="306" y="718"/>
                  </a:lnTo>
                  <a:lnTo>
                    <a:pt x="330" y="732"/>
                  </a:lnTo>
                  <a:lnTo>
                    <a:pt x="340" y="742"/>
                  </a:lnTo>
                  <a:lnTo>
                    <a:pt x="348" y="752"/>
                  </a:lnTo>
                  <a:lnTo>
                    <a:pt x="348" y="752"/>
                  </a:lnTo>
                  <a:lnTo>
                    <a:pt x="354" y="762"/>
                  </a:lnTo>
                  <a:lnTo>
                    <a:pt x="360" y="772"/>
                  </a:lnTo>
                  <a:lnTo>
                    <a:pt x="370" y="780"/>
                  </a:lnTo>
                  <a:lnTo>
                    <a:pt x="384" y="786"/>
                  </a:lnTo>
                  <a:lnTo>
                    <a:pt x="384" y="786"/>
                  </a:lnTo>
                  <a:lnTo>
                    <a:pt x="400" y="788"/>
                  </a:lnTo>
                  <a:lnTo>
                    <a:pt x="412" y="790"/>
                  </a:lnTo>
                  <a:lnTo>
                    <a:pt x="416" y="792"/>
                  </a:lnTo>
                  <a:lnTo>
                    <a:pt x="422" y="794"/>
                  </a:lnTo>
                  <a:lnTo>
                    <a:pt x="426" y="800"/>
                  </a:lnTo>
                  <a:lnTo>
                    <a:pt x="428" y="808"/>
                  </a:lnTo>
                  <a:lnTo>
                    <a:pt x="428" y="808"/>
                  </a:lnTo>
                  <a:lnTo>
                    <a:pt x="434" y="826"/>
                  </a:lnTo>
                  <a:lnTo>
                    <a:pt x="440" y="840"/>
                  </a:lnTo>
                  <a:lnTo>
                    <a:pt x="442" y="844"/>
                  </a:lnTo>
                  <a:lnTo>
                    <a:pt x="446" y="848"/>
                  </a:lnTo>
                  <a:lnTo>
                    <a:pt x="452" y="852"/>
                  </a:lnTo>
                  <a:lnTo>
                    <a:pt x="460" y="856"/>
                  </a:lnTo>
                  <a:lnTo>
                    <a:pt x="460" y="856"/>
                  </a:lnTo>
                  <a:lnTo>
                    <a:pt x="468" y="856"/>
                  </a:lnTo>
                  <a:lnTo>
                    <a:pt x="476" y="854"/>
                  </a:lnTo>
                  <a:lnTo>
                    <a:pt x="488" y="850"/>
                  </a:lnTo>
                  <a:lnTo>
                    <a:pt x="494" y="848"/>
                  </a:lnTo>
                  <a:lnTo>
                    <a:pt x="500" y="848"/>
                  </a:lnTo>
                  <a:lnTo>
                    <a:pt x="506" y="850"/>
                  </a:lnTo>
                  <a:lnTo>
                    <a:pt x="516" y="856"/>
                  </a:lnTo>
                  <a:lnTo>
                    <a:pt x="516" y="856"/>
                  </a:lnTo>
                  <a:lnTo>
                    <a:pt x="522" y="864"/>
                  </a:lnTo>
                  <a:lnTo>
                    <a:pt x="528" y="874"/>
                  </a:lnTo>
                  <a:lnTo>
                    <a:pt x="536" y="890"/>
                  </a:lnTo>
                  <a:lnTo>
                    <a:pt x="540" y="898"/>
                  </a:lnTo>
                  <a:lnTo>
                    <a:pt x="546" y="902"/>
                  </a:lnTo>
                  <a:lnTo>
                    <a:pt x="554" y="904"/>
                  </a:lnTo>
                  <a:lnTo>
                    <a:pt x="564" y="902"/>
                  </a:lnTo>
                  <a:lnTo>
                    <a:pt x="564" y="902"/>
                  </a:lnTo>
                  <a:lnTo>
                    <a:pt x="574" y="898"/>
                  </a:lnTo>
                  <a:lnTo>
                    <a:pt x="582" y="894"/>
                  </a:lnTo>
                  <a:lnTo>
                    <a:pt x="594" y="880"/>
                  </a:lnTo>
                  <a:lnTo>
                    <a:pt x="600" y="874"/>
                  </a:lnTo>
                  <a:lnTo>
                    <a:pt x="606" y="868"/>
                  </a:lnTo>
                  <a:lnTo>
                    <a:pt x="614" y="866"/>
                  </a:lnTo>
                  <a:lnTo>
                    <a:pt x="624" y="866"/>
                  </a:lnTo>
                  <a:lnTo>
                    <a:pt x="624" y="866"/>
                  </a:lnTo>
                  <a:lnTo>
                    <a:pt x="634" y="868"/>
                  </a:lnTo>
                  <a:lnTo>
                    <a:pt x="640" y="872"/>
                  </a:lnTo>
                  <a:lnTo>
                    <a:pt x="650" y="878"/>
                  </a:lnTo>
                  <a:lnTo>
                    <a:pt x="654" y="880"/>
                  </a:lnTo>
                  <a:lnTo>
                    <a:pt x="658" y="880"/>
                  </a:lnTo>
                  <a:lnTo>
                    <a:pt x="664" y="880"/>
                  </a:lnTo>
                  <a:lnTo>
                    <a:pt x="672" y="876"/>
                  </a:lnTo>
                  <a:lnTo>
                    <a:pt x="672" y="876"/>
                  </a:lnTo>
                  <a:lnTo>
                    <a:pt x="704" y="864"/>
                  </a:lnTo>
                  <a:lnTo>
                    <a:pt x="714" y="860"/>
                  </a:lnTo>
                  <a:lnTo>
                    <a:pt x="824" y="926"/>
                  </a:lnTo>
                  <a:lnTo>
                    <a:pt x="824" y="926"/>
                  </a:lnTo>
                  <a:lnTo>
                    <a:pt x="836" y="926"/>
                  </a:lnTo>
                  <a:lnTo>
                    <a:pt x="852" y="926"/>
                  </a:lnTo>
                  <a:lnTo>
                    <a:pt x="852" y="926"/>
                  </a:lnTo>
                  <a:lnTo>
                    <a:pt x="856" y="926"/>
                  </a:lnTo>
                  <a:lnTo>
                    <a:pt x="860" y="924"/>
                  </a:lnTo>
                  <a:lnTo>
                    <a:pt x="860" y="918"/>
                  </a:lnTo>
                  <a:lnTo>
                    <a:pt x="854" y="908"/>
                  </a:lnTo>
                  <a:lnTo>
                    <a:pt x="854" y="908"/>
                  </a:lnTo>
                  <a:lnTo>
                    <a:pt x="844" y="896"/>
                  </a:lnTo>
                  <a:lnTo>
                    <a:pt x="836" y="882"/>
                  </a:lnTo>
                  <a:lnTo>
                    <a:pt x="830" y="868"/>
                  </a:lnTo>
                  <a:lnTo>
                    <a:pt x="826" y="858"/>
                  </a:lnTo>
                  <a:lnTo>
                    <a:pt x="826" y="858"/>
                  </a:lnTo>
                  <a:lnTo>
                    <a:pt x="832" y="848"/>
                  </a:lnTo>
                  <a:lnTo>
                    <a:pt x="842" y="826"/>
                  </a:lnTo>
                  <a:lnTo>
                    <a:pt x="874" y="772"/>
                  </a:lnTo>
                  <a:lnTo>
                    <a:pt x="922" y="696"/>
                  </a:lnTo>
                  <a:lnTo>
                    <a:pt x="922" y="696"/>
                  </a:lnTo>
                  <a:lnTo>
                    <a:pt x="926" y="702"/>
                  </a:lnTo>
                  <a:lnTo>
                    <a:pt x="928" y="706"/>
                  </a:lnTo>
                  <a:lnTo>
                    <a:pt x="930" y="706"/>
                  </a:lnTo>
                  <a:lnTo>
                    <a:pt x="932" y="706"/>
                  </a:lnTo>
                  <a:lnTo>
                    <a:pt x="932" y="706"/>
                  </a:lnTo>
                  <a:lnTo>
                    <a:pt x="934" y="704"/>
                  </a:lnTo>
                  <a:lnTo>
                    <a:pt x="938" y="698"/>
                  </a:lnTo>
                  <a:lnTo>
                    <a:pt x="940" y="688"/>
                  </a:lnTo>
                  <a:lnTo>
                    <a:pt x="938" y="668"/>
                  </a:lnTo>
                  <a:lnTo>
                    <a:pt x="938" y="668"/>
                  </a:lnTo>
                  <a:lnTo>
                    <a:pt x="936" y="648"/>
                  </a:lnTo>
                  <a:lnTo>
                    <a:pt x="934" y="634"/>
                  </a:lnTo>
                  <a:lnTo>
                    <a:pt x="930" y="626"/>
                  </a:lnTo>
                  <a:lnTo>
                    <a:pt x="924" y="620"/>
                  </a:lnTo>
                  <a:lnTo>
                    <a:pt x="924" y="620"/>
                  </a:lnTo>
                  <a:lnTo>
                    <a:pt x="912" y="610"/>
                  </a:lnTo>
                  <a:lnTo>
                    <a:pt x="906" y="604"/>
                  </a:lnTo>
                  <a:lnTo>
                    <a:pt x="904" y="598"/>
                  </a:lnTo>
                  <a:lnTo>
                    <a:pt x="904" y="598"/>
                  </a:lnTo>
                  <a:lnTo>
                    <a:pt x="898" y="560"/>
                  </a:lnTo>
                  <a:lnTo>
                    <a:pt x="898" y="560"/>
                  </a:lnTo>
                  <a:lnTo>
                    <a:pt x="882" y="536"/>
                  </a:lnTo>
                  <a:lnTo>
                    <a:pt x="872" y="516"/>
                  </a:lnTo>
                  <a:lnTo>
                    <a:pt x="866" y="504"/>
                  </a:lnTo>
                  <a:lnTo>
                    <a:pt x="866" y="504"/>
                  </a:lnTo>
                  <a:lnTo>
                    <a:pt x="866" y="494"/>
                  </a:lnTo>
                  <a:lnTo>
                    <a:pt x="868" y="478"/>
                  </a:lnTo>
                  <a:lnTo>
                    <a:pt x="872" y="458"/>
                  </a:lnTo>
                  <a:lnTo>
                    <a:pt x="872" y="458"/>
                  </a:lnTo>
                  <a:lnTo>
                    <a:pt x="840" y="428"/>
                  </a:lnTo>
                  <a:lnTo>
                    <a:pt x="840" y="428"/>
                  </a:lnTo>
                  <a:lnTo>
                    <a:pt x="824" y="412"/>
                  </a:lnTo>
                  <a:lnTo>
                    <a:pt x="824" y="412"/>
                  </a:lnTo>
                  <a:lnTo>
                    <a:pt x="826" y="404"/>
                  </a:lnTo>
                  <a:lnTo>
                    <a:pt x="830" y="396"/>
                  </a:lnTo>
                  <a:lnTo>
                    <a:pt x="834" y="388"/>
                  </a:lnTo>
                  <a:lnTo>
                    <a:pt x="834" y="388"/>
                  </a:lnTo>
                  <a:lnTo>
                    <a:pt x="842" y="382"/>
                  </a:lnTo>
                  <a:lnTo>
                    <a:pt x="850" y="374"/>
                  </a:lnTo>
                  <a:lnTo>
                    <a:pt x="872" y="358"/>
                  </a:lnTo>
                  <a:lnTo>
                    <a:pt x="872" y="358"/>
                  </a:lnTo>
                  <a:lnTo>
                    <a:pt x="882" y="348"/>
                  </a:lnTo>
                  <a:lnTo>
                    <a:pt x="890" y="338"/>
                  </a:lnTo>
                  <a:lnTo>
                    <a:pt x="894" y="334"/>
                  </a:lnTo>
                  <a:lnTo>
                    <a:pt x="894" y="328"/>
                  </a:lnTo>
                  <a:lnTo>
                    <a:pt x="894" y="320"/>
                  </a:lnTo>
                  <a:lnTo>
                    <a:pt x="890" y="314"/>
                  </a:lnTo>
                  <a:lnTo>
                    <a:pt x="890" y="314"/>
                  </a:lnTo>
                  <a:lnTo>
                    <a:pt x="874" y="280"/>
                  </a:lnTo>
                  <a:lnTo>
                    <a:pt x="862" y="254"/>
                  </a:lnTo>
                  <a:lnTo>
                    <a:pt x="862" y="254"/>
                  </a:lnTo>
                  <a:lnTo>
                    <a:pt x="850" y="224"/>
                  </a:lnTo>
                  <a:lnTo>
                    <a:pt x="840" y="198"/>
                  </a:lnTo>
                  <a:lnTo>
                    <a:pt x="840" y="198"/>
                  </a:lnTo>
                  <a:lnTo>
                    <a:pt x="838" y="150"/>
                  </a:lnTo>
                  <a:lnTo>
                    <a:pt x="838" y="150"/>
                  </a:lnTo>
                  <a:lnTo>
                    <a:pt x="828" y="134"/>
                  </a:lnTo>
                  <a:lnTo>
                    <a:pt x="820" y="124"/>
                  </a:lnTo>
                  <a:lnTo>
                    <a:pt x="816" y="116"/>
                  </a:lnTo>
                  <a:lnTo>
                    <a:pt x="816" y="116"/>
                  </a:lnTo>
                  <a:lnTo>
                    <a:pt x="794" y="98"/>
                  </a:lnTo>
                  <a:lnTo>
                    <a:pt x="758" y="82"/>
                  </a:lnTo>
                  <a:lnTo>
                    <a:pt x="758" y="82"/>
                  </a:lnTo>
                  <a:lnTo>
                    <a:pt x="752" y="90"/>
                  </a:lnTo>
                  <a:lnTo>
                    <a:pt x="744" y="94"/>
                  </a:lnTo>
                  <a:lnTo>
                    <a:pt x="736" y="96"/>
                  </a:lnTo>
                  <a:lnTo>
                    <a:pt x="736" y="96"/>
                  </a:lnTo>
                  <a:lnTo>
                    <a:pt x="700" y="100"/>
                  </a:lnTo>
                  <a:lnTo>
                    <a:pt x="674" y="102"/>
                  </a:lnTo>
                  <a:lnTo>
                    <a:pt x="652" y="104"/>
                  </a:lnTo>
                  <a:lnTo>
                    <a:pt x="652" y="104"/>
                  </a:lnTo>
                  <a:lnTo>
                    <a:pt x="608" y="102"/>
                  </a:lnTo>
                  <a:lnTo>
                    <a:pt x="586" y="102"/>
                  </a:lnTo>
                  <a:lnTo>
                    <a:pt x="568" y="100"/>
                  </a:lnTo>
                  <a:lnTo>
                    <a:pt x="568" y="100"/>
                  </a:lnTo>
                  <a:lnTo>
                    <a:pt x="552" y="98"/>
                  </a:lnTo>
                  <a:lnTo>
                    <a:pt x="534" y="96"/>
                  </a:lnTo>
                  <a:lnTo>
                    <a:pt x="528" y="94"/>
                  </a:lnTo>
                  <a:lnTo>
                    <a:pt x="520" y="90"/>
                  </a:lnTo>
                  <a:lnTo>
                    <a:pt x="516" y="86"/>
                  </a:lnTo>
                  <a:lnTo>
                    <a:pt x="516" y="80"/>
                  </a:lnTo>
                  <a:lnTo>
                    <a:pt x="516" y="80"/>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87" name="Freeform 53"/>
            <p:cNvSpPr>
              <a:spLocks/>
            </p:cNvSpPr>
            <p:nvPr/>
          </p:nvSpPr>
          <p:spPr bwMode="auto">
            <a:xfrm>
              <a:off x="4069344" y="4368072"/>
              <a:ext cx="478619" cy="292658"/>
            </a:xfrm>
            <a:custGeom>
              <a:avLst/>
              <a:gdLst/>
              <a:ahLst/>
              <a:cxnLst>
                <a:cxn ang="0">
                  <a:pos x="162" y="360"/>
                </a:cxn>
                <a:cxn ang="0">
                  <a:pos x="174" y="380"/>
                </a:cxn>
                <a:cxn ang="0">
                  <a:pos x="200" y="382"/>
                </a:cxn>
                <a:cxn ang="0">
                  <a:pos x="240" y="366"/>
                </a:cxn>
                <a:cxn ang="0">
                  <a:pos x="252" y="352"/>
                </a:cxn>
                <a:cxn ang="0">
                  <a:pos x="268" y="338"/>
                </a:cxn>
                <a:cxn ang="0">
                  <a:pos x="286" y="314"/>
                </a:cxn>
                <a:cxn ang="0">
                  <a:pos x="302" y="312"/>
                </a:cxn>
                <a:cxn ang="0">
                  <a:pos x="370" y="354"/>
                </a:cxn>
                <a:cxn ang="0">
                  <a:pos x="396" y="374"/>
                </a:cxn>
                <a:cxn ang="0">
                  <a:pos x="420" y="378"/>
                </a:cxn>
                <a:cxn ang="0">
                  <a:pos x="450" y="368"/>
                </a:cxn>
                <a:cxn ang="0">
                  <a:pos x="496" y="362"/>
                </a:cxn>
                <a:cxn ang="0">
                  <a:pos x="514" y="370"/>
                </a:cxn>
                <a:cxn ang="0">
                  <a:pos x="538" y="370"/>
                </a:cxn>
                <a:cxn ang="0">
                  <a:pos x="554" y="354"/>
                </a:cxn>
                <a:cxn ang="0">
                  <a:pos x="598" y="288"/>
                </a:cxn>
                <a:cxn ang="0">
                  <a:pos x="622" y="242"/>
                </a:cxn>
                <a:cxn ang="0">
                  <a:pos x="614" y="218"/>
                </a:cxn>
                <a:cxn ang="0">
                  <a:pos x="600" y="190"/>
                </a:cxn>
                <a:cxn ang="0">
                  <a:pos x="572" y="184"/>
                </a:cxn>
                <a:cxn ang="0">
                  <a:pos x="550" y="178"/>
                </a:cxn>
                <a:cxn ang="0">
                  <a:pos x="528" y="150"/>
                </a:cxn>
                <a:cxn ang="0">
                  <a:pos x="496" y="120"/>
                </a:cxn>
                <a:cxn ang="0">
                  <a:pos x="486" y="116"/>
                </a:cxn>
                <a:cxn ang="0">
                  <a:pos x="472" y="122"/>
                </a:cxn>
                <a:cxn ang="0">
                  <a:pos x="464" y="138"/>
                </a:cxn>
                <a:cxn ang="0">
                  <a:pos x="450" y="154"/>
                </a:cxn>
                <a:cxn ang="0">
                  <a:pos x="434" y="152"/>
                </a:cxn>
                <a:cxn ang="0">
                  <a:pos x="402" y="120"/>
                </a:cxn>
                <a:cxn ang="0">
                  <a:pos x="400" y="88"/>
                </a:cxn>
                <a:cxn ang="0">
                  <a:pos x="398" y="60"/>
                </a:cxn>
                <a:cxn ang="0">
                  <a:pos x="374" y="56"/>
                </a:cxn>
                <a:cxn ang="0">
                  <a:pos x="354" y="54"/>
                </a:cxn>
                <a:cxn ang="0">
                  <a:pos x="332" y="44"/>
                </a:cxn>
                <a:cxn ang="0">
                  <a:pos x="294" y="14"/>
                </a:cxn>
                <a:cxn ang="0">
                  <a:pos x="272" y="0"/>
                </a:cxn>
                <a:cxn ang="0">
                  <a:pos x="170" y="24"/>
                </a:cxn>
                <a:cxn ang="0">
                  <a:pos x="126" y="38"/>
                </a:cxn>
                <a:cxn ang="0">
                  <a:pos x="88" y="62"/>
                </a:cxn>
                <a:cxn ang="0">
                  <a:pos x="68" y="74"/>
                </a:cxn>
                <a:cxn ang="0">
                  <a:pos x="44" y="80"/>
                </a:cxn>
                <a:cxn ang="0">
                  <a:pos x="22" y="78"/>
                </a:cxn>
                <a:cxn ang="0">
                  <a:pos x="16" y="82"/>
                </a:cxn>
                <a:cxn ang="0">
                  <a:pos x="0" y="106"/>
                </a:cxn>
                <a:cxn ang="0">
                  <a:pos x="0" y="118"/>
                </a:cxn>
                <a:cxn ang="0">
                  <a:pos x="28" y="218"/>
                </a:cxn>
                <a:cxn ang="0">
                  <a:pos x="42" y="240"/>
                </a:cxn>
                <a:cxn ang="0">
                  <a:pos x="64" y="274"/>
                </a:cxn>
                <a:cxn ang="0">
                  <a:pos x="90" y="304"/>
                </a:cxn>
                <a:cxn ang="0">
                  <a:pos x="128" y="332"/>
                </a:cxn>
              </a:cxnLst>
              <a:rect l="0" t="0" r="r" b="b"/>
              <a:pathLst>
                <a:path w="628" h="384">
                  <a:moveTo>
                    <a:pt x="158" y="356"/>
                  </a:moveTo>
                  <a:lnTo>
                    <a:pt x="158" y="356"/>
                  </a:lnTo>
                  <a:lnTo>
                    <a:pt x="162" y="360"/>
                  </a:lnTo>
                  <a:lnTo>
                    <a:pt x="164" y="364"/>
                  </a:lnTo>
                  <a:lnTo>
                    <a:pt x="170" y="376"/>
                  </a:lnTo>
                  <a:lnTo>
                    <a:pt x="174" y="380"/>
                  </a:lnTo>
                  <a:lnTo>
                    <a:pt x="180" y="384"/>
                  </a:lnTo>
                  <a:lnTo>
                    <a:pt x="188" y="384"/>
                  </a:lnTo>
                  <a:lnTo>
                    <a:pt x="200" y="382"/>
                  </a:lnTo>
                  <a:lnTo>
                    <a:pt x="200" y="382"/>
                  </a:lnTo>
                  <a:lnTo>
                    <a:pt x="232" y="370"/>
                  </a:lnTo>
                  <a:lnTo>
                    <a:pt x="240" y="366"/>
                  </a:lnTo>
                  <a:lnTo>
                    <a:pt x="244" y="364"/>
                  </a:lnTo>
                  <a:lnTo>
                    <a:pt x="248" y="356"/>
                  </a:lnTo>
                  <a:lnTo>
                    <a:pt x="252" y="352"/>
                  </a:lnTo>
                  <a:lnTo>
                    <a:pt x="260" y="344"/>
                  </a:lnTo>
                  <a:lnTo>
                    <a:pt x="260" y="344"/>
                  </a:lnTo>
                  <a:lnTo>
                    <a:pt x="268" y="338"/>
                  </a:lnTo>
                  <a:lnTo>
                    <a:pt x="274" y="330"/>
                  </a:lnTo>
                  <a:lnTo>
                    <a:pt x="282" y="318"/>
                  </a:lnTo>
                  <a:lnTo>
                    <a:pt x="286" y="314"/>
                  </a:lnTo>
                  <a:lnTo>
                    <a:pt x="290" y="310"/>
                  </a:lnTo>
                  <a:lnTo>
                    <a:pt x="296" y="310"/>
                  </a:lnTo>
                  <a:lnTo>
                    <a:pt x="302" y="312"/>
                  </a:lnTo>
                  <a:lnTo>
                    <a:pt x="302" y="312"/>
                  </a:lnTo>
                  <a:lnTo>
                    <a:pt x="336" y="332"/>
                  </a:lnTo>
                  <a:lnTo>
                    <a:pt x="370" y="354"/>
                  </a:lnTo>
                  <a:lnTo>
                    <a:pt x="370" y="354"/>
                  </a:lnTo>
                  <a:lnTo>
                    <a:pt x="384" y="364"/>
                  </a:lnTo>
                  <a:lnTo>
                    <a:pt x="396" y="374"/>
                  </a:lnTo>
                  <a:lnTo>
                    <a:pt x="404" y="376"/>
                  </a:lnTo>
                  <a:lnTo>
                    <a:pt x="410" y="378"/>
                  </a:lnTo>
                  <a:lnTo>
                    <a:pt x="420" y="378"/>
                  </a:lnTo>
                  <a:lnTo>
                    <a:pt x="430" y="374"/>
                  </a:lnTo>
                  <a:lnTo>
                    <a:pt x="430" y="374"/>
                  </a:lnTo>
                  <a:lnTo>
                    <a:pt x="450" y="368"/>
                  </a:lnTo>
                  <a:lnTo>
                    <a:pt x="470" y="364"/>
                  </a:lnTo>
                  <a:lnTo>
                    <a:pt x="486" y="362"/>
                  </a:lnTo>
                  <a:lnTo>
                    <a:pt x="496" y="362"/>
                  </a:lnTo>
                  <a:lnTo>
                    <a:pt x="496" y="362"/>
                  </a:lnTo>
                  <a:lnTo>
                    <a:pt x="508" y="366"/>
                  </a:lnTo>
                  <a:lnTo>
                    <a:pt x="514" y="370"/>
                  </a:lnTo>
                  <a:lnTo>
                    <a:pt x="522" y="372"/>
                  </a:lnTo>
                  <a:lnTo>
                    <a:pt x="530" y="372"/>
                  </a:lnTo>
                  <a:lnTo>
                    <a:pt x="538" y="370"/>
                  </a:lnTo>
                  <a:lnTo>
                    <a:pt x="546" y="364"/>
                  </a:lnTo>
                  <a:lnTo>
                    <a:pt x="554" y="354"/>
                  </a:lnTo>
                  <a:lnTo>
                    <a:pt x="554" y="354"/>
                  </a:lnTo>
                  <a:lnTo>
                    <a:pt x="562" y="338"/>
                  </a:lnTo>
                  <a:lnTo>
                    <a:pt x="572" y="322"/>
                  </a:lnTo>
                  <a:lnTo>
                    <a:pt x="598" y="288"/>
                  </a:lnTo>
                  <a:lnTo>
                    <a:pt x="628" y="252"/>
                  </a:lnTo>
                  <a:lnTo>
                    <a:pt x="628" y="252"/>
                  </a:lnTo>
                  <a:lnTo>
                    <a:pt x="622" y="242"/>
                  </a:lnTo>
                  <a:lnTo>
                    <a:pt x="616" y="230"/>
                  </a:lnTo>
                  <a:lnTo>
                    <a:pt x="614" y="218"/>
                  </a:lnTo>
                  <a:lnTo>
                    <a:pt x="614" y="218"/>
                  </a:lnTo>
                  <a:lnTo>
                    <a:pt x="612" y="206"/>
                  </a:lnTo>
                  <a:lnTo>
                    <a:pt x="606" y="196"/>
                  </a:lnTo>
                  <a:lnTo>
                    <a:pt x="600" y="190"/>
                  </a:lnTo>
                  <a:lnTo>
                    <a:pt x="594" y="188"/>
                  </a:lnTo>
                  <a:lnTo>
                    <a:pt x="594" y="188"/>
                  </a:lnTo>
                  <a:lnTo>
                    <a:pt x="572" y="184"/>
                  </a:lnTo>
                  <a:lnTo>
                    <a:pt x="558" y="180"/>
                  </a:lnTo>
                  <a:lnTo>
                    <a:pt x="550" y="178"/>
                  </a:lnTo>
                  <a:lnTo>
                    <a:pt x="550" y="178"/>
                  </a:lnTo>
                  <a:lnTo>
                    <a:pt x="546" y="174"/>
                  </a:lnTo>
                  <a:lnTo>
                    <a:pt x="540" y="166"/>
                  </a:lnTo>
                  <a:lnTo>
                    <a:pt x="528" y="150"/>
                  </a:lnTo>
                  <a:lnTo>
                    <a:pt x="528" y="150"/>
                  </a:lnTo>
                  <a:lnTo>
                    <a:pt x="508" y="128"/>
                  </a:lnTo>
                  <a:lnTo>
                    <a:pt x="496" y="120"/>
                  </a:lnTo>
                  <a:lnTo>
                    <a:pt x="490" y="118"/>
                  </a:lnTo>
                  <a:lnTo>
                    <a:pt x="486" y="116"/>
                  </a:lnTo>
                  <a:lnTo>
                    <a:pt x="486" y="116"/>
                  </a:lnTo>
                  <a:lnTo>
                    <a:pt x="478" y="118"/>
                  </a:lnTo>
                  <a:lnTo>
                    <a:pt x="474" y="120"/>
                  </a:lnTo>
                  <a:lnTo>
                    <a:pt x="472" y="122"/>
                  </a:lnTo>
                  <a:lnTo>
                    <a:pt x="468" y="128"/>
                  </a:lnTo>
                  <a:lnTo>
                    <a:pt x="468" y="128"/>
                  </a:lnTo>
                  <a:lnTo>
                    <a:pt x="464" y="138"/>
                  </a:lnTo>
                  <a:lnTo>
                    <a:pt x="458" y="148"/>
                  </a:lnTo>
                  <a:lnTo>
                    <a:pt x="454" y="152"/>
                  </a:lnTo>
                  <a:lnTo>
                    <a:pt x="450" y="154"/>
                  </a:lnTo>
                  <a:lnTo>
                    <a:pt x="442" y="154"/>
                  </a:lnTo>
                  <a:lnTo>
                    <a:pt x="434" y="152"/>
                  </a:lnTo>
                  <a:lnTo>
                    <a:pt x="434" y="152"/>
                  </a:lnTo>
                  <a:lnTo>
                    <a:pt x="420" y="142"/>
                  </a:lnTo>
                  <a:lnTo>
                    <a:pt x="408" y="130"/>
                  </a:lnTo>
                  <a:lnTo>
                    <a:pt x="402" y="120"/>
                  </a:lnTo>
                  <a:lnTo>
                    <a:pt x="400" y="114"/>
                  </a:lnTo>
                  <a:lnTo>
                    <a:pt x="400" y="114"/>
                  </a:lnTo>
                  <a:lnTo>
                    <a:pt x="400" y="88"/>
                  </a:lnTo>
                  <a:lnTo>
                    <a:pt x="400" y="64"/>
                  </a:lnTo>
                  <a:lnTo>
                    <a:pt x="400" y="64"/>
                  </a:lnTo>
                  <a:lnTo>
                    <a:pt x="398" y="60"/>
                  </a:lnTo>
                  <a:lnTo>
                    <a:pt x="392" y="58"/>
                  </a:lnTo>
                  <a:lnTo>
                    <a:pt x="384" y="56"/>
                  </a:lnTo>
                  <a:lnTo>
                    <a:pt x="374" y="56"/>
                  </a:lnTo>
                  <a:lnTo>
                    <a:pt x="374" y="56"/>
                  </a:lnTo>
                  <a:lnTo>
                    <a:pt x="364" y="56"/>
                  </a:lnTo>
                  <a:lnTo>
                    <a:pt x="354" y="54"/>
                  </a:lnTo>
                  <a:lnTo>
                    <a:pt x="344" y="50"/>
                  </a:lnTo>
                  <a:lnTo>
                    <a:pt x="332" y="44"/>
                  </a:lnTo>
                  <a:lnTo>
                    <a:pt x="332" y="44"/>
                  </a:lnTo>
                  <a:lnTo>
                    <a:pt x="320" y="36"/>
                  </a:lnTo>
                  <a:lnTo>
                    <a:pt x="310" y="26"/>
                  </a:lnTo>
                  <a:lnTo>
                    <a:pt x="294" y="14"/>
                  </a:lnTo>
                  <a:lnTo>
                    <a:pt x="294" y="14"/>
                  </a:lnTo>
                  <a:lnTo>
                    <a:pt x="272" y="0"/>
                  </a:lnTo>
                  <a:lnTo>
                    <a:pt x="272" y="0"/>
                  </a:lnTo>
                  <a:lnTo>
                    <a:pt x="222" y="12"/>
                  </a:lnTo>
                  <a:lnTo>
                    <a:pt x="170" y="24"/>
                  </a:lnTo>
                  <a:lnTo>
                    <a:pt x="170" y="24"/>
                  </a:lnTo>
                  <a:lnTo>
                    <a:pt x="160" y="26"/>
                  </a:lnTo>
                  <a:lnTo>
                    <a:pt x="138" y="32"/>
                  </a:lnTo>
                  <a:lnTo>
                    <a:pt x="126" y="38"/>
                  </a:lnTo>
                  <a:lnTo>
                    <a:pt x="112" y="44"/>
                  </a:lnTo>
                  <a:lnTo>
                    <a:pt x="100" y="52"/>
                  </a:lnTo>
                  <a:lnTo>
                    <a:pt x="88" y="62"/>
                  </a:lnTo>
                  <a:lnTo>
                    <a:pt x="88" y="62"/>
                  </a:lnTo>
                  <a:lnTo>
                    <a:pt x="80" y="68"/>
                  </a:lnTo>
                  <a:lnTo>
                    <a:pt x="68" y="74"/>
                  </a:lnTo>
                  <a:lnTo>
                    <a:pt x="54" y="80"/>
                  </a:lnTo>
                  <a:lnTo>
                    <a:pt x="48" y="82"/>
                  </a:lnTo>
                  <a:lnTo>
                    <a:pt x="44" y="80"/>
                  </a:lnTo>
                  <a:lnTo>
                    <a:pt x="44" y="80"/>
                  </a:lnTo>
                  <a:lnTo>
                    <a:pt x="30" y="78"/>
                  </a:lnTo>
                  <a:lnTo>
                    <a:pt x="22" y="78"/>
                  </a:lnTo>
                  <a:lnTo>
                    <a:pt x="18" y="82"/>
                  </a:lnTo>
                  <a:lnTo>
                    <a:pt x="16" y="82"/>
                  </a:lnTo>
                  <a:lnTo>
                    <a:pt x="16" y="82"/>
                  </a:lnTo>
                  <a:lnTo>
                    <a:pt x="14" y="86"/>
                  </a:lnTo>
                  <a:lnTo>
                    <a:pt x="6" y="94"/>
                  </a:lnTo>
                  <a:lnTo>
                    <a:pt x="0" y="106"/>
                  </a:lnTo>
                  <a:lnTo>
                    <a:pt x="0" y="112"/>
                  </a:lnTo>
                  <a:lnTo>
                    <a:pt x="0" y="118"/>
                  </a:lnTo>
                  <a:lnTo>
                    <a:pt x="0" y="118"/>
                  </a:lnTo>
                  <a:lnTo>
                    <a:pt x="22" y="196"/>
                  </a:lnTo>
                  <a:lnTo>
                    <a:pt x="22" y="196"/>
                  </a:lnTo>
                  <a:lnTo>
                    <a:pt x="28" y="218"/>
                  </a:lnTo>
                  <a:lnTo>
                    <a:pt x="34" y="230"/>
                  </a:lnTo>
                  <a:lnTo>
                    <a:pt x="42" y="240"/>
                  </a:lnTo>
                  <a:lnTo>
                    <a:pt x="42" y="240"/>
                  </a:lnTo>
                  <a:lnTo>
                    <a:pt x="48" y="248"/>
                  </a:lnTo>
                  <a:lnTo>
                    <a:pt x="54" y="256"/>
                  </a:lnTo>
                  <a:lnTo>
                    <a:pt x="64" y="274"/>
                  </a:lnTo>
                  <a:lnTo>
                    <a:pt x="76" y="292"/>
                  </a:lnTo>
                  <a:lnTo>
                    <a:pt x="84" y="300"/>
                  </a:lnTo>
                  <a:lnTo>
                    <a:pt x="90" y="304"/>
                  </a:lnTo>
                  <a:lnTo>
                    <a:pt x="90" y="304"/>
                  </a:lnTo>
                  <a:lnTo>
                    <a:pt x="106" y="316"/>
                  </a:lnTo>
                  <a:lnTo>
                    <a:pt x="128" y="332"/>
                  </a:lnTo>
                  <a:lnTo>
                    <a:pt x="158" y="356"/>
                  </a:lnTo>
                  <a:lnTo>
                    <a:pt x="158" y="356"/>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88" name="Freeform 54"/>
            <p:cNvSpPr>
              <a:spLocks/>
            </p:cNvSpPr>
            <p:nvPr/>
          </p:nvSpPr>
          <p:spPr bwMode="auto">
            <a:xfrm>
              <a:off x="4421448" y="4555557"/>
              <a:ext cx="413075" cy="228639"/>
            </a:xfrm>
            <a:custGeom>
              <a:avLst/>
              <a:gdLst/>
              <a:ahLst/>
              <a:cxnLst>
                <a:cxn ang="0">
                  <a:pos x="502" y="182"/>
                </a:cxn>
                <a:cxn ang="0">
                  <a:pos x="504" y="186"/>
                </a:cxn>
                <a:cxn ang="0">
                  <a:pos x="482" y="188"/>
                </a:cxn>
                <a:cxn ang="0">
                  <a:pos x="474" y="184"/>
                </a:cxn>
                <a:cxn ang="0">
                  <a:pos x="450" y="176"/>
                </a:cxn>
                <a:cxn ang="0">
                  <a:pos x="430" y="166"/>
                </a:cxn>
                <a:cxn ang="0">
                  <a:pos x="420" y="164"/>
                </a:cxn>
                <a:cxn ang="0">
                  <a:pos x="380" y="168"/>
                </a:cxn>
                <a:cxn ang="0">
                  <a:pos x="354" y="176"/>
                </a:cxn>
                <a:cxn ang="0">
                  <a:pos x="346" y="186"/>
                </a:cxn>
                <a:cxn ang="0">
                  <a:pos x="314" y="222"/>
                </a:cxn>
                <a:cxn ang="0">
                  <a:pos x="300" y="230"/>
                </a:cxn>
                <a:cxn ang="0">
                  <a:pos x="290" y="230"/>
                </a:cxn>
                <a:cxn ang="0">
                  <a:pos x="266" y="232"/>
                </a:cxn>
                <a:cxn ang="0">
                  <a:pos x="250" y="238"/>
                </a:cxn>
                <a:cxn ang="0">
                  <a:pos x="190" y="276"/>
                </a:cxn>
                <a:cxn ang="0">
                  <a:pos x="178" y="282"/>
                </a:cxn>
                <a:cxn ang="0">
                  <a:pos x="138" y="298"/>
                </a:cxn>
                <a:cxn ang="0">
                  <a:pos x="118" y="300"/>
                </a:cxn>
                <a:cxn ang="0">
                  <a:pos x="98" y="298"/>
                </a:cxn>
                <a:cxn ang="0">
                  <a:pos x="72" y="288"/>
                </a:cxn>
                <a:cxn ang="0">
                  <a:pos x="54" y="276"/>
                </a:cxn>
                <a:cxn ang="0">
                  <a:pos x="46" y="266"/>
                </a:cxn>
                <a:cxn ang="0">
                  <a:pos x="28" y="250"/>
                </a:cxn>
                <a:cxn ang="0">
                  <a:pos x="12" y="240"/>
                </a:cxn>
                <a:cxn ang="0">
                  <a:pos x="6" y="224"/>
                </a:cxn>
                <a:cxn ang="0">
                  <a:pos x="4" y="210"/>
                </a:cxn>
                <a:cxn ang="0">
                  <a:pos x="0" y="158"/>
                </a:cxn>
                <a:cxn ang="0">
                  <a:pos x="0" y="134"/>
                </a:cxn>
                <a:cxn ang="0">
                  <a:pos x="2" y="128"/>
                </a:cxn>
                <a:cxn ang="0">
                  <a:pos x="6" y="118"/>
                </a:cxn>
                <a:cxn ang="0">
                  <a:pos x="16" y="114"/>
                </a:cxn>
                <a:cxn ang="0">
                  <a:pos x="22" y="114"/>
                </a:cxn>
                <a:cxn ang="0">
                  <a:pos x="58" y="124"/>
                </a:cxn>
                <a:cxn ang="0">
                  <a:pos x="64" y="126"/>
                </a:cxn>
                <a:cxn ang="0">
                  <a:pos x="74" y="124"/>
                </a:cxn>
                <a:cxn ang="0">
                  <a:pos x="86" y="116"/>
                </a:cxn>
                <a:cxn ang="0">
                  <a:pos x="92" y="108"/>
                </a:cxn>
                <a:cxn ang="0">
                  <a:pos x="144" y="30"/>
                </a:cxn>
                <a:cxn ang="0">
                  <a:pos x="166" y="6"/>
                </a:cxn>
                <a:cxn ang="0">
                  <a:pos x="190" y="8"/>
                </a:cxn>
                <a:cxn ang="0">
                  <a:pos x="200" y="4"/>
                </a:cxn>
                <a:cxn ang="0">
                  <a:pos x="208" y="0"/>
                </a:cxn>
                <a:cxn ang="0">
                  <a:pos x="222" y="0"/>
                </a:cxn>
                <a:cxn ang="0">
                  <a:pos x="228" y="2"/>
                </a:cxn>
                <a:cxn ang="0">
                  <a:pos x="240" y="18"/>
                </a:cxn>
                <a:cxn ang="0">
                  <a:pos x="252" y="36"/>
                </a:cxn>
                <a:cxn ang="0">
                  <a:pos x="258" y="44"/>
                </a:cxn>
                <a:cxn ang="0">
                  <a:pos x="270" y="56"/>
                </a:cxn>
                <a:cxn ang="0">
                  <a:pos x="282" y="56"/>
                </a:cxn>
                <a:cxn ang="0">
                  <a:pos x="322" y="22"/>
                </a:cxn>
                <a:cxn ang="0">
                  <a:pos x="326" y="20"/>
                </a:cxn>
                <a:cxn ang="0">
                  <a:pos x="346" y="18"/>
                </a:cxn>
                <a:cxn ang="0">
                  <a:pos x="356" y="24"/>
                </a:cxn>
                <a:cxn ang="0">
                  <a:pos x="370" y="32"/>
                </a:cxn>
                <a:cxn ang="0">
                  <a:pos x="380" y="34"/>
                </a:cxn>
                <a:cxn ang="0">
                  <a:pos x="432" y="12"/>
                </a:cxn>
                <a:cxn ang="0">
                  <a:pos x="542" y="78"/>
                </a:cxn>
                <a:cxn ang="0">
                  <a:pos x="530" y="90"/>
                </a:cxn>
                <a:cxn ang="0">
                  <a:pos x="524" y="100"/>
                </a:cxn>
                <a:cxn ang="0">
                  <a:pos x="502" y="162"/>
                </a:cxn>
                <a:cxn ang="0">
                  <a:pos x="502" y="174"/>
                </a:cxn>
                <a:cxn ang="0">
                  <a:pos x="502" y="182"/>
                </a:cxn>
              </a:cxnLst>
              <a:rect l="0" t="0" r="r" b="b"/>
              <a:pathLst>
                <a:path w="542" h="300">
                  <a:moveTo>
                    <a:pt x="502" y="182"/>
                  </a:moveTo>
                  <a:lnTo>
                    <a:pt x="502" y="182"/>
                  </a:lnTo>
                  <a:lnTo>
                    <a:pt x="502" y="184"/>
                  </a:lnTo>
                  <a:lnTo>
                    <a:pt x="504" y="186"/>
                  </a:lnTo>
                  <a:lnTo>
                    <a:pt x="498" y="188"/>
                  </a:lnTo>
                  <a:lnTo>
                    <a:pt x="482" y="188"/>
                  </a:lnTo>
                  <a:lnTo>
                    <a:pt x="482" y="188"/>
                  </a:lnTo>
                  <a:lnTo>
                    <a:pt x="474" y="184"/>
                  </a:lnTo>
                  <a:lnTo>
                    <a:pt x="464" y="182"/>
                  </a:lnTo>
                  <a:lnTo>
                    <a:pt x="450" y="176"/>
                  </a:lnTo>
                  <a:lnTo>
                    <a:pt x="438" y="168"/>
                  </a:lnTo>
                  <a:lnTo>
                    <a:pt x="430" y="166"/>
                  </a:lnTo>
                  <a:lnTo>
                    <a:pt x="420" y="164"/>
                  </a:lnTo>
                  <a:lnTo>
                    <a:pt x="420" y="164"/>
                  </a:lnTo>
                  <a:lnTo>
                    <a:pt x="398" y="164"/>
                  </a:lnTo>
                  <a:lnTo>
                    <a:pt x="380" y="168"/>
                  </a:lnTo>
                  <a:lnTo>
                    <a:pt x="364" y="172"/>
                  </a:lnTo>
                  <a:lnTo>
                    <a:pt x="354" y="176"/>
                  </a:lnTo>
                  <a:lnTo>
                    <a:pt x="354" y="176"/>
                  </a:lnTo>
                  <a:lnTo>
                    <a:pt x="346" y="186"/>
                  </a:lnTo>
                  <a:lnTo>
                    <a:pt x="330" y="204"/>
                  </a:lnTo>
                  <a:lnTo>
                    <a:pt x="314" y="222"/>
                  </a:lnTo>
                  <a:lnTo>
                    <a:pt x="306" y="228"/>
                  </a:lnTo>
                  <a:lnTo>
                    <a:pt x="300" y="230"/>
                  </a:lnTo>
                  <a:lnTo>
                    <a:pt x="300" y="230"/>
                  </a:lnTo>
                  <a:lnTo>
                    <a:pt x="290" y="230"/>
                  </a:lnTo>
                  <a:lnTo>
                    <a:pt x="280" y="230"/>
                  </a:lnTo>
                  <a:lnTo>
                    <a:pt x="266" y="232"/>
                  </a:lnTo>
                  <a:lnTo>
                    <a:pt x="250" y="238"/>
                  </a:lnTo>
                  <a:lnTo>
                    <a:pt x="250" y="238"/>
                  </a:lnTo>
                  <a:lnTo>
                    <a:pt x="216" y="260"/>
                  </a:lnTo>
                  <a:lnTo>
                    <a:pt x="190" y="276"/>
                  </a:lnTo>
                  <a:lnTo>
                    <a:pt x="190" y="276"/>
                  </a:lnTo>
                  <a:lnTo>
                    <a:pt x="178" y="282"/>
                  </a:lnTo>
                  <a:lnTo>
                    <a:pt x="158" y="292"/>
                  </a:lnTo>
                  <a:lnTo>
                    <a:pt x="138" y="298"/>
                  </a:lnTo>
                  <a:lnTo>
                    <a:pt x="126" y="300"/>
                  </a:lnTo>
                  <a:lnTo>
                    <a:pt x="118" y="300"/>
                  </a:lnTo>
                  <a:lnTo>
                    <a:pt x="118" y="300"/>
                  </a:lnTo>
                  <a:lnTo>
                    <a:pt x="98" y="298"/>
                  </a:lnTo>
                  <a:lnTo>
                    <a:pt x="82" y="292"/>
                  </a:lnTo>
                  <a:lnTo>
                    <a:pt x="72" y="288"/>
                  </a:lnTo>
                  <a:lnTo>
                    <a:pt x="64" y="284"/>
                  </a:lnTo>
                  <a:lnTo>
                    <a:pt x="54" y="276"/>
                  </a:lnTo>
                  <a:lnTo>
                    <a:pt x="46" y="266"/>
                  </a:lnTo>
                  <a:lnTo>
                    <a:pt x="46" y="266"/>
                  </a:lnTo>
                  <a:lnTo>
                    <a:pt x="36" y="256"/>
                  </a:lnTo>
                  <a:lnTo>
                    <a:pt x="28" y="250"/>
                  </a:lnTo>
                  <a:lnTo>
                    <a:pt x="18" y="244"/>
                  </a:lnTo>
                  <a:lnTo>
                    <a:pt x="12" y="240"/>
                  </a:lnTo>
                  <a:lnTo>
                    <a:pt x="10" y="234"/>
                  </a:lnTo>
                  <a:lnTo>
                    <a:pt x="6" y="224"/>
                  </a:lnTo>
                  <a:lnTo>
                    <a:pt x="4" y="210"/>
                  </a:lnTo>
                  <a:lnTo>
                    <a:pt x="4" y="210"/>
                  </a:lnTo>
                  <a:lnTo>
                    <a:pt x="0" y="182"/>
                  </a:lnTo>
                  <a:lnTo>
                    <a:pt x="0" y="158"/>
                  </a:lnTo>
                  <a:lnTo>
                    <a:pt x="0" y="144"/>
                  </a:lnTo>
                  <a:lnTo>
                    <a:pt x="0" y="134"/>
                  </a:lnTo>
                  <a:lnTo>
                    <a:pt x="0" y="134"/>
                  </a:lnTo>
                  <a:lnTo>
                    <a:pt x="2" y="128"/>
                  </a:lnTo>
                  <a:lnTo>
                    <a:pt x="4" y="120"/>
                  </a:lnTo>
                  <a:lnTo>
                    <a:pt x="6" y="118"/>
                  </a:lnTo>
                  <a:lnTo>
                    <a:pt x="10" y="116"/>
                  </a:lnTo>
                  <a:lnTo>
                    <a:pt x="16" y="114"/>
                  </a:lnTo>
                  <a:lnTo>
                    <a:pt x="22" y="114"/>
                  </a:lnTo>
                  <a:lnTo>
                    <a:pt x="22" y="114"/>
                  </a:lnTo>
                  <a:lnTo>
                    <a:pt x="46" y="118"/>
                  </a:lnTo>
                  <a:lnTo>
                    <a:pt x="58" y="124"/>
                  </a:lnTo>
                  <a:lnTo>
                    <a:pt x="58" y="124"/>
                  </a:lnTo>
                  <a:lnTo>
                    <a:pt x="64" y="126"/>
                  </a:lnTo>
                  <a:lnTo>
                    <a:pt x="70" y="126"/>
                  </a:lnTo>
                  <a:lnTo>
                    <a:pt x="74" y="124"/>
                  </a:lnTo>
                  <a:lnTo>
                    <a:pt x="80" y="120"/>
                  </a:lnTo>
                  <a:lnTo>
                    <a:pt x="86" y="116"/>
                  </a:lnTo>
                  <a:lnTo>
                    <a:pt x="92" y="108"/>
                  </a:lnTo>
                  <a:lnTo>
                    <a:pt x="92" y="108"/>
                  </a:lnTo>
                  <a:lnTo>
                    <a:pt x="124" y="58"/>
                  </a:lnTo>
                  <a:lnTo>
                    <a:pt x="144" y="30"/>
                  </a:lnTo>
                  <a:lnTo>
                    <a:pt x="166" y="6"/>
                  </a:lnTo>
                  <a:lnTo>
                    <a:pt x="166" y="6"/>
                  </a:lnTo>
                  <a:lnTo>
                    <a:pt x="178" y="8"/>
                  </a:lnTo>
                  <a:lnTo>
                    <a:pt x="190" y="8"/>
                  </a:lnTo>
                  <a:lnTo>
                    <a:pt x="194" y="6"/>
                  </a:lnTo>
                  <a:lnTo>
                    <a:pt x="200" y="4"/>
                  </a:lnTo>
                  <a:lnTo>
                    <a:pt x="200" y="4"/>
                  </a:lnTo>
                  <a:lnTo>
                    <a:pt x="208" y="0"/>
                  </a:lnTo>
                  <a:lnTo>
                    <a:pt x="216" y="0"/>
                  </a:lnTo>
                  <a:lnTo>
                    <a:pt x="222" y="0"/>
                  </a:lnTo>
                  <a:lnTo>
                    <a:pt x="228" y="2"/>
                  </a:lnTo>
                  <a:lnTo>
                    <a:pt x="228" y="2"/>
                  </a:lnTo>
                  <a:lnTo>
                    <a:pt x="234" y="8"/>
                  </a:lnTo>
                  <a:lnTo>
                    <a:pt x="240" y="18"/>
                  </a:lnTo>
                  <a:lnTo>
                    <a:pt x="246" y="28"/>
                  </a:lnTo>
                  <a:lnTo>
                    <a:pt x="252" y="36"/>
                  </a:lnTo>
                  <a:lnTo>
                    <a:pt x="252" y="36"/>
                  </a:lnTo>
                  <a:lnTo>
                    <a:pt x="258" y="44"/>
                  </a:lnTo>
                  <a:lnTo>
                    <a:pt x="266" y="52"/>
                  </a:lnTo>
                  <a:lnTo>
                    <a:pt x="270" y="56"/>
                  </a:lnTo>
                  <a:lnTo>
                    <a:pt x="274" y="56"/>
                  </a:lnTo>
                  <a:lnTo>
                    <a:pt x="282" y="56"/>
                  </a:lnTo>
                  <a:lnTo>
                    <a:pt x="290" y="52"/>
                  </a:lnTo>
                  <a:lnTo>
                    <a:pt x="322" y="22"/>
                  </a:lnTo>
                  <a:lnTo>
                    <a:pt x="322" y="22"/>
                  </a:lnTo>
                  <a:lnTo>
                    <a:pt x="326" y="20"/>
                  </a:lnTo>
                  <a:lnTo>
                    <a:pt x="334" y="18"/>
                  </a:lnTo>
                  <a:lnTo>
                    <a:pt x="346" y="18"/>
                  </a:lnTo>
                  <a:lnTo>
                    <a:pt x="352" y="20"/>
                  </a:lnTo>
                  <a:lnTo>
                    <a:pt x="356" y="24"/>
                  </a:lnTo>
                  <a:lnTo>
                    <a:pt x="356" y="24"/>
                  </a:lnTo>
                  <a:lnTo>
                    <a:pt x="370" y="32"/>
                  </a:lnTo>
                  <a:lnTo>
                    <a:pt x="374" y="34"/>
                  </a:lnTo>
                  <a:lnTo>
                    <a:pt x="380" y="34"/>
                  </a:lnTo>
                  <a:lnTo>
                    <a:pt x="380" y="34"/>
                  </a:lnTo>
                  <a:lnTo>
                    <a:pt x="432" y="12"/>
                  </a:lnTo>
                  <a:lnTo>
                    <a:pt x="542" y="78"/>
                  </a:lnTo>
                  <a:lnTo>
                    <a:pt x="542" y="78"/>
                  </a:lnTo>
                  <a:lnTo>
                    <a:pt x="536" y="84"/>
                  </a:lnTo>
                  <a:lnTo>
                    <a:pt x="530" y="90"/>
                  </a:lnTo>
                  <a:lnTo>
                    <a:pt x="524" y="100"/>
                  </a:lnTo>
                  <a:lnTo>
                    <a:pt x="524" y="100"/>
                  </a:lnTo>
                  <a:lnTo>
                    <a:pt x="512" y="136"/>
                  </a:lnTo>
                  <a:lnTo>
                    <a:pt x="502" y="162"/>
                  </a:lnTo>
                  <a:lnTo>
                    <a:pt x="502" y="162"/>
                  </a:lnTo>
                  <a:lnTo>
                    <a:pt x="502" y="174"/>
                  </a:lnTo>
                  <a:lnTo>
                    <a:pt x="502" y="182"/>
                  </a:lnTo>
                  <a:lnTo>
                    <a:pt x="502" y="182"/>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89" name="Freeform 55"/>
            <p:cNvSpPr>
              <a:spLocks/>
            </p:cNvSpPr>
            <p:nvPr/>
          </p:nvSpPr>
          <p:spPr bwMode="auto">
            <a:xfrm>
              <a:off x="4381819" y="4680547"/>
              <a:ext cx="470998" cy="339911"/>
            </a:xfrm>
            <a:custGeom>
              <a:avLst/>
              <a:gdLst/>
              <a:ahLst/>
              <a:cxnLst>
                <a:cxn ang="0">
                  <a:pos x="606" y="82"/>
                </a:cxn>
                <a:cxn ang="0">
                  <a:pos x="618" y="96"/>
                </a:cxn>
                <a:cxn ang="0">
                  <a:pos x="608" y="114"/>
                </a:cxn>
                <a:cxn ang="0">
                  <a:pos x="566" y="150"/>
                </a:cxn>
                <a:cxn ang="0">
                  <a:pos x="552" y="176"/>
                </a:cxn>
                <a:cxn ang="0">
                  <a:pos x="544" y="222"/>
                </a:cxn>
                <a:cxn ang="0">
                  <a:pos x="528" y="272"/>
                </a:cxn>
                <a:cxn ang="0">
                  <a:pos x="502" y="318"/>
                </a:cxn>
                <a:cxn ang="0">
                  <a:pos x="502" y="336"/>
                </a:cxn>
                <a:cxn ang="0">
                  <a:pos x="502" y="354"/>
                </a:cxn>
                <a:cxn ang="0">
                  <a:pos x="488" y="358"/>
                </a:cxn>
                <a:cxn ang="0">
                  <a:pos x="444" y="372"/>
                </a:cxn>
                <a:cxn ang="0">
                  <a:pos x="410" y="378"/>
                </a:cxn>
                <a:cxn ang="0">
                  <a:pos x="356" y="380"/>
                </a:cxn>
                <a:cxn ang="0">
                  <a:pos x="340" y="386"/>
                </a:cxn>
                <a:cxn ang="0">
                  <a:pos x="300" y="424"/>
                </a:cxn>
                <a:cxn ang="0">
                  <a:pos x="276" y="440"/>
                </a:cxn>
                <a:cxn ang="0">
                  <a:pos x="218" y="444"/>
                </a:cxn>
                <a:cxn ang="0">
                  <a:pos x="166" y="434"/>
                </a:cxn>
                <a:cxn ang="0">
                  <a:pos x="134" y="418"/>
                </a:cxn>
                <a:cxn ang="0">
                  <a:pos x="102" y="378"/>
                </a:cxn>
                <a:cxn ang="0">
                  <a:pos x="82" y="352"/>
                </a:cxn>
                <a:cxn ang="0">
                  <a:pos x="34" y="314"/>
                </a:cxn>
                <a:cxn ang="0">
                  <a:pos x="8" y="298"/>
                </a:cxn>
                <a:cxn ang="0">
                  <a:pos x="0" y="278"/>
                </a:cxn>
                <a:cxn ang="0">
                  <a:pos x="6" y="240"/>
                </a:cxn>
                <a:cxn ang="0">
                  <a:pos x="18" y="210"/>
                </a:cxn>
                <a:cxn ang="0">
                  <a:pos x="24" y="186"/>
                </a:cxn>
                <a:cxn ang="0">
                  <a:pos x="24" y="172"/>
                </a:cxn>
                <a:cxn ang="0">
                  <a:pos x="18" y="150"/>
                </a:cxn>
                <a:cxn ang="0">
                  <a:pos x="26" y="146"/>
                </a:cxn>
                <a:cxn ang="0">
                  <a:pos x="58" y="128"/>
                </a:cxn>
                <a:cxn ang="0">
                  <a:pos x="86" y="88"/>
                </a:cxn>
                <a:cxn ang="0">
                  <a:pos x="126" y="124"/>
                </a:cxn>
                <a:cxn ang="0">
                  <a:pos x="156" y="134"/>
                </a:cxn>
                <a:cxn ang="0">
                  <a:pos x="188" y="134"/>
                </a:cxn>
                <a:cxn ang="0">
                  <a:pos x="232" y="116"/>
                </a:cxn>
                <a:cxn ang="0">
                  <a:pos x="302" y="78"/>
                </a:cxn>
                <a:cxn ang="0">
                  <a:pos x="332" y="64"/>
                </a:cxn>
                <a:cxn ang="0">
                  <a:pos x="356" y="64"/>
                </a:cxn>
                <a:cxn ang="0">
                  <a:pos x="380" y="44"/>
                </a:cxn>
                <a:cxn ang="0">
                  <a:pos x="410" y="12"/>
                </a:cxn>
                <a:cxn ang="0">
                  <a:pos x="436" y="2"/>
                </a:cxn>
                <a:cxn ang="0">
                  <a:pos x="480" y="2"/>
                </a:cxn>
                <a:cxn ang="0">
                  <a:pos x="510" y="16"/>
                </a:cxn>
                <a:cxn ang="0">
                  <a:pos x="534" y="24"/>
                </a:cxn>
                <a:cxn ang="0">
                  <a:pos x="556" y="22"/>
                </a:cxn>
                <a:cxn ang="0">
                  <a:pos x="566" y="24"/>
                </a:cxn>
                <a:cxn ang="0">
                  <a:pos x="590" y="60"/>
                </a:cxn>
                <a:cxn ang="0">
                  <a:pos x="604" y="78"/>
                </a:cxn>
              </a:cxnLst>
              <a:rect l="0" t="0" r="r" b="b"/>
              <a:pathLst>
                <a:path w="618" h="446">
                  <a:moveTo>
                    <a:pt x="604" y="78"/>
                  </a:moveTo>
                  <a:lnTo>
                    <a:pt x="604" y="78"/>
                  </a:lnTo>
                  <a:lnTo>
                    <a:pt x="606" y="82"/>
                  </a:lnTo>
                  <a:lnTo>
                    <a:pt x="610" y="86"/>
                  </a:lnTo>
                  <a:lnTo>
                    <a:pt x="616" y="92"/>
                  </a:lnTo>
                  <a:lnTo>
                    <a:pt x="618" y="96"/>
                  </a:lnTo>
                  <a:lnTo>
                    <a:pt x="618" y="100"/>
                  </a:lnTo>
                  <a:lnTo>
                    <a:pt x="614" y="106"/>
                  </a:lnTo>
                  <a:lnTo>
                    <a:pt x="608" y="114"/>
                  </a:lnTo>
                  <a:lnTo>
                    <a:pt x="608" y="114"/>
                  </a:lnTo>
                  <a:lnTo>
                    <a:pt x="576" y="138"/>
                  </a:lnTo>
                  <a:lnTo>
                    <a:pt x="566" y="150"/>
                  </a:lnTo>
                  <a:lnTo>
                    <a:pt x="558" y="164"/>
                  </a:lnTo>
                  <a:lnTo>
                    <a:pt x="558" y="164"/>
                  </a:lnTo>
                  <a:lnTo>
                    <a:pt x="552" y="176"/>
                  </a:lnTo>
                  <a:lnTo>
                    <a:pt x="550" y="182"/>
                  </a:lnTo>
                  <a:lnTo>
                    <a:pt x="544" y="222"/>
                  </a:lnTo>
                  <a:lnTo>
                    <a:pt x="544" y="222"/>
                  </a:lnTo>
                  <a:lnTo>
                    <a:pt x="540" y="240"/>
                  </a:lnTo>
                  <a:lnTo>
                    <a:pt x="534" y="256"/>
                  </a:lnTo>
                  <a:lnTo>
                    <a:pt x="528" y="272"/>
                  </a:lnTo>
                  <a:lnTo>
                    <a:pt x="520" y="286"/>
                  </a:lnTo>
                  <a:lnTo>
                    <a:pt x="506" y="308"/>
                  </a:lnTo>
                  <a:lnTo>
                    <a:pt x="502" y="318"/>
                  </a:lnTo>
                  <a:lnTo>
                    <a:pt x="500" y="324"/>
                  </a:lnTo>
                  <a:lnTo>
                    <a:pt x="500" y="324"/>
                  </a:lnTo>
                  <a:lnTo>
                    <a:pt x="502" y="336"/>
                  </a:lnTo>
                  <a:lnTo>
                    <a:pt x="504" y="346"/>
                  </a:lnTo>
                  <a:lnTo>
                    <a:pt x="504" y="352"/>
                  </a:lnTo>
                  <a:lnTo>
                    <a:pt x="502" y="354"/>
                  </a:lnTo>
                  <a:lnTo>
                    <a:pt x="496" y="358"/>
                  </a:lnTo>
                  <a:lnTo>
                    <a:pt x="488" y="358"/>
                  </a:lnTo>
                  <a:lnTo>
                    <a:pt x="488" y="358"/>
                  </a:lnTo>
                  <a:lnTo>
                    <a:pt x="470" y="362"/>
                  </a:lnTo>
                  <a:lnTo>
                    <a:pt x="456" y="366"/>
                  </a:lnTo>
                  <a:lnTo>
                    <a:pt x="444" y="372"/>
                  </a:lnTo>
                  <a:lnTo>
                    <a:pt x="428" y="376"/>
                  </a:lnTo>
                  <a:lnTo>
                    <a:pt x="428" y="376"/>
                  </a:lnTo>
                  <a:lnTo>
                    <a:pt x="410" y="378"/>
                  </a:lnTo>
                  <a:lnTo>
                    <a:pt x="392" y="378"/>
                  </a:lnTo>
                  <a:lnTo>
                    <a:pt x="374" y="378"/>
                  </a:lnTo>
                  <a:lnTo>
                    <a:pt x="356" y="380"/>
                  </a:lnTo>
                  <a:lnTo>
                    <a:pt x="356" y="380"/>
                  </a:lnTo>
                  <a:lnTo>
                    <a:pt x="348" y="382"/>
                  </a:lnTo>
                  <a:lnTo>
                    <a:pt x="340" y="386"/>
                  </a:lnTo>
                  <a:lnTo>
                    <a:pt x="324" y="402"/>
                  </a:lnTo>
                  <a:lnTo>
                    <a:pt x="310" y="418"/>
                  </a:lnTo>
                  <a:lnTo>
                    <a:pt x="300" y="424"/>
                  </a:lnTo>
                  <a:lnTo>
                    <a:pt x="292" y="430"/>
                  </a:lnTo>
                  <a:lnTo>
                    <a:pt x="292" y="430"/>
                  </a:lnTo>
                  <a:lnTo>
                    <a:pt x="276" y="440"/>
                  </a:lnTo>
                  <a:lnTo>
                    <a:pt x="260" y="446"/>
                  </a:lnTo>
                  <a:lnTo>
                    <a:pt x="242" y="446"/>
                  </a:lnTo>
                  <a:lnTo>
                    <a:pt x="218" y="444"/>
                  </a:lnTo>
                  <a:lnTo>
                    <a:pt x="218" y="444"/>
                  </a:lnTo>
                  <a:lnTo>
                    <a:pt x="192" y="438"/>
                  </a:lnTo>
                  <a:lnTo>
                    <a:pt x="166" y="434"/>
                  </a:lnTo>
                  <a:lnTo>
                    <a:pt x="154" y="430"/>
                  </a:lnTo>
                  <a:lnTo>
                    <a:pt x="142" y="424"/>
                  </a:lnTo>
                  <a:lnTo>
                    <a:pt x="134" y="418"/>
                  </a:lnTo>
                  <a:lnTo>
                    <a:pt x="126" y="410"/>
                  </a:lnTo>
                  <a:lnTo>
                    <a:pt x="126" y="410"/>
                  </a:lnTo>
                  <a:lnTo>
                    <a:pt x="102" y="378"/>
                  </a:lnTo>
                  <a:lnTo>
                    <a:pt x="92" y="364"/>
                  </a:lnTo>
                  <a:lnTo>
                    <a:pt x="82" y="352"/>
                  </a:lnTo>
                  <a:lnTo>
                    <a:pt x="82" y="352"/>
                  </a:lnTo>
                  <a:lnTo>
                    <a:pt x="60" y="334"/>
                  </a:lnTo>
                  <a:lnTo>
                    <a:pt x="48" y="324"/>
                  </a:lnTo>
                  <a:lnTo>
                    <a:pt x="34" y="314"/>
                  </a:lnTo>
                  <a:lnTo>
                    <a:pt x="34" y="314"/>
                  </a:lnTo>
                  <a:lnTo>
                    <a:pt x="20" y="306"/>
                  </a:lnTo>
                  <a:lnTo>
                    <a:pt x="8" y="298"/>
                  </a:lnTo>
                  <a:lnTo>
                    <a:pt x="2" y="288"/>
                  </a:lnTo>
                  <a:lnTo>
                    <a:pt x="0" y="284"/>
                  </a:lnTo>
                  <a:lnTo>
                    <a:pt x="0" y="278"/>
                  </a:lnTo>
                  <a:lnTo>
                    <a:pt x="0" y="278"/>
                  </a:lnTo>
                  <a:lnTo>
                    <a:pt x="2" y="254"/>
                  </a:lnTo>
                  <a:lnTo>
                    <a:pt x="6" y="240"/>
                  </a:lnTo>
                  <a:lnTo>
                    <a:pt x="12" y="222"/>
                  </a:lnTo>
                  <a:lnTo>
                    <a:pt x="12" y="222"/>
                  </a:lnTo>
                  <a:lnTo>
                    <a:pt x="18" y="210"/>
                  </a:lnTo>
                  <a:lnTo>
                    <a:pt x="20" y="202"/>
                  </a:lnTo>
                  <a:lnTo>
                    <a:pt x="22" y="196"/>
                  </a:lnTo>
                  <a:lnTo>
                    <a:pt x="24" y="186"/>
                  </a:lnTo>
                  <a:lnTo>
                    <a:pt x="24" y="186"/>
                  </a:lnTo>
                  <a:lnTo>
                    <a:pt x="26" y="180"/>
                  </a:lnTo>
                  <a:lnTo>
                    <a:pt x="24" y="172"/>
                  </a:lnTo>
                  <a:lnTo>
                    <a:pt x="20" y="160"/>
                  </a:lnTo>
                  <a:lnTo>
                    <a:pt x="18" y="154"/>
                  </a:lnTo>
                  <a:lnTo>
                    <a:pt x="18" y="150"/>
                  </a:lnTo>
                  <a:lnTo>
                    <a:pt x="20" y="148"/>
                  </a:lnTo>
                  <a:lnTo>
                    <a:pt x="26" y="146"/>
                  </a:lnTo>
                  <a:lnTo>
                    <a:pt x="26" y="146"/>
                  </a:lnTo>
                  <a:lnTo>
                    <a:pt x="32" y="144"/>
                  </a:lnTo>
                  <a:lnTo>
                    <a:pt x="40" y="140"/>
                  </a:lnTo>
                  <a:lnTo>
                    <a:pt x="58" y="128"/>
                  </a:lnTo>
                  <a:lnTo>
                    <a:pt x="76" y="114"/>
                  </a:lnTo>
                  <a:lnTo>
                    <a:pt x="86" y="88"/>
                  </a:lnTo>
                  <a:lnTo>
                    <a:pt x="86" y="88"/>
                  </a:lnTo>
                  <a:lnTo>
                    <a:pt x="100" y="104"/>
                  </a:lnTo>
                  <a:lnTo>
                    <a:pt x="114" y="116"/>
                  </a:lnTo>
                  <a:lnTo>
                    <a:pt x="126" y="124"/>
                  </a:lnTo>
                  <a:lnTo>
                    <a:pt x="126" y="124"/>
                  </a:lnTo>
                  <a:lnTo>
                    <a:pt x="140" y="128"/>
                  </a:lnTo>
                  <a:lnTo>
                    <a:pt x="156" y="134"/>
                  </a:lnTo>
                  <a:lnTo>
                    <a:pt x="174" y="136"/>
                  </a:lnTo>
                  <a:lnTo>
                    <a:pt x="182" y="136"/>
                  </a:lnTo>
                  <a:lnTo>
                    <a:pt x="188" y="134"/>
                  </a:lnTo>
                  <a:lnTo>
                    <a:pt x="188" y="134"/>
                  </a:lnTo>
                  <a:lnTo>
                    <a:pt x="206" y="128"/>
                  </a:lnTo>
                  <a:lnTo>
                    <a:pt x="232" y="116"/>
                  </a:lnTo>
                  <a:lnTo>
                    <a:pt x="272" y="94"/>
                  </a:lnTo>
                  <a:lnTo>
                    <a:pt x="272" y="94"/>
                  </a:lnTo>
                  <a:lnTo>
                    <a:pt x="302" y="78"/>
                  </a:lnTo>
                  <a:lnTo>
                    <a:pt x="318" y="68"/>
                  </a:lnTo>
                  <a:lnTo>
                    <a:pt x="332" y="64"/>
                  </a:lnTo>
                  <a:lnTo>
                    <a:pt x="332" y="64"/>
                  </a:lnTo>
                  <a:lnTo>
                    <a:pt x="340" y="66"/>
                  </a:lnTo>
                  <a:lnTo>
                    <a:pt x="350" y="66"/>
                  </a:lnTo>
                  <a:lnTo>
                    <a:pt x="356" y="64"/>
                  </a:lnTo>
                  <a:lnTo>
                    <a:pt x="362" y="60"/>
                  </a:lnTo>
                  <a:lnTo>
                    <a:pt x="370" y="54"/>
                  </a:lnTo>
                  <a:lnTo>
                    <a:pt x="380" y="44"/>
                  </a:lnTo>
                  <a:lnTo>
                    <a:pt x="380" y="44"/>
                  </a:lnTo>
                  <a:lnTo>
                    <a:pt x="396" y="26"/>
                  </a:lnTo>
                  <a:lnTo>
                    <a:pt x="410" y="12"/>
                  </a:lnTo>
                  <a:lnTo>
                    <a:pt x="422" y="4"/>
                  </a:lnTo>
                  <a:lnTo>
                    <a:pt x="436" y="2"/>
                  </a:lnTo>
                  <a:lnTo>
                    <a:pt x="436" y="2"/>
                  </a:lnTo>
                  <a:lnTo>
                    <a:pt x="450" y="0"/>
                  </a:lnTo>
                  <a:lnTo>
                    <a:pt x="464" y="0"/>
                  </a:lnTo>
                  <a:lnTo>
                    <a:pt x="480" y="2"/>
                  </a:lnTo>
                  <a:lnTo>
                    <a:pt x="490" y="6"/>
                  </a:lnTo>
                  <a:lnTo>
                    <a:pt x="490" y="6"/>
                  </a:lnTo>
                  <a:lnTo>
                    <a:pt x="510" y="16"/>
                  </a:lnTo>
                  <a:lnTo>
                    <a:pt x="522" y="20"/>
                  </a:lnTo>
                  <a:lnTo>
                    <a:pt x="534" y="24"/>
                  </a:lnTo>
                  <a:lnTo>
                    <a:pt x="534" y="24"/>
                  </a:lnTo>
                  <a:lnTo>
                    <a:pt x="546" y="24"/>
                  </a:lnTo>
                  <a:lnTo>
                    <a:pt x="552" y="22"/>
                  </a:lnTo>
                  <a:lnTo>
                    <a:pt x="556" y="22"/>
                  </a:lnTo>
                  <a:lnTo>
                    <a:pt x="562" y="22"/>
                  </a:lnTo>
                  <a:lnTo>
                    <a:pt x="562" y="22"/>
                  </a:lnTo>
                  <a:lnTo>
                    <a:pt x="566" y="24"/>
                  </a:lnTo>
                  <a:lnTo>
                    <a:pt x="570" y="28"/>
                  </a:lnTo>
                  <a:lnTo>
                    <a:pt x="578" y="40"/>
                  </a:lnTo>
                  <a:lnTo>
                    <a:pt x="590" y="60"/>
                  </a:lnTo>
                  <a:lnTo>
                    <a:pt x="590" y="60"/>
                  </a:lnTo>
                  <a:lnTo>
                    <a:pt x="598" y="72"/>
                  </a:lnTo>
                  <a:lnTo>
                    <a:pt x="604" y="78"/>
                  </a:lnTo>
                  <a:lnTo>
                    <a:pt x="604" y="78"/>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90" name="Freeform 56"/>
            <p:cNvSpPr>
              <a:spLocks/>
            </p:cNvSpPr>
            <p:nvPr/>
          </p:nvSpPr>
          <p:spPr bwMode="auto">
            <a:xfrm>
              <a:off x="3599871" y="4703411"/>
              <a:ext cx="317046" cy="228639"/>
            </a:xfrm>
            <a:custGeom>
              <a:avLst/>
              <a:gdLst/>
              <a:ahLst/>
              <a:cxnLst>
                <a:cxn ang="0">
                  <a:pos x="350" y="52"/>
                </a:cxn>
                <a:cxn ang="0">
                  <a:pos x="348" y="56"/>
                </a:cxn>
                <a:cxn ang="0">
                  <a:pos x="338" y="76"/>
                </a:cxn>
                <a:cxn ang="0">
                  <a:pos x="336" y="92"/>
                </a:cxn>
                <a:cxn ang="0">
                  <a:pos x="336" y="102"/>
                </a:cxn>
                <a:cxn ang="0">
                  <a:pos x="344" y="134"/>
                </a:cxn>
                <a:cxn ang="0">
                  <a:pos x="350" y="150"/>
                </a:cxn>
                <a:cxn ang="0">
                  <a:pos x="356" y="154"/>
                </a:cxn>
                <a:cxn ang="0">
                  <a:pos x="380" y="176"/>
                </a:cxn>
                <a:cxn ang="0">
                  <a:pos x="394" y="194"/>
                </a:cxn>
                <a:cxn ang="0">
                  <a:pos x="412" y="204"/>
                </a:cxn>
                <a:cxn ang="0">
                  <a:pos x="416" y="212"/>
                </a:cxn>
                <a:cxn ang="0">
                  <a:pos x="410" y="224"/>
                </a:cxn>
                <a:cxn ang="0">
                  <a:pos x="398" y="238"/>
                </a:cxn>
                <a:cxn ang="0">
                  <a:pos x="380" y="254"/>
                </a:cxn>
                <a:cxn ang="0">
                  <a:pos x="368" y="254"/>
                </a:cxn>
                <a:cxn ang="0">
                  <a:pos x="322" y="252"/>
                </a:cxn>
                <a:cxn ang="0">
                  <a:pos x="310" y="256"/>
                </a:cxn>
                <a:cxn ang="0">
                  <a:pos x="300" y="266"/>
                </a:cxn>
                <a:cxn ang="0">
                  <a:pos x="286" y="280"/>
                </a:cxn>
                <a:cxn ang="0">
                  <a:pos x="276" y="282"/>
                </a:cxn>
                <a:cxn ang="0">
                  <a:pos x="270" y="280"/>
                </a:cxn>
                <a:cxn ang="0">
                  <a:pos x="224" y="246"/>
                </a:cxn>
                <a:cxn ang="0">
                  <a:pos x="222" y="244"/>
                </a:cxn>
                <a:cxn ang="0">
                  <a:pos x="202" y="250"/>
                </a:cxn>
                <a:cxn ang="0">
                  <a:pos x="182" y="264"/>
                </a:cxn>
                <a:cxn ang="0">
                  <a:pos x="140" y="292"/>
                </a:cxn>
                <a:cxn ang="0">
                  <a:pos x="122" y="300"/>
                </a:cxn>
                <a:cxn ang="0">
                  <a:pos x="118" y="300"/>
                </a:cxn>
                <a:cxn ang="0">
                  <a:pos x="70" y="292"/>
                </a:cxn>
                <a:cxn ang="0">
                  <a:pos x="62" y="276"/>
                </a:cxn>
                <a:cxn ang="0">
                  <a:pos x="54" y="256"/>
                </a:cxn>
                <a:cxn ang="0">
                  <a:pos x="56" y="228"/>
                </a:cxn>
                <a:cxn ang="0">
                  <a:pos x="54" y="202"/>
                </a:cxn>
                <a:cxn ang="0">
                  <a:pos x="48" y="198"/>
                </a:cxn>
                <a:cxn ang="0">
                  <a:pos x="20" y="192"/>
                </a:cxn>
                <a:cxn ang="0">
                  <a:pos x="16" y="190"/>
                </a:cxn>
                <a:cxn ang="0">
                  <a:pos x="4" y="178"/>
                </a:cxn>
                <a:cxn ang="0">
                  <a:pos x="0" y="160"/>
                </a:cxn>
                <a:cxn ang="0">
                  <a:pos x="2" y="150"/>
                </a:cxn>
                <a:cxn ang="0">
                  <a:pos x="14" y="122"/>
                </a:cxn>
                <a:cxn ang="0">
                  <a:pos x="24" y="110"/>
                </a:cxn>
                <a:cxn ang="0">
                  <a:pos x="38" y="98"/>
                </a:cxn>
                <a:cxn ang="0">
                  <a:pos x="68" y="58"/>
                </a:cxn>
                <a:cxn ang="0">
                  <a:pos x="70" y="52"/>
                </a:cxn>
                <a:cxn ang="0">
                  <a:pos x="130" y="0"/>
                </a:cxn>
                <a:cxn ang="0">
                  <a:pos x="144" y="18"/>
                </a:cxn>
                <a:cxn ang="0">
                  <a:pos x="152" y="18"/>
                </a:cxn>
                <a:cxn ang="0">
                  <a:pos x="170" y="18"/>
                </a:cxn>
                <a:cxn ang="0">
                  <a:pos x="226" y="20"/>
                </a:cxn>
                <a:cxn ang="0">
                  <a:pos x="248" y="20"/>
                </a:cxn>
                <a:cxn ang="0">
                  <a:pos x="284" y="22"/>
                </a:cxn>
                <a:cxn ang="0">
                  <a:pos x="304" y="28"/>
                </a:cxn>
                <a:cxn ang="0">
                  <a:pos x="308" y="32"/>
                </a:cxn>
                <a:cxn ang="0">
                  <a:pos x="328" y="46"/>
                </a:cxn>
                <a:cxn ang="0">
                  <a:pos x="350" y="52"/>
                </a:cxn>
              </a:cxnLst>
              <a:rect l="0" t="0" r="r" b="b"/>
              <a:pathLst>
                <a:path w="416" h="300">
                  <a:moveTo>
                    <a:pt x="350" y="52"/>
                  </a:moveTo>
                  <a:lnTo>
                    <a:pt x="350" y="52"/>
                  </a:lnTo>
                  <a:lnTo>
                    <a:pt x="350" y="54"/>
                  </a:lnTo>
                  <a:lnTo>
                    <a:pt x="348" y="56"/>
                  </a:lnTo>
                  <a:lnTo>
                    <a:pt x="342" y="68"/>
                  </a:lnTo>
                  <a:lnTo>
                    <a:pt x="338" y="76"/>
                  </a:lnTo>
                  <a:lnTo>
                    <a:pt x="336" y="84"/>
                  </a:lnTo>
                  <a:lnTo>
                    <a:pt x="336" y="92"/>
                  </a:lnTo>
                  <a:lnTo>
                    <a:pt x="336" y="102"/>
                  </a:lnTo>
                  <a:lnTo>
                    <a:pt x="336" y="102"/>
                  </a:lnTo>
                  <a:lnTo>
                    <a:pt x="340" y="120"/>
                  </a:lnTo>
                  <a:lnTo>
                    <a:pt x="344" y="134"/>
                  </a:lnTo>
                  <a:lnTo>
                    <a:pt x="348" y="144"/>
                  </a:lnTo>
                  <a:lnTo>
                    <a:pt x="350" y="150"/>
                  </a:lnTo>
                  <a:lnTo>
                    <a:pt x="356" y="154"/>
                  </a:lnTo>
                  <a:lnTo>
                    <a:pt x="356" y="154"/>
                  </a:lnTo>
                  <a:lnTo>
                    <a:pt x="368" y="164"/>
                  </a:lnTo>
                  <a:lnTo>
                    <a:pt x="380" y="176"/>
                  </a:lnTo>
                  <a:lnTo>
                    <a:pt x="394" y="194"/>
                  </a:lnTo>
                  <a:lnTo>
                    <a:pt x="394" y="194"/>
                  </a:lnTo>
                  <a:lnTo>
                    <a:pt x="402" y="200"/>
                  </a:lnTo>
                  <a:lnTo>
                    <a:pt x="412" y="204"/>
                  </a:lnTo>
                  <a:lnTo>
                    <a:pt x="414" y="208"/>
                  </a:lnTo>
                  <a:lnTo>
                    <a:pt x="416" y="212"/>
                  </a:lnTo>
                  <a:lnTo>
                    <a:pt x="414" y="218"/>
                  </a:lnTo>
                  <a:lnTo>
                    <a:pt x="410" y="224"/>
                  </a:lnTo>
                  <a:lnTo>
                    <a:pt x="410" y="224"/>
                  </a:lnTo>
                  <a:lnTo>
                    <a:pt x="398" y="238"/>
                  </a:lnTo>
                  <a:lnTo>
                    <a:pt x="390" y="248"/>
                  </a:lnTo>
                  <a:lnTo>
                    <a:pt x="380" y="254"/>
                  </a:lnTo>
                  <a:lnTo>
                    <a:pt x="368" y="254"/>
                  </a:lnTo>
                  <a:lnTo>
                    <a:pt x="368" y="254"/>
                  </a:lnTo>
                  <a:lnTo>
                    <a:pt x="336" y="252"/>
                  </a:lnTo>
                  <a:lnTo>
                    <a:pt x="322" y="252"/>
                  </a:lnTo>
                  <a:lnTo>
                    <a:pt x="316" y="254"/>
                  </a:lnTo>
                  <a:lnTo>
                    <a:pt x="310" y="256"/>
                  </a:lnTo>
                  <a:lnTo>
                    <a:pt x="310" y="256"/>
                  </a:lnTo>
                  <a:lnTo>
                    <a:pt x="300" y="266"/>
                  </a:lnTo>
                  <a:lnTo>
                    <a:pt x="290" y="276"/>
                  </a:lnTo>
                  <a:lnTo>
                    <a:pt x="286" y="280"/>
                  </a:lnTo>
                  <a:lnTo>
                    <a:pt x="280" y="282"/>
                  </a:lnTo>
                  <a:lnTo>
                    <a:pt x="276" y="282"/>
                  </a:lnTo>
                  <a:lnTo>
                    <a:pt x="270" y="280"/>
                  </a:lnTo>
                  <a:lnTo>
                    <a:pt x="270" y="280"/>
                  </a:lnTo>
                  <a:lnTo>
                    <a:pt x="242" y="260"/>
                  </a:lnTo>
                  <a:lnTo>
                    <a:pt x="224" y="246"/>
                  </a:lnTo>
                  <a:lnTo>
                    <a:pt x="224" y="246"/>
                  </a:lnTo>
                  <a:lnTo>
                    <a:pt x="222" y="244"/>
                  </a:lnTo>
                  <a:lnTo>
                    <a:pt x="214" y="244"/>
                  </a:lnTo>
                  <a:lnTo>
                    <a:pt x="202" y="250"/>
                  </a:lnTo>
                  <a:lnTo>
                    <a:pt x="182" y="264"/>
                  </a:lnTo>
                  <a:lnTo>
                    <a:pt x="182" y="264"/>
                  </a:lnTo>
                  <a:lnTo>
                    <a:pt x="160" y="280"/>
                  </a:lnTo>
                  <a:lnTo>
                    <a:pt x="140" y="292"/>
                  </a:lnTo>
                  <a:lnTo>
                    <a:pt x="126" y="298"/>
                  </a:lnTo>
                  <a:lnTo>
                    <a:pt x="122" y="300"/>
                  </a:lnTo>
                  <a:lnTo>
                    <a:pt x="118" y="300"/>
                  </a:lnTo>
                  <a:lnTo>
                    <a:pt x="118" y="300"/>
                  </a:lnTo>
                  <a:lnTo>
                    <a:pt x="90" y="294"/>
                  </a:lnTo>
                  <a:lnTo>
                    <a:pt x="70" y="292"/>
                  </a:lnTo>
                  <a:lnTo>
                    <a:pt x="70" y="292"/>
                  </a:lnTo>
                  <a:lnTo>
                    <a:pt x="62" y="276"/>
                  </a:lnTo>
                  <a:lnTo>
                    <a:pt x="56" y="264"/>
                  </a:lnTo>
                  <a:lnTo>
                    <a:pt x="54" y="256"/>
                  </a:lnTo>
                  <a:lnTo>
                    <a:pt x="54" y="256"/>
                  </a:lnTo>
                  <a:lnTo>
                    <a:pt x="56" y="228"/>
                  </a:lnTo>
                  <a:lnTo>
                    <a:pt x="56" y="212"/>
                  </a:lnTo>
                  <a:lnTo>
                    <a:pt x="54" y="202"/>
                  </a:lnTo>
                  <a:lnTo>
                    <a:pt x="54" y="202"/>
                  </a:lnTo>
                  <a:lnTo>
                    <a:pt x="48" y="198"/>
                  </a:lnTo>
                  <a:lnTo>
                    <a:pt x="40" y="196"/>
                  </a:lnTo>
                  <a:lnTo>
                    <a:pt x="20" y="192"/>
                  </a:lnTo>
                  <a:lnTo>
                    <a:pt x="20" y="192"/>
                  </a:lnTo>
                  <a:lnTo>
                    <a:pt x="16" y="190"/>
                  </a:lnTo>
                  <a:lnTo>
                    <a:pt x="12" y="186"/>
                  </a:lnTo>
                  <a:lnTo>
                    <a:pt x="4" y="178"/>
                  </a:lnTo>
                  <a:lnTo>
                    <a:pt x="0" y="168"/>
                  </a:lnTo>
                  <a:lnTo>
                    <a:pt x="0" y="160"/>
                  </a:lnTo>
                  <a:lnTo>
                    <a:pt x="0" y="160"/>
                  </a:lnTo>
                  <a:lnTo>
                    <a:pt x="2" y="150"/>
                  </a:lnTo>
                  <a:lnTo>
                    <a:pt x="6" y="136"/>
                  </a:lnTo>
                  <a:lnTo>
                    <a:pt x="14" y="122"/>
                  </a:lnTo>
                  <a:lnTo>
                    <a:pt x="20" y="116"/>
                  </a:lnTo>
                  <a:lnTo>
                    <a:pt x="24" y="110"/>
                  </a:lnTo>
                  <a:lnTo>
                    <a:pt x="24" y="110"/>
                  </a:lnTo>
                  <a:lnTo>
                    <a:pt x="38" y="98"/>
                  </a:lnTo>
                  <a:lnTo>
                    <a:pt x="50" y="82"/>
                  </a:lnTo>
                  <a:lnTo>
                    <a:pt x="68" y="58"/>
                  </a:lnTo>
                  <a:lnTo>
                    <a:pt x="68" y="58"/>
                  </a:lnTo>
                  <a:lnTo>
                    <a:pt x="70" y="52"/>
                  </a:lnTo>
                  <a:lnTo>
                    <a:pt x="130" y="0"/>
                  </a:lnTo>
                  <a:lnTo>
                    <a:pt x="130" y="0"/>
                  </a:lnTo>
                  <a:lnTo>
                    <a:pt x="136" y="10"/>
                  </a:lnTo>
                  <a:lnTo>
                    <a:pt x="144" y="18"/>
                  </a:lnTo>
                  <a:lnTo>
                    <a:pt x="148" y="18"/>
                  </a:lnTo>
                  <a:lnTo>
                    <a:pt x="152" y="18"/>
                  </a:lnTo>
                  <a:lnTo>
                    <a:pt x="152" y="18"/>
                  </a:lnTo>
                  <a:lnTo>
                    <a:pt x="170" y="18"/>
                  </a:lnTo>
                  <a:lnTo>
                    <a:pt x="196" y="18"/>
                  </a:lnTo>
                  <a:lnTo>
                    <a:pt x="226" y="20"/>
                  </a:lnTo>
                  <a:lnTo>
                    <a:pt x="248" y="20"/>
                  </a:lnTo>
                  <a:lnTo>
                    <a:pt x="248" y="20"/>
                  </a:lnTo>
                  <a:lnTo>
                    <a:pt x="266" y="20"/>
                  </a:lnTo>
                  <a:lnTo>
                    <a:pt x="284" y="22"/>
                  </a:lnTo>
                  <a:lnTo>
                    <a:pt x="300" y="26"/>
                  </a:lnTo>
                  <a:lnTo>
                    <a:pt x="304" y="28"/>
                  </a:lnTo>
                  <a:lnTo>
                    <a:pt x="308" y="32"/>
                  </a:lnTo>
                  <a:lnTo>
                    <a:pt x="308" y="32"/>
                  </a:lnTo>
                  <a:lnTo>
                    <a:pt x="318" y="40"/>
                  </a:lnTo>
                  <a:lnTo>
                    <a:pt x="328" y="46"/>
                  </a:lnTo>
                  <a:lnTo>
                    <a:pt x="340" y="50"/>
                  </a:lnTo>
                  <a:lnTo>
                    <a:pt x="350" y="52"/>
                  </a:lnTo>
                  <a:lnTo>
                    <a:pt x="350" y="52"/>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91" name="Freeform 57"/>
            <p:cNvSpPr>
              <a:spLocks/>
            </p:cNvSpPr>
            <p:nvPr/>
          </p:nvSpPr>
          <p:spPr bwMode="auto">
            <a:xfrm>
              <a:off x="3855947" y="4605858"/>
              <a:ext cx="591415" cy="318571"/>
            </a:xfrm>
            <a:custGeom>
              <a:avLst/>
              <a:gdLst/>
              <a:ahLst/>
              <a:cxnLst>
                <a:cxn ang="0">
                  <a:pos x="654" y="396"/>
                </a:cxn>
                <a:cxn ang="0">
                  <a:pos x="596" y="404"/>
                </a:cxn>
                <a:cxn ang="0">
                  <a:pos x="516" y="414"/>
                </a:cxn>
                <a:cxn ang="0">
                  <a:pos x="424" y="414"/>
                </a:cxn>
                <a:cxn ang="0">
                  <a:pos x="356" y="380"/>
                </a:cxn>
                <a:cxn ang="0">
                  <a:pos x="310" y="372"/>
                </a:cxn>
                <a:cxn ang="0">
                  <a:pos x="286" y="364"/>
                </a:cxn>
                <a:cxn ang="0">
                  <a:pos x="270" y="326"/>
                </a:cxn>
                <a:cxn ang="0">
                  <a:pos x="256" y="308"/>
                </a:cxn>
                <a:cxn ang="0">
                  <a:pos x="186" y="310"/>
                </a:cxn>
                <a:cxn ang="0">
                  <a:pos x="142" y="330"/>
                </a:cxn>
                <a:cxn ang="0">
                  <a:pos x="108" y="340"/>
                </a:cxn>
                <a:cxn ang="0">
                  <a:pos x="72" y="330"/>
                </a:cxn>
                <a:cxn ang="0">
                  <a:pos x="52" y="314"/>
                </a:cxn>
                <a:cxn ang="0">
                  <a:pos x="16" y="280"/>
                </a:cxn>
                <a:cxn ang="0">
                  <a:pos x="4" y="238"/>
                </a:cxn>
                <a:cxn ang="0">
                  <a:pos x="0" y="220"/>
                </a:cxn>
                <a:cxn ang="0">
                  <a:pos x="64" y="208"/>
                </a:cxn>
                <a:cxn ang="0">
                  <a:pos x="108" y="212"/>
                </a:cxn>
                <a:cxn ang="0">
                  <a:pos x="154" y="222"/>
                </a:cxn>
                <a:cxn ang="0">
                  <a:pos x="190" y="224"/>
                </a:cxn>
                <a:cxn ang="0">
                  <a:pos x="200" y="204"/>
                </a:cxn>
                <a:cxn ang="0">
                  <a:pos x="230" y="196"/>
                </a:cxn>
                <a:cxn ang="0">
                  <a:pos x="258" y="198"/>
                </a:cxn>
                <a:cxn ang="0">
                  <a:pos x="302" y="226"/>
                </a:cxn>
                <a:cxn ang="0">
                  <a:pos x="334" y="222"/>
                </a:cxn>
                <a:cxn ang="0">
                  <a:pos x="350" y="188"/>
                </a:cxn>
                <a:cxn ang="0">
                  <a:pos x="338" y="150"/>
                </a:cxn>
                <a:cxn ang="0">
                  <a:pos x="342" y="126"/>
                </a:cxn>
                <a:cxn ang="0">
                  <a:pos x="376" y="102"/>
                </a:cxn>
                <a:cxn ang="0">
                  <a:pos x="430" y="62"/>
                </a:cxn>
                <a:cxn ang="0">
                  <a:pos x="452" y="64"/>
                </a:cxn>
                <a:cxn ang="0">
                  <a:pos x="474" y="68"/>
                </a:cxn>
                <a:cxn ang="0">
                  <a:pos x="528" y="46"/>
                </a:cxn>
                <a:cxn ang="0">
                  <a:pos x="564" y="4"/>
                </a:cxn>
                <a:cxn ang="0">
                  <a:pos x="580" y="0"/>
                </a:cxn>
                <a:cxn ang="0">
                  <a:pos x="638" y="34"/>
                </a:cxn>
                <a:cxn ang="0">
                  <a:pos x="684" y="64"/>
                </a:cxn>
                <a:cxn ang="0">
                  <a:pos x="728" y="60"/>
                </a:cxn>
                <a:cxn ang="0">
                  <a:pos x="742" y="98"/>
                </a:cxn>
                <a:cxn ang="0">
                  <a:pos x="746" y="128"/>
                </a:cxn>
                <a:cxn ang="0">
                  <a:pos x="756" y="170"/>
                </a:cxn>
                <a:cxn ang="0">
                  <a:pos x="766" y="212"/>
                </a:cxn>
                <a:cxn ang="0">
                  <a:pos x="736" y="234"/>
                </a:cxn>
                <a:cxn ang="0">
                  <a:pos x="706" y="248"/>
                </a:cxn>
                <a:cxn ang="0">
                  <a:pos x="714" y="282"/>
                </a:cxn>
                <a:cxn ang="0">
                  <a:pos x="706" y="306"/>
                </a:cxn>
                <a:cxn ang="0">
                  <a:pos x="690" y="388"/>
                </a:cxn>
              </a:cxnLst>
              <a:rect l="0" t="0" r="r" b="b"/>
              <a:pathLst>
                <a:path w="776" h="418">
                  <a:moveTo>
                    <a:pt x="690" y="388"/>
                  </a:moveTo>
                  <a:lnTo>
                    <a:pt x="690" y="388"/>
                  </a:lnTo>
                  <a:lnTo>
                    <a:pt x="670" y="394"/>
                  </a:lnTo>
                  <a:lnTo>
                    <a:pt x="654" y="396"/>
                  </a:lnTo>
                  <a:lnTo>
                    <a:pt x="638" y="398"/>
                  </a:lnTo>
                  <a:lnTo>
                    <a:pt x="638" y="398"/>
                  </a:lnTo>
                  <a:lnTo>
                    <a:pt x="620" y="400"/>
                  </a:lnTo>
                  <a:lnTo>
                    <a:pt x="596" y="404"/>
                  </a:lnTo>
                  <a:lnTo>
                    <a:pt x="572" y="410"/>
                  </a:lnTo>
                  <a:lnTo>
                    <a:pt x="552" y="412"/>
                  </a:lnTo>
                  <a:lnTo>
                    <a:pt x="552" y="412"/>
                  </a:lnTo>
                  <a:lnTo>
                    <a:pt x="516" y="414"/>
                  </a:lnTo>
                  <a:lnTo>
                    <a:pt x="464" y="418"/>
                  </a:lnTo>
                  <a:lnTo>
                    <a:pt x="464" y="418"/>
                  </a:lnTo>
                  <a:lnTo>
                    <a:pt x="440" y="418"/>
                  </a:lnTo>
                  <a:lnTo>
                    <a:pt x="424" y="414"/>
                  </a:lnTo>
                  <a:lnTo>
                    <a:pt x="410" y="408"/>
                  </a:lnTo>
                  <a:lnTo>
                    <a:pt x="390" y="398"/>
                  </a:lnTo>
                  <a:lnTo>
                    <a:pt x="390" y="398"/>
                  </a:lnTo>
                  <a:lnTo>
                    <a:pt x="356" y="380"/>
                  </a:lnTo>
                  <a:lnTo>
                    <a:pt x="342" y="376"/>
                  </a:lnTo>
                  <a:lnTo>
                    <a:pt x="324" y="372"/>
                  </a:lnTo>
                  <a:lnTo>
                    <a:pt x="324" y="372"/>
                  </a:lnTo>
                  <a:lnTo>
                    <a:pt x="310" y="372"/>
                  </a:lnTo>
                  <a:lnTo>
                    <a:pt x="300" y="372"/>
                  </a:lnTo>
                  <a:lnTo>
                    <a:pt x="296" y="372"/>
                  </a:lnTo>
                  <a:lnTo>
                    <a:pt x="290" y="370"/>
                  </a:lnTo>
                  <a:lnTo>
                    <a:pt x="286" y="364"/>
                  </a:lnTo>
                  <a:lnTo>
                    <a:pt x="282" y="358"/>
                  </a:lnTo>
                  <a:lnTo>
                    <a:pt x="282" y="358"/>
                  </a:lnTo>
                  <a:lnTo>
                    <a:pt x="274" y="340"/>
                  </a:lnTo>
                  <a:lnTo>
                    <a:pt x="270" y="326"/>
                  </a:lnTo>
                  <a:lnTo>
                    <a:pt x="264" y="316"/>
                  </a:lnTo>
                  <a:lnTo>
                    <a:pt x="260" y="312"/>
                  </a:lnTo>
                  <a:lnTo>
                    <a:pt x="256" y="308"/>
                  </a:lnTo>
                  <a:lnTo>
                    <a:pt x="256" y="308"/>
                  </a:lnTo>
                  <a:lnTo>
                    <a:pt x="248" y="306"/>
                  </a:lnTo>
                  <a:lnTo>
                    <a:pt x="238" y="304"/>
                  </a:lnTo>
                  <a:lnTo>
                    <a:pt x="214" y="304"/>
                  </a:lnTo>
                  <a:lnTo>
                    <a:pt x="186" y="310"/>
                  </a:lnTo>
                  <a:lnTo>
                    <a:pt x="174" y="314"/>
                  </a:lnTo>
                  <a:lnTo>
                    <a:pt x="162" y="320"/>
                  </a:lnTo>
                  <a:lnTo>
                    <a:pt x="162" y="320"/>
                  </a:lnTo>
                  <a:lnTo>
                    <a:pt x="142" y="330"/>
                  </a:lnTo>
                  <a:lnTo>
                    <a:pt x="128" y="336"/>
                  </a:lnTo>
                  <a:lnTo>
                    <a:pt x="118" y="340"/>
                  </a:lnTo>
                  <a:lnTo>
                    <a:pt x="108" y="340"/>
                  </a:lnTo>
                  <a:lnTo>
                    <a:pt x="108" y="340"/>
                  </a:lnTo>
                  <a:lnTo>
                    <a:pt x="96" y="338"/>
                  </a:lnTo>
                  <a:lnTo>
                    <a:pt x="84" y="334"/>
                  </a:lnTo>
                  <a:lnTo>
                    <a:pt x="72" y="330"/>
                  </a:lnTo>
                  <a:lnTo>
                    <a:pt x="72" y="330"/>
                  </a:lnTo>
                  <a:lnTo>
                    <a:pt x="66" y="326"/>
                  </a:lnTo>
                  <a:lnTo>
                    <a:pt x="58" y="320"/>
                  </a:lnTo>
                  <a:lnTo>
                    <a:pt x="52" y="314"/>
                  </a:lnTo>
                  <a:lnTo>
                    <a:pt x="52" y="314"/>
                  </a:lnTo>
                  <a:lnTo>
                    <a:pt x="38" y="300"/>
                  </a:lnTo>
                  <a:lnTo>
                    <a:pt x="24" y="288"/>
                  </a:lnTo>
                  <a:lnTo>
                    <a:pt x="24" y="288"/>
                  </a:lnTo>
                  <a:lnTo>
                    <a:pt x="16" y="280"/>
                  </a:lnTo>
                  <a:lnTo>
                    <a:pt x="10" y="276"/>
                  </a:lnTo>
                  <a:lnTo>
                    <a:pt x="10" y="276"/>
                  </a:lnTo>
                  <a:lnTo>
                    <a:pt x="6" y="254"/>
                  </a:lnTo>
                  <a:lnTo>
                    <a:pt x="4" y="238"/>
                  </a:lnTo>
                  <a:lnTo>
                    <a:pt x="0" y="230"/>
                  </a:lnTo>
                  <a:lnTo>
                    <a:pt x="0" y="230"/>
                  </a:lnTo>
                  <a:lnTo>
                    <a:pt x="0" y="226"/>
                  </a:lnTo>
                  <a:lnTo>
                    <a:pt x="0" y="220"/>
                  </a:lnTo>
                  <a:lnTo>
                    <a:pt x="4" y="204"/>
                  </a:lnTo>
                  <a:lnTo>
                    <a:pt x="12" y="182"/>
                  </a:lnTo>
                  <a:lnTo>
                    <a:pt x="12" y="182"/>
                  </a:lnTo>
                  <a:lnTo>
                    <a:pt x="64" y="208"/>
                  </a:lnTo>
                  <a:lnTo>
                    <a:pt x="64" y="208"/>
                  </a:lnTo>
                  <a:lnTo>
                    <a:pt x="74" y="212"/>
                  </a:lnTo>
                  <a:lnTo>
                    <a:pt x="92" y="212"/>
                  </a:lnTo>
                  <a:lnTo>
                    <a:pt x="108" y="212"/>
                  </a:lnTo>
                  <a:lnTo>
                    <a:pt x="118" y="214"/>
                  </a:lnTo>
                  <a:lnTo>
                    <a:pt x="118" y="214"/>
                  </a:lnTo>
                  <a:lnTo>
                    <a:pt x="132" y="218"/>
                  </a:lnTo>
                  <a:lnTo>
                    <a:pt x="154" y="222"/>
                  </a:lnTo>
                  <a:lnTo>
                    <a:pt x="176" y="226"/>
                  </a:lnTo>
                  <a:lnTo>
                    <a:pt x="184" y="226"/>
                  </a:lnTo>
                  <a:lnTo>
                    <a:pt x="190" y="224"/>
                  </a:lnTo>
                  <a:lnTo>
                    <a:pt x="190" y="224"/>
                  </a:lnTo>
                  <a:lnTo>
                    <a:pt x="192" y="222"/>
                  </a:lnTo>
                  <a:lnTo>
                    <a:pt x="194" y="218"/>
                  </a:lnTo>
                  <a:lnTo>
                    <a:pt x="198" y="210"/>
                  </a:lnTo>
                  <a:lnTo>
                    <a:pt x="200" y="204"/>
                  </a:lnTo>
                  <a:lnTo>
                    <a:pt x="202" y="202"/>
                  </a:lnTo>
                  <a:lnTo>
                    <a:pt x="206" y="200"/>
                  </a:lnTo>
                  <a:lnTo>
                    <a:pt x="206" y="200"/>
                  </a:lnTo>
                  <a:lnTo>
                    <a:pt x="230" y="196"/>
                  </a:lnTo>
                  <a:lnTo>
                    <a:pt x="246" y="194"/>
                  </a:lnTo>
                  <a:lnTo>
                    <a:pt x="252" y="196"/>
                  </a:lnTo>
                  <a:lnTo>
                    <a:pt x="258" y="198"/>
                  </a:lnTo>
                  <a:lnTo>
                    <a:pt x="258" y="198"/>
                  </a:lnTo>
                  <a:lnTo>
                    <a:pt x="268" y="206"/>
                  </a:lnTo>
                  <a:lnTo>
                    <a:pt x="282" y="216"/>
                  </a:lnTo>
                  <a:lnTo>
                    <a:pt x="296" y="224"/>
                  </a:lnTo>
                  <a:lnTo>
                    <a:pt x="302" y="226"/>
                  </a:lnTo>
                  <a:lnTo>
                    <a:pt x="308" y="228"/>
                  </a:lnTo>
                  <a:lnTo>
                    <a:pt x="308" y="228"/>
                  </a:lnTo>
                  <a:lnTo>
                    <a:pt x="320" y="226"/>
                  </a:lnTo>
                  <a:lnTo>
                    <a:pt x="334" y="222"/>
                  </a:lnTo>
                  <a:lnTo>
                    <a:pt x="350" y="216"/>
                  </a:lnTo>
                  <a:lnTo>
                    <a:pt x="350" y="216"/>
                  </a:lnTo>
                  <a:lnTo>
                    <a:pt x="350" y="200"/>
                  </a:lnTo>
                  <a:lnTo>
                    <a:pt x="350" y="188"/>
                  </a:lnTo>
                  <a:lnTo>
                    <a:pt x="348" y="176"/>
                  </a:lnTo>
                  <a:lnTo>
                    <a:pt x="348" y="176"/>
                  </a:lnTo>
                  <a:lnTo>
                    <a:pt x="344" y="164"/>
                  </a:lnTo>
                  <a:lnTo>
                    <a:pt x="338" y="150"/>
                  </a:lnTo>
                  <a:lnTo>
                    <a:pt x="336" y="144"/>
                  </a:lnTo>
                  <a:lnTo>
                    <a:pt x="336" y="138"/>
                  </a:lnTo>
                  <a:lnTo>
                    <a:pt x="338" y="132"/>
                  </a:lnTo>
                  <a:lnTo>
                    <a:pt x="342" y="126"/>
                  </a:lnTo>
                  <a:lnTo>
                    <a:pt x="342" y="126"/>
                  </a:lnTo>
                  <a:lnTo>
                    <a:pt x="348" y="120"/>
                  </a:lnTo>
                  <a:lnTo>
                    <a:pt x="356" y="114"/>
                  </a:lnTo>
                  <a:lnTo>
                    <a:pt x="376" y="102"/>
                  </a:lnTo>
                  <a:lnTo>
                    <a:pt x="396" y="92"/>
                  </a:lnTo>
                  <a:lnTo>
                    <a:pt x="410" y="84"/>
                  </a:lnTo>
                  <a:lnTo>
                    <a:pt x="410" y="84"/>
                  </a:lnTo>
                  <a:lnTo>
                    <a:pt x="430" y="62"/>
                  </a:lnTo>
                  <a:lnTo>
                    <a:pt x="442" y="46"/>
                  </a:lnTo>
                  <a:lnTo>
                    <a:pt x="442" y="46"/>
                  </a:lnTo>
                  <a:lnTo>
                    <a:pt x="446" y="56"/>
                  </a:lnTo>
                  <a:lnTo>
                    <a:pt x="452" y="64"/>
                  </a:lnTo>
                  <a:lnTo>
                    <a:pt x="456" y="66"/>
                  </a:lnTo>
                  <a:lnTo>
                    <a:pt x="460" y="68"/>
                  </a:lnTo>
                  <a:lnTo>
                    <a:pt x="460" y="68"/>
                  </a:lnTo>
                  <a:lnTo>
                    <a:pt x="474" y="68"/>
                  </a:lnTo>
                  <a:lnTo>
                    <a:pt x="494" y="64"/>
                  </a:lnTo>
                  <a:lnTo>
                    <a:pt x="514" y="56"/>
                  </a:lnTo>
                  <a:lnTo>
                    <a:pt x="522" y="52"/>
                  </a:lnTo>
                  <a:lnTo>
                    <a:pt x="528" y="46"/>
                  </a:lnTo>
                  <a:lnTo>
                    <a:pt x="528" y="46"/>
                  </a:lnTo>
                  <a:lnTo>
                    <a:pt x="548" y="20"/>
                  </a:lnTo>
                  <a:lnTo>
                    <a:pt x="558" y="8"/>
                  </a:lnTo>
                  <a:lnTo>
                    <a:pt x="564" y="4"/>
                  </a:lnTo>
                  <a:lnTo>
                    <a:pt x="570" y="0"/>
                  </a:lnTo>
                  <a:lnTo>
                    <a:pt x="570" y="0"/>
                  </a:lnTo>
                  <a:lnTo>
                    <a:pt x="574" y="0"/>
                  </a:lnTo>
                  <a:lnTo>
                    <a:pt x="580" y="0"/>
                  </a:lnTo>
                  <a:lnTo>
                    <a:pt x="590" y="4"/>
                  </a:lnTo>
                  <a:lnTo>
                    <a:pt x="612" y="18"/>
                  </a:lnTo>
                  <a:lnTo>
                    <a:pt x="612" y="18"/>
                  </a:lnTo>
                  <a:lnTo>
                    <a:pt x="638" y="34"/>
                  </a:lnTo>
                  <a:lnTo>
                    <a:pt x="664" y="52"/>
                  </a:lnTo>
                  <a:lnTo>
                    <a:pt x="664" y="52"/>
                  </a:lnTo>
                  <a:lnTo>
                    <a:pt x="674" y="58"/>
                  </a:lnTo>
                  <a:lnTo>
                    <a:pt x="684" y="64"/>
                  </a:lnTo>
                  <a:lnTo>
                    <a:pt x="694" y="68"/>
                  </a:lnTo>
                  <a:lnTo>
                    <a:pt x="702" y="66"/>
                  </a:lnTo>
                  <a:lnTo>
                    <a:pt x="702" y="66"/>
                  </a:lnTo>
                  <a:lnTo>
                    <a:pt x="728" y="60"/>
                  </a:lnTo>
                  <a:lnTo>
                    <a:pt x="748" y="54"/>
                  </a:lnTo>
                  <a:lnTo>
                    <a:pt x="748" y="54"/>
                  </a:lnTo>
                  <a:lnTo>
                    <a:pt x="744" y="78"/>
                  </a:lnTo>
                  <a:lnTo>
                    <a:pt x="742" y="98"/>
                  </a:lnTo>
                  <a:lnTo>
                    <a:pt x="742" y="106"/>
                  </a:lnTo>
                  <a:lnTo>
                    <a:pt x="744" y="112"/>
                  </a:lnTo>
                  <a:lnTo>
                    <a:pt x="744" y="112"/>
                  </a:lnTo>
                  <a:lnTo>
                    <a:pt x="746" y="128"/>
                  </a:lnTo>
                  <a:lnTo>
                    <a:pt x="748" y="146"/>
                  </a:lnTo>
                  <a:lnTo>
                    <a:pt x="750" y="162"/>
                  </a:lnTo>
                  <a:lnTo>
                    <a:pt x="752" y="168"/>
                  </a:lnTo>
                  <a:lnTo>
                    <a:pt x="756" y="170"/>
                  </a:lnTo>
                  <a:lnTo>
                    <a:pt x="756" y="170"/>
                  </a:lnTo>
                  <a:lnTo>
                    <a:pt x="768" y="180"/>
                  </a:lnTo>
                  <a:lnTo>
                    <a:pt x="776" y="186"/>
                  </a:lnTo>
                  <a:lnTo>
                    <a:pt x="766" y="212"/>
                  </a:lnTo>
                  <a:lnTo>
                    <a:pt x="766" y="212"/>
                  </a:lnTo>
                  <a:lnTo>
                    <a:pt x="758" y="218"/>
                  </a:lnTo>
                  <a:lnTo>
                    <a:pt x="750" y="226"/>
                  </a:lnTo>
                  <a:lnTo>
                    <a:pt x="736" y="234"/>
                  </a:lnTo>
                  <a:lnTo>
                    <a:pt x="736" y="234"/>
                  </a:lnTo>
                  <a:lnTo>
                    <a:pt x="712" y="244"/>
                  </a:lnTo>
                  <a:lnTo>
                    <a:pt x="708" y="246"/>
                  </a:lnTo>
                  <a:lnTo>
                    <a:pt x="706" y="248"/>
                  </a:lnTo>
                  <a:lnTo>
                    <a:pt x="708" y="252"/>
                  </a:lnTo>
                  <a:lnTo>
                    <a:pt x="708" y="252"/>
                  </a:lnTo>
                  <a:lnTo>
                    <a:pt x="714" y="270"/>
                  </a:lnTo>
                  <a:lnTo>
                    <a:pt x="714" y="282"/>
                  </a:lnTo>
                  <a:lnTo>
                    <a:pt x="714" y="286"/>
                  </a:lnTo>
                  <a:lnTo>
                    <a:pt x="712" y="292"/>
                  </a:lnTo>
                  <a:lnTo>
                    <a:pt x="712" y="292"/>
                  </a:lnTo>
                  <a:lnTo>
                    <a:pt x="706" y="306"/>
                  </a:lnTo>
                  <a:lnTo>
                    <a:pt x="702" y="322"/>
                  </a:lnTo>
                  <a:lnTo>
                    <a:pt x="696" y="350"/>
                  </a:lnTo>
                  <a:lnTo>
                    <a:pt x="696" y="350"/>
                  </a:lnTo>
                  <a:lnTo>
                    <a:pt x="690" y="388"/>
                  </a:lnTo>
                  <a:lnTo>
                    <a:pt x="690" y="388"/>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92" name="Freeform 58"/>
            <p:cNvSpPr>
              <a:spLocks/>
            </p:cNvSpPr>
            <p:nvPr/>
          </p:nvSpPr>
          <p:spPr bwMode="auto">
            <a:xfrm>
              <a:off x="3636453" y="4837546"/>
              <a:ext cx="1009062" cy="1149295"/>
            </a:xfrm>
            <a:custGeom>
              <a:avLst/>
              <a:gdLst/>
              <a:ahLst/>
              <a:cxnLst>
                <a:cxn ang="0">
                  <a:pos x="1088" y="1196"/>
                </a:cxn>
                <a:cxn ang="0">
                  <a:pos x="1150" y="1246"/>
                </a:cxn>
                <a:cxn ang="0">
                  <a:pos x="1178" y="1292"/>
                </a:cxn>
                <a:cxn ang="0">
                  <a:pos x="1118" y="1384"/>
                </a:cxn>
                <a:cxn ang="0">
                  <a:pos x="1092" y="1444"/>
                </a:cxn>
                <a:cxn ang="0">
                  <a:pos x="1076" y="1496"/>
                </a:cxn>
                <a:cxn ang="0">
                  <a:pos x="1032" y="1492"/>
                </a:cxn>
                <a:cxn ang="0">
                  <a:pos x="1018" y="1442"/>
                </a:cxn>
                <a:cxn ang="0">
                  <a:pos x="1054" y="1366"/>
                </a:cxn>
                <a:cxn ang="0">
                  <a:pos x="1026" y="1212"/>
                </a:cxn>
                <a:cxn ang="0">
                  <a:pos x="942" y="1132"/>
                </a:cxn>
                <a:cxn ang="0">
                  <a:pos x="906" y="1110"/>
                </a:cxn>
                <a:cxn ang="0">
                  <a:pos x="870" y="1056"/>
                </a:cxn>
                <a:cxn ang="0">
                  <a:pos x="792" y="1018"/>
                </a:cxn>
                <a:cxn ang="0">
                  <a:pos x="734" y="944"/>
                </a:cxn>
                <a:cxn ang="0">
                  <a:pos x="648" y="914"/>
                </a:cxn>
                <a:cxn ang="0">
                  <a:pos x="522" y="790"/>
                </a:cxn>
                <a:cxn ang="0">
                  <a:pos x="450" y="692"/>
                </a:cxn>
                <a:cxn ang="0">
                  <a:pos x="376" y="620"/>
                </a:cxn>
                <a:cxn ang="0">
                  <a:pos x="354" y="498"/>
                </a:cxn>
                <a:cxn ang="0">
                  <a:pos x="260" y="406"/>
                </a:cxn>
                <a:cxn ang="0">
                  <a:pos x="174" y="382"/>
                </a:cxn>
                <a:cxn ang="0">
                  <a:pos x="108" y="444"/>
                </a:cxn>
                <a:cxn ang="0">
                  <a:pos x="58" y="448"/>
                </a:cxn>
                <a:cxn ang="0">
                  <a:pos x="12" y="382"/>
                </a:cxn>
                <a:cxn ang="0">
                  <a:pos x="0" y="292"/>
                </a:cxn>
                <a:cxn ang="0">
                  <a:pos x="2" y="228"/>
                </a:cxn>
                <a:cxn ang="0">
                  <a:pos x="18" y="178"/>
                </a:cxn>
                <a:cxn ang="0">
                  <a:pos x="86" y="116"/>
                </a:cxn>
                <a:cxn ang="0">
                  <a:pos x="182" y="78"/>
                </a:cxn>
                <a:cxn ang="0">
                  <a:pos x="238" y="104"/>
                </a:cxn>
                <a:cxn ang="0">
                  <a:pos x="284" y="74"/>
                </a:cxn>
                <a:cxn ang="0">
                  <a:pos x="350" y="64"/>
                </a:cxn>
                <a:cxn ang="0">
                  <a:pos x="368" y="34"/>
                </a:cxn>
                <a:cxn ang="0">
                  <a:pos x="440" y="20"/>
                </a:cxn>
                <a:cxn ang="0">
                  <a:pos x="544" y="4"/>
                </a:cxn>
                <a:cxn ang="0">
                  <a:pos x="578" y="64"/>
                </a:cxn>
                <a:cxn ang="0">
                  <a:pos x="656" y="80"/>
                </a:cxn>
                <a:cxn ang="0">
                  <a:pos x="692" y="116"/>
                </a:cxn>
                <a:cxn ang="0">
                  <a:pos x="690" y="192"/>
                </a:cxn>
                <a:cxn ang="0">
                  <a:pos x="644" y="234"/>
                </a:cxn>
                <a:cxn ang="0">
                  <a:pos x="542" y="292"/>
                </a:cxn>
                <a:cxn ang="0">
                  <a:pos x="546" y="334"/>
                </a:cxn>
                <a:cxn ang="0">
                  <a:pos x="566" y="414"/>
                </a:cxn>
                <a:cxn ang="0">
                  <a:pos x="588" y="488"/>
                </a:cxn>
                <a:cxn ang="0">
                  <a:pos x="712" y="578"/>
                </a:cxn>
                <a:cxn ang="0">
                  <a:pos x="748" y="662"/>
                </a:cxn>
                <a:cxn ang="0">
                  <a:pos x="794" y="772"/>
                </a:cxn>
                <a:cxn ang="0">
                  <a:pos x="916" y="856"/>
                </a:cxn>
                <a:cxn ang="0">
                  <a:pos x="1006" y="856"/>
                </a:cxn>
                <a:cxn ang="0">
                  <a:pos x="1016" y="884"/>
                </a:cxn>
                <a:cxn ang="0">
                  <a:pos x="984" y="916"/>
                </a:cxn>
                <a:cxn ang="0">
                  <a:pos x="1090" y="966"/>
                </a:cxn>
                <a:cxn ang="0">
                  <a:pos x="1296" y="1096"/>
                </a:cxn>
                <a:cxn ang="0">
                  <a:pos x="1324" y="1162"/>
                </a:cxn>
                <a:cxn ang="0">
                  <a:pos x="1292" y="1174"/>
                </a:cxn>
                <a:cxn ang="0">
                  <a:pos x="1200" y="1100"/>
                </a:cxn>
                <a:cxn ang="0">
                  <a:pos x="1146" y="1088"/>
                </a:cxn>
                <a:cxn ang="0">
                  <a:pos x="1098" y="1164"/>
                </a:cxn>
              </a:cxnLst>
              <a:rect l="0" t="0" r="r" b="b"/>
              <a:pathLst>
                <a:path w="1324" h="1508">
                  <a:moveTo>
                    <a:pt x="1098" y="1164"/>
                  </a:moveTo>
                  <a:lnTo>
                    <a:pt x="1098" y="1164"/>
                  </a:lnTo>
                  <a:lnTo>
                    <a:pt x="1094" y="1168"/>
                  </a:lnTo>
                  <a:lnTo>
                    <a:pt x="1088" y="1178"/>
                  </a:lnTo>
                  <a:lnTo>
                    <a:pt x="1086" y="1184"/>
                  </a:lnTo>
                  <a:lnTo>
                    <a:pt x="1086" y="1190"/>
                  </a:lnTo>
                  <a:lnTo>
                    <a:pt x="1088" y="1196"/>
                  </a:lnTo>
                  <a:lnTo>
                    <a:pt x="1094" y="1202"/>
                  </a:lnTo>
                  <a:lnTo>
                    <a:pt x="1094" y="1202"/>
                  </a:lnTo>
                  <a:lnTo>
                    <a:pt x="1108" y="1212"/>
                  </a:lnTo>
                  <a:lnTo>
                    <a:pt x="1122" y="1224"/>
                  </a:lnTo>
                  <a:lnTo>
                    <a:pt x="1134" y="1236"/>
                  </a:lnTo>
                  <a:lnTo>
                    <a:pt x="1150" y="1246"/>
                  </a:lnTo>
                  <a:lnTo>
                    <a:pt x="1150" y="1246"/>
                  </a:lnTo>
                  <a:lnTo>
                    <a:pt x="1166" y="1258"/>
                  </a:lnTo>
                  <a:lnTo>
                    <a:pt x="1176" y="1270"/>
                  </a:lnTo>
                  <a:lnTo>
                    <a:pt x="1178" y="1276"/>
                  </a:lnTo>
                  <a:lnTo>
                    <a:pt x="1180" y="1282"/>
                  </a:lnTo>
                  <a:lnTo>
                    <a:pt x="1180" y="1286"/>
                  </a:lnTo>
                  <a:lnTo>
                    <a:pt x="1178" y="1292"/>
                  </a:lnTo>
                  <a:lnTo>
                    <a:pt x="1178" y="1292"/>
                  </a:lnTo>
                  <a:lnTo>
                    <a:pt x="1170" y="1302"/>
                  </a:lnTo>
                  <a:lnTo>
                    <a:pt x="1160" y="1316"/>
                  </a:lnTo>
                  <a:lnTo>
                    <a:pt x="1130" y="1352"/>
                  </a:lnTo>
                  <a:lnTo>
                    <a:pt x="1130" y="1352"/>
                  </a:lnTo>
                  <a:lnTo>
                    <a:pt x="1124" y="1362"/>
                  </a:lnTo>
                  <a:lnTo>
                    <a:pt x="1120" y="1372"/>
                  </a:lnTo>
                  <a:lnTo>
                    <a:pt x="1118" y="1384"/>
                  </a:lnTo>
                  <a:lnTo>
                    <a:pt x="1118" y="1394"/>
                  </a:lnTo>
                  <a:lnTo>
                    <a:pt x="1120" y="1410"/>
                  </a:lnTo>
                  <a:lnTo>
                    <a:pt x="1122" y="1416"/>
                  </a:lnTo>
                  <a:lnTo>
                    <a:pt x="1122" y="1416"/>
                  </a:lnTo>
                  <a:lnTo>
                    <a:pt x="1112" y="1422"/>
                  </a:lnTo>
                  <a:lnTo>
                    <a:pt x="1102" y="1432"/>
                  </a:lnTo>
                  <a:lnTo>
                    <a:pt x="1092" y="1444"/>
                  </a:lnTo>
                  <a:lnTo>
                    <a:pt x="1092" y="1444"/>
                  </a:lnTo>
                  <a:lnTo>
                    <a:pt x="1086" y="1458"/>
                  </a:lnTo>
                  <a:lnTo>
                    <a:pt x="1084" y="1470"/>
                  </a:lnTo>
                  <a:lnTo>
                    <a:pt x="1082" y="1480"/>
                  </a:lnTo>
                  <a:lnTo>
                    <a:pt x="1080" y="1492"/>
                  </a:lnTo>
                  <a:lnTo>
                    <a:pt x="1080" y="1492"/>
                  </a:lnTo>
                  <a:lnTo>
                    <a:pt x="1076" y="1496"/>
                  </a:lnTo>
                  <a:lnTo>
                    <a:pt x="1070" y="1502"/>
                  </a:lnTo>
                  <a:lnTo>
                    <a:pt x="1062" y="1506"/>
                  </a:lnTo>
                  <a:lnTo>
                    <a:pt x="1052" y="1508"/>
                  </a:lnTo>
                  <a:lnTo>
                    <a:pt x="1044" y="1508"/>
                  </a:lnTo>
                  <a:lnTo>
                    <a:pt x="1038" y="1506"/>
                  </a:lnTo>
                  <a:lnTo>
                    <a:pt x="1032" y="1500"/>
                  </a:lnTo>
                  <a:lnTo>
                    <a:pt x="1032" y="1492"/>
                  </a:lnTo>
                  <a:lnTo>
                    <a:pt x="1032" y="1492"/>
                  </a:lnTo>
                  <a:lnTo>
                    <a:pt x="1032" y="1484"/>
                  </a:lnTo>
                  <a:lnTo>
                    <a:pt x="1028" y="1476"/>
                  </a:lnTo>
                  <a:lnTo>
                    <a:pt x="1020" y="1464"/>
                  </a:lnTo>
                  <a:lnTo>
                    <a:pt x="1016" y="1458"/>
                  </a:lnTo>
                  <a:lnTo>
                    <a:pt x="1016" y="1450"/>
                  </a:lnTo>
                  <a:lnTo>
                    <a:pt x="1018" y="1442"/>
                  </a:lnTo>
                  <a:lnTo>
                    <a:pt x="1026" y="1430"/>
                  </a:lnTo>
                  <a:lnTo>
                    <a:pt x="1026" y="1430"/>
                  </a:lnTo>
                  <a:lnTo>
                    <a:pt x="1040" y="1412"/>
                  </a:lnTo>
                  <a:lnTo>
                    <a:pt x="1046" y="1400"/>
                  </a:lnTo>
                  <a:lnTo>
                    <a:pt x="1048" y="1386"/>
                  </a:lnTo>
                  <a:lnTo>
                    <a:pt x="1054" y="1366"/>
                  </a:lnTo>
                  <a:lnTo>
                    <a:pt x="1054" y="1366"/>
                  </a:lnTo>
                  <a:lnTo>
                    <a:pt x="1060" y="1344"/>
                  </a:lnTo>
                  <a:lnTo>
                    <a:pt x="1060" y="1332"/>
                  </a:lnTo>
                  <a:lnTo>
                    <a:pt x="1060" y="1322"/>
                  </a:lnTo>
                  <a:lnTo>
                    <a:pt x="1058" y="1298"/>
                  </a:lnTo>
                  <a:lnTo>
                    <a:pt x="1048" y="1270"/>
                  </a:lnTo>
                  <a:lnTo>
                    <a:pt x="1048" y="1270"/>
                  </a:lnTo>
                  <a:lnTo>
                    <a:pt x="1026" y="1212"/>
                  </a:lnTo>
                  <a:lnTo>
                    <a:pt x="1016" y="1188"/>
                  </a:lnTo>
                  <a:lnTo>
                    <a:pt x="1010" y="1180"/>
                  </a:lnTo>
                  <a:lnTo>
                    <a:pt x="1004" y="1174"/>
                  </a:lnTo>
                  <a:lnTo>
                    <a:pt x="1004" y="1174"/>
                  </a:lnTo>
                  <a:lnTo>
                    <a:pt x="976" y="1154"/>
                  </a:lnTo>
                  <a:lnTo>
                    <a:pt x="942" y="1132"/>
                  </a:lnTo>
                  <a:lnTo>
                    <a:pt x="942" y="1132"/>
                  </a:lnTo>
                  <a:lnTo>
                    <a:pt x="934" y="1128"/>
                  </a:lnTo>
                  <a:lnTo>
                    <a:pt x="928" y="1128"/>
                  </a:lnTo>
                  <a:lnTo>
                    <a:pt x="918" y="1128"/>
                  </a:lnTo>
                  <a:lnTo>
                    <a:pt x="914" y="1126"/>
                  </a:lnTo>
                  <a:lnTo>
                    <a:pt x="912" y="1124"/>
                  </a:lnTo>
                  <a:lnTo>
                    <a:pt x="908" y="1118"/>
                  </a:lnTo>
                  <a:lnTo>
                    <a:pt x="906" y="1110"/>
                  </a:lnTo>
                  <a:lnTo>
                    <a:pt x="906" y="1110"/>
                  </a:lnTo>
                  <a:lnTo>
                    <a:pt x="904" y="1100"/>
                  </a:lnTo>
                  <a:lnTo>
                    <a:pt x="902" y="1092"/>
                  </a:lnTo>
                  <a:lnTo>
                    <a:pt x="902" y="1082"/>
                  </a:lnTo>
                  <a:lnTo>
                    <a:pt x="900" y="1078"/>
                  </a:lnTo>
                  <a:lnTo>
                    <a:pt x="894" y="1072"/>
                  </a:lnTo>
                  <a:lnTo>
                    <a:pt x="870" y="1056"/>
                  </a:lnTo>
                  <a:lnTo>
                    <a:pt x="870" y="1056"/>
                  </a:lnTo>
                  <a:lnTo>
                    <a:pt x="854" y="1048"/>
                  </a:lnTo>
                  <a:lnTo>
                    <a:pt x="840" y="1044"/>
                  </a:lnTo>
                  <a:lnTo>
                    <a:pt x="818" y="1040"/>
                  </a:lnTo>
                  <a:lnTo>
                    <a:pt x="808" y="1038"/>
                  </a:lnTo>
                  <a:lnTo>
                    <a:pt x="800" y="1030"/>
                  </a:lnTo>
                  <a:lnTo>
                    <a:pt x="792" y="1018"/>
                  </a:lnTo>
                  <a:lnTo>
                    <a:pt x="782" y="1000"/>
                  </a:lnTo>
                  <a:lnTo>
                    <a:pt x="782" y="1000"/>
                  </a:lnTo>
                  <a:lnTo>
                    <a:pt x="766" y="966"/>
                  </a:lnTo>
                  <a:lnTo>
                    <a:pt x="760" y="956"/>
                  </a:lnTo>
                  <a:lnTo>
                    <a:pt x="754" y="950"/>
                  </a:lnTo>
                  <a:lnTo>
                    <a:pt x="746" y="946"/>
                  </a:lnTo>
                  <a:lnTo>
                    <a:pt x="734" y="944"/>
                  </a:lnTo>
                  <a:lnTo>
                    <a:pt x="704" y="940"/>
                  </a:lnTo>
                  <a:lnTo>
                    <a:pt x="704" y="940"/>
                  </a:lnTo>
                  <a:lnTo>
                    <a:pt x="674" y="934"/>
                  </a:lnTo>
                  <a:lnTo>
                    <a:pt x="666" y="932"/>
                  </a:lnTo>
                  <a:lnTo>
                    <a:pt x="660" y="928"/>
                  </a:lnTo>
                  <a:lnTo>
                    <a:pt x="654" y="922"/>
                  </a:lnTo>
                  <a:lnTo>
                    <a:pt x="648" y="914"/>
                  </a:lnTo>
                  <a:lnTo>
                    <a:pt x="624" y="884"/>
                  </a:lnTo>
                  <a:lnTo>
                    <a:pt x="624" y="884"/>
                  </a:lnTo>
                  <a:lnTo>
                    <a:pt x="606" y="864"/>
                  </a:lnTo>
                  <a:lnTo>
                    <a:pt x="592" y="848"/>
                  </a:lnTo>
                  <a:lnTo>
                    <a:pt x="564" y="824"/>
                  </a:lnTo>
                  <a:lnTo>
                    <a:pt x="540" y="806"/>
                  </a:lnTo>
                  <a:lnTo>
                    <a:pt x="522" y="790"/>
                  </a:lnTo>
                  <a:lnTo>
                    <a:pt x="522" y="790"/>
                  </a:lnTo>
                  <a:lnTo>
                    <a:pt x="512" y="782"/>
                  </a:lnTo>
                  <a:lnTo>
                    <a:pt x="504" y="770"/>
                  </a:lnTo>
                  <a:lnTo>
                    <a:pt x="488" y="744"/>
                  </a:lnTo>
                  <a:lnTo>
                    <a:pt x="470" y="718"/>
                  </a:lnTo>
                  <a:lnTo>
                    <a:pt x="460" y="704"/>
                  </a:lnTo>
                  <a:lnTo>
                    <a:pt x="450" y="692"/>
                  </a:lnTo>
                  <a:lnTo>
                    <a:pt x="450" y="692"/>
                  </a:lnTo>
                  <a:lnTo>
                    <a:pt x="426" y="670"/>
                  </a:lnTo>
                  <a:lnTo>
                    <a:pt x="402" y="650"/>
                  </a:lnTo>
                  <a:lnTo>
                    <a:pt x="384" y="632"/>
                  </a:lnTo>
                  <a:lnTo>
                    <a:pt x="378" y="626"/>
                  </a:lnTo>
                  <a:lnTo>
                    <a:pt x="376" y="620"/>
                  </a:lnTo>
                  <a:lnTo>
                    <a:pt x="376" y="620"/>
                  </a:lnTo>
                  <a:lnTo>
                    <a:pt x="370" y="586"/>
                  </a:lnTo>
                  <a:lnTo>
                    <a:pt x="362" y="546"/>
                  </a:lnTo>
                  <a:lnTo>
                    <a:pt x="362" y="546"/>
                  </a:lnTo>
                  <a:lnTo>
                    <a:pt x="362" y="532"/>
                  </a:lnTo>
                  <a:lnTo>
                    <a:pt x="362" y="516"/>
                  </a:lnTo>
                  <a:lnTo>
                    <a:pt x="360" y="508"/>
                  </a:lnTo>
                  <a:lnTo>
                    <a:pt x="354" y="498"/>
                  </a:lnTo>
                  <a:lnTo>
                    <a:pt x="348" y="486"/>
                  </a:lnTo>
                  <a:lnTo>
                    <a:pt x="336" y="472"/>
                  </a:lnTo>
                  <a:lnTo>
                    <a:pt x="336" y="472"/>
                  </a:lnTo>
                  <a:lnTo>
                    <a:pt x="320" y="456"/>
                  </a:lnTo>
                  <a:lnTo>
                    <a:pt x="300" y="438"/>
                  </a:lnTo>
                  <a:lnTo>
                    <a:pt x="280" y="422"/>
                  </a:lnTo>
                  <a:lnTo>
                    <a:pt x="260" y="406"/>
                  </a:lnTo>
                  <a:lnTo>
                    <a:pt x="238" y="392"/>
                  </a:lnTo>
                  <a:lnTo>
                    <a:pt x="218" y="382"/>
                  </a:lnTo>
                  <a:lnTo>
                    <a:pt x="202" y="378"/>
                  </a:lnTo>
                  <a:lnTo>
                    <a:pt x="194" y="376"/>
                  </a:lnTo>
                  <a:lnTo>
                    <a:pt x="186" y="378"/>
                  </a:lnTo>
                  <a:lnTo>
                    <a:pt x="186" y="378"/>
                  </a:lnTo>
                  <a:lnTo>
                    <a:pt x="174" y="382"/>
                  </a:lnTo>
                  <a:lnTo>
                    <a:pt x="162" y="388"/>
                  </a:lnTo>
                  <a:lnTo>
                    <a:pt x="150" y="396"/>
                  </a:lnTo>
                  <a:lnTo>
                    <a:pt x="140" y="404"/>
                  </a:lnTo>
                  <a:lnTo>
                    <a:pt x="122" y="422"/>
                  </a:lnTo>
                  <a:lnTo>
                    <a:pt x="114" y="434"/>
                  </a:lnTo>
                  <a:lnTo>
                    <a:pt x="114" y="434"/>
                  </a:lnTo>
                  <a:lnTo>
                    <a:pt x="108" y="444"/>
                  </a:lnTo>
                  <a:lnTo>
                    <a:pt x="106" y="452"/>
                  </a:lnTo>
                  <a:lnTo>
                    <a:pt x="100" y="458"/>
                  </a:lnTo>
                  <a:lnTo>
                    <a:pt x="94" y="462"/>
                  </a:lnTo>
                  <a:lnTo>
                    <a:pt x="84" y="462"/>
                  </a:lnTo>
                  <a:lnTo>
                    <a:pt x="74" y="458"/>
                  </a:lnTo>
                  <a:lnTo>
                    <a:pt x="58" y="448"/>
                  </a:lnTo>
                  <a:lnTo>
                    <a:pt x="58" y="448"/>
                  </a:lnTo>
                  <a:lnTo>
                    <a:pt x="50" y="430"/>
                  </a:lnTo>
                  <a:lnTo>
                    <a:pt x="44" y="414"/>
                  </a:lnTo>
                  <a:lnTo>
                    <a:pt x="38" y="406"/>
                  </a:lnTo>
                  <a:lnTo>
                    <a:pt x="38" y="406"/>
                  </a:lnTo>
                  <a:lnTo>
                    <a:pt x="22" y="394"/>
                  </a:lnTo>
                  <a:lnTo>
                    <a:pt x="14" y="388"/>
                  </a:lnTo>
                  <a:lnTo>
                    <a:pt x="12" y="382"/>
                  </a:lnTo>
                  <a:lnTo>
                    <a:pt x="12" y="382"/>
                  </a:lnTo>
                  <a:lnTo>
                    <a:pt x="8" y="376"/>
                  </a:lnTo>
                  <a:lnTo>
                    <a:pt x="4" y="364"/>
                  </a:lnTo>
                  <a:lnTo>
                    <a:pt x="2" y="352"/>
                  </a:lnTo>
                  <a:lnTo>
                    <a:pt x="0" y="338"/>
                  </a:lnTo>
                  <a:lnTo>
                    <a:pt x="0" y="318"/>
                  </a:lnTo>
                  <a:lnTo>
                    <a:pt x="0" y="292"/>
                  </a:lnTo>
                  <a:lnTo>
                    <a:pt x="0" y="292"/>
                  </a:lnTo>
                  <a:lnTo>
                    <a:pt x="2" y="266"/>
                  </a:lnTo>
                  <a:lnTo>
                    <a:pt x="2" y="252"/>
                  </a:lnTo>
                  <a:lnTo>
                    <a:pt x="2" y="244"/>
                  </a:lnTo>
                  <a:lnTo>
                    <a:pt x="2" y="244"/>
                  </a:lnTo>
                  <a:lnTo>
                    <a:pt x="0" y="236"/>
                  </a:lnTo>
                  <a:lnTo>
                    <a:pt x="2" y="228"/>
                  </a:lnTo>
                  <a:lnTo>
                    <a:pt x="6" y="218"/>
                  </a:lnTo>
                  <a:lnTo>
                    <a:pt x="10" y="214"/>
                  </a:lnTo>
                  <a:lnTo>
                    <a:pt x="14" y="210"/>
                  </a:lnTo>
                  <a:lnTo>
                    <a:pt x="14" y="210"/>
                  </a:lnTo>
                  <a:lnTo>
                    <a:pt x="18" y="200"/>
                  </a:lnTo>
                  <a:lnTo>
                    <a:pt x="18" y="190"/>
                  </a:lnTo>
                  <a:lnTo>
                    <a:pt x="18" y="178"/>
                  </a:lnTo>
                  <a:lnTo>
                    <a:pt x="18" y="178"/>
                  </a:lnTo>
                  <a:lnTo>
                    <a:pt x="18" y="162"/>
                  </a:lnTo>
                  <a:lnTo>
                    <a:pt x="18" y="142"/>
                  </a:lnTo>
                  <a:lnTo>
                    <a:pt x="22" y="116"/>
                  </a:lnTo>
                  <a:lnTo>
                    <a:pt x="70" y="124"/>
                  </a:lnTo>
                  <a:lnTo>
                    <a:pt x="70" y="124"/>
                  </a:lnTo>
                  <a:lnTo>
                    <a:pt x="86" y="116"/>
                  </a:lnTo>
                  <a:lnTo>
                    <a:pt x="114" y="104"/>
                  </a:lnTo>
                  <a:lnTo>
                    <a:pt x="114" y="104"/>
                  </a:lnTo>
                  <a:lnTo>
                    <a:pt x="144" y="82"/>
                  </a:lnTo>
                  <a:lnTo>
                    <a:pt x="162" y="70"/>
                  </a:lnTo>
                  <a:lnTo>
                    <a:pt x="172" y="66"/>
                  </a:lnTo>
                  <a:lnTo>
                    <a:pt x="172" y="66"/>
                  </a:lnTo>
                  <a:lnTo>
                    <a:pt x="182" y="78"/>
                  </a:lnTo>
                  <a:lnTo>
                    <a:pt x="202" y="92"/>
                  </a:lnTo>
                  <a:lnTo>
                    <a:pt x="202" y="92"/>
                  </a:lnTo>
                  <a:lnTo>
                    <a:pt x="210" y="98"/>
                  </a:lnTo>
                  <a:lnTo>
                    <a:pt x="222" y="104"/>
                  </a:lnTo>
                  <a:lnTo>
                    <a:pt x="226" y="106"/>
                  </a:lnTo>
                  <a:lnTo>
                    <a:pt x="232" y="106"/>
                  </a:lnTo>
                  <a:lnTo>
                    <a:pt x="238" y="104"/>
                  </a:lnTo>
                  <a:lnTo>
                    <a:pt x="244" y="100"/>
                  </a:lnTo>
                  <a:lnTo>
                    <a:pt x="244" y="100"/>
                  </a:lnTo>
                  <a:lnTo>
                    <a:pt x="254" y="90"/>
                  </a:lnTo>
                  <a:lnTo>
                    <a:pt x="264" y="82"/>
                  </a:lnTo>
                  <a:lnTo>
                    <a:pt x="270" y="78"/>
                  </a:lnTo>
                  <a:lnTo>
                    <a:pt x="276" y="76"/>
                  </a:lnTo>
                  <a:lnTo>
                    <a:pt x="284" y="74"/>
                  </a:lnTo>
                  <a:lnTo>
                    <a:pt x="294" y="74"/>
                  </a:lnTo>
                  <a:lnTo>
                    <a:pt x="294" y="74"/>
                  </a:lnTo>
                  <a:lnTo>
                    <a:pt x="314" y="76"/>
                  </a:lnTo>
                  <a:lnTo>
                    <a:pt x="332" y="74"/>
                  </a:lnTo>
                  <a:lnTo>
                    <a:pt x="338" y="72"/>
                  </a:lnTo>
                  <a:lnTo>
                    <a:pt x="344" y="68"/>
                  </a:lnTo>
                  <a:lnTo>
                    <a:pt x="350" y="64"/>
                  </a:lnTo>
                  <a:lnTo>
                    <a:pt x="356" y="58"/>
                  </a:lnTo>
                  <a:lnTo>
                    <a:pt x="356" y="58"/>
                  </a:lnTo>
                  <a:lnTo>
                    <a:pt x="362" y="44"/>
                  </a:lnTo>
                  <a:lnTo>
                    <a:pt x="366" y="34"/>
                  </a:lnTo>
                  <a:lnTo>
                    <a:pt x="368" y="32"/>
                  </a:lnTo>
                  <a:lnTo>
                    <a:pt x="368" y="34"/>
                  </a:lnTo>
                  <a:lnTo>
                    <a:pt x="368" y="34"/>
                  </a:lnTo>
                  <a:lnTo>
                    <a:pt x="382" y="34"/>
                  </a:lnTo>
                  <a:lnTo>
                    <a:pt x="382" y="34"/>
                  </a:lnTo>
                  <a:lnTo>
                    <a:pt x="404" y="36"/>
                  </a:lnTo>
                  <a:lnTo>
                    <a:pt x="416" y="32"/>
                  </a:lnTo>
                  <a:lnTo>
                    <a:pt x="428" y="28"/>
                  </a:lnTo>
                  <a:lnTo>
                    <a:pt x="428" y="28"/>
                  </a:lnTo>
                  <a:lnTo>
                    <a:pt x="440" y="20"/>
                  </a:lnTo>
                  <a:lnTo>
                    <a:pt x="458" y="12"/>
                  </a:lnTo>
                  <a:lnTo>
                    <a:pt x="478" y="6"/>
                  </a:lnTo>
                  <a:lnTo>
                    <a:pt x="494" y="2"/>
                  </a:lnTo>
                  <a:lnTo>
                    <a:pt x="494" y="2"/>
                  </a:lnTo>
                  <a:lnTo>
                    <a:pt x="510" y="0"/>
                  </a:lnTo>
                  <a:lnTo>
                    <a:pt x="528" y="2"/>
                  </a:lnTo>
                  <a:lnTo>
                    <a:pt x="544" y="4"/>
                  </a:lnTo>
                  <a:lnTo>
                    <a:pt x="550" y="8"/>
                  </a:lnTo>
                  <a:lnTo>
                    <a:pt x="552" y="12"/>
                  </a:lnTo>
                  <a:lnTo>
                    <a:pt x="552" y="12"/>
                  </a:lnTo>
                  <a:lnTo>
                    <a:pt x="564" y="38"/>
                  </a:lnTo>
                  <a:lnTo>
                    <a:pt x="576" y="60"/>
                  </a:lnTo>
                  <a:lnTo>
                    <a:pt x="576" y="60"/>
                  </a:lnTo>
                  <a:lnTo>
                    <a:pt x="578" y="64"/>
                  </a:lnTo>
                  <a:lnTo>
                    <a:pt x="584" y="66"/>
                  </a:lnTo>
                  <a:lnTo>
                    <a:pt x="596" y="68"/>
                  </a:lnTo>
                  <a:lnTo>
                    <a:pt x="616" y="70"/>
                  </a:lnTo>
                  <a:lnTo>
                    <a:pt x="616" y="70"/>
                  </a:lnTo>
                  <a:lnTo>
                    <a:pt x="628" y="70"/>
                  </a:lnTo>
                  <a:lnTo>
                    <a:pt x="638" y="72"/>
                  </a:lnTo>
                  <a:lnTo>
                    <a:pt x="656" y="80"/>
                  </a:lnTo>
                  <a:lnTo>
                    <a:pt x="676" y="92"/>
                  </a:lnTo>
                  <a:lnTo>
                    <a:pt x="676" y="92"/>
                  </a:lnTo>
                  <a:lnTo>
                    <a:pt x="682" y="98"/>
                  </a:lnTo>
                  <a:lnTo>
                    <a:pt x="688" y="104"/>
                  </a:lnTo>
                  <a:lnTo>
                    <a:pt x="692" y="110"/>
                  </a:lnTo>
                  <a:lnTo>
                    <a:pt x="692" y="110"/>
                  </a:lnTo>
                  <a:lnTo>
                    <a:pt x="692" y="116"/>
                  </a:lnTo>
                  <a:lnTo>
                    <a:pt x="692" y="124"/>
                  </a:lnTo>
                  <a:lnTo>
                    <a:pt x="684" y="152"/>
                  </a:lnTo>
                  <a:lnTo>
                    <a:pt x="684" y="152"/>
                  </a:lnTo>
                  <a:lnTo>
                    <a:pt x="682" y="162"/>
                  </a:lnTo>
                  <a:lnTo>
                    <a:pt x="684" y="170"/>
                  </a:lnTo>
                  <a:lnTo>
                    <a:pt x="688" y="186"/>
                  </a:lnTo>
                  <a:lnTo>
                    <a:pt x="690" y="192"/>
                  </a:lnTo>
                  <a:lnTo>
                    <a:pt x="692" y="198"/>
                  </a:lnTo>
                  <a:lnTo>
                    <a:pt x="692" y="204"/>
                  </a:lnTo>
                  <a:lnTo>
                    <a:pt x="688" y="208"/>
                  </a:lnTo>
                  <a:lnTo>
                    <a:pt x="688" y="208"/>
                  </a:lnTo>
                  <a:lnTo>
                    <a:pt x="670" y="218"/>
                  </a:lnTo>
                  <a:lnTo>
                    <a:pt x="644" y="234"/>
                  </a:lnTo>
                  <a:lnTo>
                    <a:pt x="644" y="234"/>
                  </a:lnTo>
                  <a:lnTo>
                    <a:pt x="624" y="244"/>
                  </a:lnTo>
                  <a:lnTo>
                    <a:pt x="606" y="250"/>
                  </a:lnTo>
                  <a:lnTo>
                    <a:pt x="590" y="256"/>
                  </a:lnTo>
                  <a:lnTo>
                    <a:pt x="576" y="266"/>
                  </a:lnTo>
                  <a:lnTo>
                    <a:pt x="576" y="266"/>
                  </a:lnTo>
                  <a:lnTo>
                    <a:pt x="560" y="278"/>
                  </a:lnTo>
                  <a:lnTo>
                    <a:pt x="542" y="292"/>
                  </a:lnTo>
                  <a:lnTo>
                    <a:pt x="534" y="300"/>
                  </a:lnTo>
                  <a:lnTo>
                    <a:pt x="530" y="306"/>
                  </a:lnTo>
                  <a:lnTo>
                    <a:pt x="528" y="314"/>
                  </a:lnTo>
                  <a:lnTo>
                    <a:pt x="528" y="316"/>
                  </a:lnTo>
                  <a:lnTo>
                    <a:pt x="528" y="318"/>
                  </a:lnTo>
                  <a:lnTo>
                    <a:pt x="528" y="318"/>
                  </a:lnTo>
                  <a:lnTo>
                    <a:pt x="546" y="334"/>
                  </a:lnTo>
                  <a:lnTo>
                    <a:pt x="554" y="344"/>
                  </a:lnTo>
                  <a:lnTo>
                    <a:pt x="560" y="354"/>
                  </a:lnTo>
                  <a:lnTo>
                    <a:pt x="560" y="354"/>
                  </a:lnTo>
                  <a:lnTo>
                    <a:pt x="562" y="364"/>
                  </a:lnTo>
                  <a:lnTo>
                    <a:pt x="562" y="378"/>
                  </a:lnTo>
                  <a:lnTo>
                    <a:pt x="564" y="396"/>
                  </a:lnTo>
                  <a:lnTo>
                    <a:pt x="566" y="414"/>
                  </a:lnTo>
                  <a:lnTo>
                    <a:pt x="566" y="414"/>
                  </a:lnTo>
                  <a:lnTo>
                    <a:pt x="572" y="434"/>
                  </a:lnTo>
                  <a:lnTo>
                    <a:pt x="576" y="456"/>
                  </a:lnTo>
                  <a:lnTo>
                    <a:pt x="580" y="476"/>
                  </a:lnTo>
                  <a:lnTo>
                    <a:pt x="584" y="482"/>
                  </a:lnTo>
                  <a:lnTo>
                    <a:pt x="588" y="488"/>
                  </a:lnTo>
                  <a:lnTo>
                    <a:pt x="588" y="488"/>
                  </a:lnTo>
                  <a:lnTo>
                    <a:pt x="606" y="504"/>
                  </a:lnTo>
                  <a:lnTo>
                    <a:pt x="636" y="524"/>
                  </a:lnTo>
                  <a:lnTo>
                    <a:pt x="636" y="524"/>
                  </a:lnTo>
                  <a:lnTo>
                    <a:pt x="664" y="540"/>
                  </a:lnTo>
                  <a:lnTo>
                    <a:pt x="680" y="550"/>
                  </a:lnTo>
                  <a:lnTo>
                    <a:pt x="696" y="562"/>
                  </a:lnTo>
                  <a:lnTo>
                    <a:pt x="712" y="578"/>
                  </a:lnTo>
                  <a:lnTo>
                    <a:pt x="726" y="594"/>
                  </a:lnTo>
                  <a:lnTo>
                    <a:pt x="732" y="604"/>
                  </a:lnTo>
                  <a:lnTo>
                    <a:pt x="738" y="616"/>
                  </a:lnTo>
                  <a:lnTo>
                    <a:pt x="742" y="626"/>
                  </a:lnTo>
                  <a:lnTo>
                    <a:pt x="744" y="638"/>
                  </a:lnTo>
                  <a:lnTo>
                    <a:pt x="744" y="638"/>
                  </a:lnTo>
                  <a:lnTo>
                    <a:pt x="748" y="662"/>
                  </a:lnTo>
                  <a:lnTo>
                    <a:pt x="754" y="684"/>
                  </a:lnTo>
                  <a:lnTo>
                    <a:pt x="758" y="704"/>
                  </a:lnTo>
                  <a:lnTo>
                    <a:pt x="766" y="724"/>
                  </a:lnTo>
                  <a:lnTo>
                    <a:pt x="772" y="740"/>
                  </a:lnTo>
                  <a:lnTo>
                    <a:pt x="780" y="754"/>
                  </a:lnTo>
                  <a:lnTo>
                    <a:pt x="788" y="764"/>
                  </a:lnTo>
                  <a:lnTo>
                    <a:pt x="794" y="772"/>
                  </a:lnTo>
                  <a:lnTo>
                    <a:pt x="794" y="772"/>
                  </a:lnTo>
                  <a:lnTo>
                    <a:pt x="814" y="786"/>
                  </a:lnTo>
                  <a:lnTo>
                    <a:pt x="840" y="804"/>
                  </a:lnTo>
                  <a:lnTo>
                    <a:pt x="888" y="836"/>
                  </a:lnTo>
                  <a:lnTo>
                    <a:pt x="888" y="836"/>
                  </a:lnTo>
                  <a:lnTo>
                    <a:pt x="904" y="848"/>
                  </a:lnTo>
                  <a:lnTo>
                    <a:pt x="916" y="856"/>
                  </a:lnTo>
                  <a:lnTo>
                    <a:pt x="928" y="858"/>
                  </a:lnTo>
                  <a:lnTo>
                    <a:pt x="944" y="856"/>
                  </a:lnTo>
                  <a:lnTo>
                    <a:pt x="944" y="856"/>
                  </a:lnTo>
                  <a:lnTo>
                    <a:pt x="964" y="854"/>
                  </a:lnTo>
                  <a:lnTo>
                    <a:pt x="982" y="852"/>
                  </a:lnTo>
                  <a:lnTo>
                    <a:pt x="1000" y="854"/>
                  </a:lnTo>
                  <a:lnTo>
                    <a:pt x="1006" y="856"/>
                  </a:lnTo>
                  <a:lnTo>
                    <a:pt x="1010" y="860"/>
                  </a:lnTo>
                  <a:lnTo>
                    <a:pt x="1010" y="860"/>
                  </a:lnTo>
                  <a:lnTo>
                    <a:pt x="1016" y="866"/>
                  </a:lnTo>
                  <a:lnTo>
                    <a:pt x="1020" y="874"/>
                  </a:lnTo>
                  <a:lnTo>
                    <a:pt x="1020" y="876"/>
                  </a:lnTo>
                  <a:lnTo>
                    <a:pt x="1018" y="880"/>
                  </a:lnTo>
                  <a:lnTo>
                    <a:pt x="1016" y="884"/>
                  </a:lnTo>
                  <a:lnTo>
                    <a:pt x="1010" y="886"/>
                  </a:lnTo>
                  <a:lnTo>
                    <a:pt x="1010" y="886"/>
                  </a:lnTo>
                  <a:lnTo>
                    <a:pt x="998" y="894"/>
                  </a:lnTo>
                  <a:lnTo>
                    <a:pt x="986" y="902"/>
                  </a:lnTo>
                  <a:lnTo>
                    <a:pt x="984" y="906"/>
                  </a:lnTo>
                  <a:lnTo>
                    <a:pt x="982" y="912"/>
                  </a:lnTo>
                  <a:lnTo>
                    <a:pt x="984" y="916"/>
                  </a:lnTo>
                  <a:lnTo>
                    <a:pt x="990" y="920"/>
                  </a:lnTo>
                  <a:lnTo>
                    <a:pt x="990" y="920"/>
                  </a:lnTo>
                  <a:lnTo>
                    <a:pt x="1010" y="930"/>
                  </a:lnTo>
                  <a:lnTo>
                    <a:pt x="1038" y="942"/>
                  </a:lnTo>
                  <a:lnTo>
                    <a:pt x="1066" y="954"/>
                  </a:lnTo>
                  <a:lnTo>
                    <a:pt x="1090" y="966"/>
                  </a:lnTo>
                  <a:lnTo>
                    <a:pt x="1090" y="966"/>
                  </a:lnTo>
                  <a:lnTo>
                    <a:pt x="1194" y="1032"/>
                  </a:lnTo>
                  <a:lnTo>
                    <a:pt x="1194" y="1032"/>
                  </a:lnTo>
                  <a:lnTo>
                    <a:pt x="1244" y="1060"/>
                  </a:lnTo>
                  <a:lnTo>
                    <a:pt x="1270" y="1076"/>
                  </a:lnTo>
                  <a:lnTo>
                    <a:pt x="1286" y="1086"/>
                  </a:lnTo>
                  <a:lnTo>
                    <a:pt x="1286" y="1086"/>
                  </a:lnTo>
                  <a:lnTo>
                    <a:pt x="1296" y="1096"/>
                  </a:lnTo>
                  <a:lnTo>
                    <a:pt x="1304" y="1108"/>
                  </a:lnTo>
                  <a:lnTo>
                    <a:pt x="1310" y="1120"/>
                  </a:lnTo>
                  <a:lnTo>
                    <a:pt x="1316" y="1132"/>
                  </a:lnTo>
                  <a:lnTo>
                    <a:pt x="1316" y="1132"/>
                  </a:lnTo>
                  <a:lnTo>
                    <a:pt x="1320" y="1144"/>
                  </a:lnTo>
                  <a:lnTo>
                    <a:pt x="1324" y="1154"/>
                  </a:lnTo>
                  <a:lnTo>
                    <a:pt x="1324" y="1162"/>
                  </a:lnTo>
                  <a:lnTo>
                    <a:pt x="1322" y="1168"/>
                  </a:lnTo>
                  <a:lnTo>
                    <a:pt x="1322" y="1168"/>
                  </a:lnTo>
                  <a:lnTo>
                    <a:pt x="1316" y="1172"/>
                  </a:lnTo>
                  <a:lnTo>
                    <a:pt x="1308" y="1176"/>
                  </a:lnTo>
                  <a:lnTo>
                    <a:pt x="1298" y="1176"/>
                  </a:lnTo>
                  <a:lnTo>
                    <a:pt x="1292" y="1174"/>
                  </a:lnTo>
                  <a:lnTo>
                    <a:pt x="1292" y="1174"/>
                  </a:lnTo>
                  <a:lnTo>
                    <a:pt x="1282" y="1164"/>
                  </a:lnTo>
                  <a:lnTo>
                    <a:pt x="1272" y="1150"/>
                  </a:lnTo>
                  <a:lnTo>
                    <a:pt x="1272" y="1150"/>
                  </a:lnTo>
                  <a:lnTo>
                    <a:pt x="1262" y="1136"/>
                  </a:lnTo>
                  <a:lnTo>
                    <a:pt x="1250" y="1126"/>
                  </a:lnTo>
                  <a:lnTo>
                    <a:pt x="1250" y="1126"/>
                  </a:lnTo>
                  <a:lnTo>
                    <a:pt x="1200" y="1100"/>
                  </a:lnTo>
                  <a:lnTo>
                    <a:pt x="1200" y="1100"/>
                  </a:lnTo>
                  <a:lnTo>
                    <a:pt x="1186" y="1088"/>
                  </a:lnTo>
                  <a:lnTo>
                    <a:pt x="1178" y="1082"/>
                  </a:lnTo>
                  <a:lnTo>
                    <a:pt x="1174" y="1080"/>
                  </a:lnTo>
                  <a:lnTo>
                    <a:pt x="1170" y="1080"/>
                  </a:lnTo>
                  <a:lnTo>
                    <a:pt x="1170" y="1080"/>
                  </a:lnTo>
                  <a:lnTo>
                    <a:pt x="1146" y="1088"/>
                  </a:lnTo>
                  <a:lnTo>
                    <a:pt x="1134" y="1092"/>
                  </a:lnTo>
                  <a:lnTo>
                    <a:pt x="1128" y="1098"/>
                  </a:lnTo>
                  <a:lnTo>
                    <a:pt x="1128" y="1098"/>
                  </a:lnTo>
                  <a:lnTo>
                    <a:pt x="1112" y="1130"/>
                  </a:lnTo>
                  <a:lnTo>
                    <a:pt x="1104" y="1152"/>
                  </a:lnTo>
                  <a:lnTo>
                    <a:pt x="1098" y="1164"/>
                  </a:lnTo>
                  <a:lnTo>
                    <a:pt x="1098" y="1164"/>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93" name="Freeform 59"/>
            <p:cNvSpPr>
              <a:spLocks/>
            </p:cNvSpPr>
            <p:nvPr/>
          </p:nvSpPr>
          <p:spPr bwMode="auto">
            <a:xfrm>
              <a:off x="4121169" y="5936539"/>
              <a:ext cx="283514" cy="201203"/>
            </a:xfrm>
            <a:custGeom>
              <a:avLst/>
              <a:gdLst/>
              <a:ahLst/>
              <a:cxnLst>
                <a:cxn ang="0">
                  <a:pos x="316" y="20"/>
                </a:cxn>
                <a:cxn ang="0">
                  <a:pos x="294" y="20"/>
                </a:cxn>
                <a:cxn ang="0">
                  <a:pos x="276" y="24"/>
                </a:cxn>
                <a:cxn ang="0">
                  <a:pos x="236" y="38"/>
                </a:cxn>
                <a:cxn ang="0">
                  <a:pos x="204" y="48"/>
                </a:cxn>
                <a:cxn ang="0">
                  <a:pos x="190" y="50"/>
                </a:cxn>
                <a:cxn ang="0">
                  <a:pos x="162" y="48"/>
                </a:cxn>
                <a:cxn ang="0">
                  <a:pos x="148" y="44"/>
                </a:cxn>
                <a:cxn ang="0">
                  <a:pos x="126" y="34"/>
                </a:cxn>
                <a:cxn ang="0">
                  <a:pos x="112" y="26"/>
                </a:cxn>
                <a:cxn ang="0">
                  <a:pos x="108" y="22"/>
                </a:cxn>
                <a:cxn ang="0">
                  <a:pos x="94" y="8"/>
                </a:cxn>
                <a:cxn ang="0">
                  <a:pos x="78" y="6"/>
                </a:cxn>
                <a:cxn ang="0">
                  <a:pos x="54" y="12"/>
                </a:cxn>
                <a:cxn ang="0">
                  <a:pos x="28" y="18"/>
                </a:cxn>
                <a:cxn ang="0">
                  <a:pos x="8" y="22"/>
                </a:cxn>
                <a:cxn ang="0">
                  <a:pos x="2" y="28"/>
                </a:cxn>
                <a:cxn ang="0">
                  <a:pos x="0" y="40"/>
                </a:cxn>
                <a:cxn ang="0">
                  <a:pos x="2" y="54"/>
                </a:cxn>
                <a:cxn ang="0">
                  <a:pos x="14" y="74"/>
                </a:cxn>
                <a:cxn ang="0">
                  <a:pos x="22" y="92"/>
                </a:cxn>
                <a:cxn ang="0">
                  <a:pos x="32" y="100"/>
                </a:cxn>
                <a:cxn ang="0">
                  <a:pos x="36" y="98"/>
                </a:cxn>
                <a:cxn ang="0">
                  <a:pos x="54" y="96"/>
                </a:cxn>
                <a:cxn ang="0">
                  <a:pos x="82" y="108"/>
                </a:cxn>
                <a:cxn ang="0">
                  <a:pos x="138" y="146"/>
                </a:cxn>
                <a:cxn ang="0">
                  <a:pos x="184" y="176"/>
                </a:cxn>
                <a:cxn ang="0">
                  <a:pos x="190" y="176"/>
                </a:cxn>
                <a:cxn ang="0">
                  <a:pos x="208" y="174"/>
                </a:cxn>
                <a:cxn ang="0">
                  <a:pos x="220" y="174"/>
                </a:cxn>
                <a:cxn ang="0">
                  <a:pos x="232" y="182"/>
                </a:cxn>
                <a:cxn ang="0">
                  <a:pos x="258" y="218"/>
                </a:cxn>
                <a:cxn ang="0">
                  <a:pos x="270" y="232"/>
                </a:cxn>
                <a:cxn ang="0">
                  <a:pos x="308" y="256"/>
                </a:cxn>
                <a:cxn ang="0">
                  <a:pos x="320" y="262"/>
                </a:cxn>
                <a:cxn ang="0">
                  <a:pos x="330" y="264"/>
                </a:cxn>
                <a:cxn ang="0">
                  <a:pos x="338" y="260"/>
                </a:cxn>
                <a:cxn ang="0">
                  <a:pos x="344" y="248"/>
                </a:cxn>
                <a:cxn ang="0">
                  <a:pos x="348" y="232"/>
                </a:cxn>
                <a:cxn ang="0">
                  <a:pos x="352" y="218"/>
                </a:cxn>
                <a:cxn ang="0">
                  <a:pos x="348" y="206"/>
                </a:cxn>
                <a:cxn ang="0">
                  <a:pos x="334" y="168"/>
                </a:cxn>
                <a:cxn ang="0">
                  <a:pos x="330" y="154"/>
                </a:cxn>
                <a:cxn ang="0">
                  <a:pos x="332" y="118"/>
                </a:cxn>
                <a:cxn ang="0">
                  <a:pos x="338" y="88"/>
                </a:cxn>
                <a:cxn ang="0">
                  <a:pos x="348" y="68"/>
                </a:cxn>
                <a:cxn ang="0">
                  <a:pos x="366" y="34"/>
                </a:cxn>
                <a:cxn ang="0">
                  <a:pos x="372" y="18"/>
                </a:cxn>
                <a:cxn ang="0">
                  <a:pos x="370" y="6"/>
                </a:cxn>
                <a:cxn ang="0">
                  <a:pos x="364" y="0"/>
                </a:cxn>
                <a:cxn ang="0">
                  <a:pos x="356" y="2"/>
                </a:cxn>
                <a:cxn ang="0">
                  <a:pos x="332" y="12"/>
                </a:cxn>
                <a:cxn ang="0">
                  <a:pos x="316" y="20"/>
                </a:cxn>
              </a:cxnLst>
              <a:rect l="0" t="0" r="r" b="b"/>
              <a:pathLst>
                <a:path w="372" h="264">
                  <a:moveTo>
                    <a:pt x="316" y="20"/>
                  </a:moveTo>
                  <a:lnTo>
                    <a:pt x="316" y="20"/>
                  </a:lnTo>
                  <a:lnTo>
                    <a:pt x="304" y="20"/>
                  </a:lnTo>
                  <a:lnTo>
                    <a:pt x="294" y="20"/>
                  </a:lnTo>
                  <a:lnTo>
                    <a:pt x="276" y="24"/>
                  </a:lnTo>
                  <a:lnTo>
                    <a:pt x="276" y="24"/>
                  </a:lnTo>
                  <a:lnTo>
                    <a:pt x="256" y="32"/>
                  </a:lnTo>
                  <a:lnTo>
                    <a:pt x="236" y="38"/>
                  </a:lnTo>
                  <a:lnTo>
                    <a:pt x="218" y="44"/>
                  </a:lnTo>
                  <a:lnTo>
                    <a:pt x="204" y="48"/>
                  </a:lnTo>
                  <a:lnTo>
                    <a:pt x="204" y="48"/>
                  </a:lnTo>
                  <a:lnTo>
                    <a:pt x="190" y="50"/>
                  </a:lnTo>
                  <a:lnTo>
                    <a:pt x="176" y="50"/>
                  </a:lnTo>
                  <a:lnTo>
                    <a:pt x="162" y="48"/>
                  </a:lnTo>
                  <a:lnTo>
                    <a:pt x="148" y="44"/>
                  </a:lnTo>
                  <a:lnTo>
                    <a:pt x="148" y="44"/>
                  </a:lnTo>
                  <a:lnTo>
                    <a:pt x="136" y="38"/>
                  </a:lnTo>
                  <a:lnTo>
                    <a:pt x="126" y="34"/>
                  </a:lnTo>
                  <a:lnTo>
                    <a:pt x="116" y="30"/>
                  </a:lnTo>
                  <a:lnTo>
                    <a:pt x="112" y="26"/>
                  </a:lnTo>
                  <a:lnTo>
                    <a:pt x="108" y="22"/>
                  </a:lnTo>
                  <a:lnTo>
                    <a:pt x="108" y="22"/>
                  </a:lnTo>
                  <a:lnTo>
                    <a:pt x="102" y="12"/>
                  </a:lnTo>
                  <a:lnTo>
                    <a:pt x="94" y="8"/>
                  </a:lnTo>
                  <a:lnTo>
                    <a:pt x="86" y="6"/>
                  </a:lnTo>
                  <a:lnTo>
                    <a:pt x="78" y="6"/>
                  </a:lnTo>
                  <a:lnTo>
                    <a:pt x="78" y="6"/>
                  </a:lnTo>
                  <a:lnTo>
                    <a:pt x="54" y="12"/>
                  </a:lnTo>
                  <a:lnTo>
                    <a:pt x="28" y="18"/>
                  </a:lnTo>
                  <a:lnTo>
                    <a:pt x="28" y="18"/>
                  </a:lnTo>
                  <a:lnTo>
                    <a:pt x="18" y="20"/>
                  </a:lnTo>
                  <a:lnTo>
                    <a:pt x="8" y="22"/>
                  </a:lnTo>
                  <a:lnTo>
                    <a:pt x="4" y="24"/>
                  </a:lnTo>
                  <a:lnTo>
                    <a:pt x="2" y="28"/>
                  </a:lnTo>
                  <a:lnTo>
                    <a:pt x="0" y="32"/>
                  </a:lnTo>
                  <a:lnTo>
                    <a:pt x="0" y="40"/>
                  </a:lnTo>
                  <a:lnTo>
                    <a:pt x="0" y="40"/>
                  </a:lnTo>
                  <a:lnTo>
                    <a:pt x="2" y="54"/>
                  </a:lnTo>
                  <a:lnTo>
                    <a:pt x="6" y="62"/>
                  </a:lnTo>
                  <a:lnTo>
                    <a:pt x="14" y="74"/>
                  </a:lnTo>
                  <a:lnTo>
                    <a:pt x="14" y="74"/>
                  </a:lnTo>
                  <a:lnTo>
                    <a:pt x="22" y="92"/>
                  </a:lnTo>
                  <a:lnTo>
                    <a:pt x="28" y="98"/>
                  </a:lnTo>
                  <a:lnTo>
                    <a:pt x="32" y="100"/>
                  </a:lnTo>
                  <a:lnTo>
                    <a:pt x="36" y="98"/>
                  </a:lnTo>
                  <a:lnTo>
                    <a:pt x="36" y="98"/>
                  </a:lnTo>
                  <a:lnTo>
                    <a:pt x="44" y="96"/>
                  </a:lnTo>
                  <a:lnTo>
                    <a:pt x="54" y="96"/>
                  </a:lnTo>
                  <a:lnTo>
                    <a:pt x="66" y="100"/>
                  </a:lnTo>
                  <a:lnTo>
                    <a:pt x="82" y="108"/>
                  </a:lnTo>
                  <a:lnTo>
                    <a:pt x="82" y="108"/>
                  </a:lnTo>
                  <a:lnTo>
                    <a:pt x="138" y="146"/>
                  </a:lnTo>
                  <a:lnTo>
                    <a:pt x="166" y="166"/>
                  </a:lnTo>
                  <a:lnTo>
                    <a:pt x="184" y="176"/>
                  </a:lnTo>
                  <a:lnTo>
                    <a:pt x="184" y="176"/>
                  </a:lnTo>
                  <a:lnTo>
                    <a:pt x="190" y="176"/>
                  </a:lnTo>
                  <a:lnTo>
                    <a:pt x="196" y="176"/>
                  </a:lnTo>
                  <a:lnTo>
                    <a:pt x="208" y="174"/>
                  </a:lnTo>
                  <a:lnTo>
                    <a:pt x="214" y="172"/>
                  </a:lnTo>
                  <a:lnTo>
                    <a:pt x="220" y="174"/>
                  </a:lnTo>
                  <a:lnTo>
                    <a:pt x="226" y="176"/>
                  </a:lnTo>
                  <a:lnTo>
                    <a:pt x="232" y="182"/>
                  </a:lnTo>
                  <a:lnTo>
                    <a:pt x="232" y="182"/>
                  </a:lnTo>
                  <a:lnTo>
                    <a:pt x="258" y="218"/>
                  </a:lnTo>
                  <a:lnTo>
                    <a:pt x="258" y="218"/>
                  </a:lnTo>
                  <a:lnTo>
                    <a:pt x="270" y="232"/>
                  </a:lnTo>
                  <a:lnTo>
                    <a:pt x="282" y="240"/>
                  </a:lnTo>
                  <a:lnTo>
                    <a:pt x="308" y="256"/>
                  </a:lnTo>
                  <a:lnTo>
                    <a:pt x="308" y="256"/>
                  </a:lnTo>
                  <a:lnTo>
                    <a:pt x="320" y="262"/>
                  </a:lnTo>
                  <a:lnTo>
                    <a:pt x="326" y="264"/>
                  </a:lnTo>
                  <a:lnTo>
                    <a:pt x="330" y="264"/>
                  </a:lnTo>
                  <a:lnTo>
                    <a:pt x="334" y="264"/>
                  </a:lnTo>
                  <a:lnTo>
                    <a:pt x="338" y="260"/>
                  </a:lnTo>
                  <a:lnTo>
                    <a:pt x="340" y="256"/>
                  </a:lnTo>
                  <a:lnTo>
                    <a:pt x="344" y="248"/>
                  </a:lnTo>
                  <a:lnTo>
                    <a:pt x="344" y="248"/>
                  </a:lnTo>
                  <a:lnTo>
                    <a:pt x="348" y="232"/>
                  </a:lnTo>
                  <a:lnTo>
                    <a:pt x="350" y="224"/>
                  </a:lnTo>
                  <a:lnTo>
                    <a:pt x="352" y="218"/>
                  </a:lnTo>
                  <a:lnTo>
                    <a:pt x="348" y="206"/>
                  </a:lnTo>
                  <a:lnTo>
                    <a:pt x="348" y="206"/>
                  </a:lnTo>
                  <a:lnTo>
                    <a:pt x="338" y="180"/>
                  </a:lnTo>
                  <a:lnTo>
                    <a:pt x="334" y="168"/>
                  </a:lnTo>
                  <a:lnTo>
                    <a:pt x="330" y="154"/>
                  </a:lnTo>
                  <a:lnTo>
                    <a:pt x="330" y="154"/>
                  </a:lnTo>
                  <a:lnTo>
                    <a:pt x="330" y="136"/>
                  </a:lnTo>
                  <a:lnTo>
                    <a:pt x="332" y="118"/>
                  </a:lnTo>
                  <a:lnTo>
                    <a:pt x="334" y="100"/>
                  </a:lnTo>
                  <a:lnTo>
                    <a:pt x="338" y="88"/>
                  </a:lnTo>
                  <a:lnTo>
                    <a:pt x="338" y="88"/>
                  </a:lnTo>
                  <a:lnTo>
                    <a:pt x="348" y="68"/>
                  </a:lnTo>
                  <a:lnTo>
                    <a:pt x="366" y="34"/>
                  </a:lnTo>
                  <a:lnTo>
                    <a:pt x="366" y="34"/>
                  </a:lnTo>
                  <a:lnTo>
                    <a:pt x="370" y="26"/>
                  </a:lnTo>
                  <a:lnTo>
                    <a:pt x="372" y="18"/>
                  </a:lnTo>
                  <a:lnTo>
                    <a:pt x="372" y="12"/>
                  </a:lnTo>
                  <a:lnTo>
                    <a:pt x="370" y="6"/>
                  </a:lnTo>
                  <a:lnTo>
                    <a:pt x="368" y="2"/>
                  </a:lnTo>
                  <a:lnTo>
                    <a:pt x="364" y="0"/>
                  </a:lnTo>
                  <a:lnTo>
                    <a:pt x="360" y="0"/>
                  </a:lnTo>
                  <a:lnTo>
                    <a:pt x="356" y="2"/>
                  </a:lnTo>
                  <a:lnTo>
                    <a:pt x="356" y="2"/>
                  </a:lnTo>
                  <a:lnTo>
                    <a:pt x="332" y="12"/>
                  </a:lnTo>
                  <a:lnTo>
                    <a:pt x="316" y="20"/>
                  </a:lnTo>
                  <a:lnTo>
                    <a:pt x="316" y="20"/>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94" name="Freeform 60"/>
            <p:cNvSpPr>
              <a:spLocks/>
            </p:cNvSpPr>
            <p:nvPr/>
          </p:nvSpPr>
          <p:spPr bwMode="auto">
            <a:xfrm>
              <a:off x="3764491" y="5332932"/>
              <a:ext cx="74689" cy="152426"/>
            </a:xfrm>
            <a:custGeom>
              <a:avLst/>
              <a:gdLst/>
              <a:ahLst/>
              <a:cxnLst>
                <a:cxn ang="0">
                  <a:pos x="0" y="74"/>
                </a:cxn>
                <a:cxn ang="0">
                  <a:pos x="0" y="74"/>
                </a:cxn>
                <a:cxn ang="0">
                  <a:pos x="6" y="104"/>
                </a:cxn>
                <a:cxn ang="0">
                  <a:pos x="12" y="136"/>
                </a:cxn>
                <a:cxn ang="0">
                  <a:pos x="12" y="136"/>
                </a:cxn>
                <a:cxn ang="0">
                  <a:pos x="14" y="154"/>
                </a:cxn>
                <a:cxn ang="0">
                  <a:pos x="14" y="166"/>
                </a:cxn>
                <a:cxn ang="0">
                  <a:pos x="16" y="172"/>
                </a:cxn>
                <a:cxn ang="0">
                  <a:pos x="16" y="176"/>
                </a:cxn>
                <a:cxn ang="0">
                  <a:pos x="20" y="182"/>
                </a:cxn>
                <a:cxn ang="0">
                  <a:pos x="26" y="186"/>
                </a:cxn>
                <a:cxn ang="0">
                  <a:pos x="26" y="186"/>
                </a:cxn>
                <a:cxn ang="0">
                  <a:pos x="34" y="192"/>
                </a:cxn>
                <a:cxn ang="0">
                  <a:pos x="40" y="196"/>
                </a:cxn>
                <a:cxn ang="0">
                  <a:pos x="54" y="200"/>
                </a:cxn>
                <a:cxn ang="0">
                  <a:pos x="66" y="200"/>
                </a:cxn>
                <a:cxn ang="0">
                  <a:pos x="70" y="200"/>
                </a:cxn>
                <a:cxn ang="0">
                  <a:pos x="70" y="200"/>
                </a:cxn>
                <a:cxn ang="0">
                  <a:pos x="80" y="182"/>
                </a:cxn>
                <a:cxn ang="0">
                  <a:pos x="86" y="164"/>
                </a:cxn>
                <a:cxn ang="0">
                  <a:pos x="88" y="156"/>
                </a:cxn>
                <a:cxn ang="0">
                  <a:pos x="90" y="148"/>
                </a:cxn>
                <a:cxn ang="0">
                  <a:pos x="90" y="148"/>
                </a:cxn>
                <a:cxn ang="0">
                  <a:pos x="90" y="138"/>
                </a:cxn>
                <a:cxn ang="0">
                  <a:pos x="94" y="128"/>
                </a:cxn>
                <a:cxn ang="0">
                  <a:pos x="96" y="112"/>
                </a:cxn>
                <a:cxn ang="0">
                  <a:pos x="98" y="82"/>
                </a:cxn>
                <a:cxn ang="0">
                  <a:pos x="98" y="82"/>
                </a:cxn>
                <a:cxn ang="0">
                  <a:pos x="96" y="48"/>
                </a:cxn>
                <a:cxn ang="0">
                  <a:pos x="94" y="24"/>
                </a:cxn>
                <a:cxn ang="0">
                  <a:pos x="92" y="8"/>
                </a:cxn>
                <a:cxn ang="0">
                  <a:pos x="90" y="4"/>
                </a:cxn>
                <a:cxn ang="0">
                  <a:pos x="88" y="2"/>
                </a:cxn>
                <a:cxn ang="0">
                  <a:pos x="88" y="2"/>
                </a:cxn>
                <a:cxn ang="0">
                  <a:pos x="82" y="0"/>
                </a:cxn>
                <a:cxn ang="0">
                  <a:pos x="76" y="0"/>
                </a:cxn>
                <a:cxn ang="0">
                  <a:pos x="68" y="2"/>
                </a:cxn>
                <a:cxn ang="0">
                  <a:pos x="60" y="10"/>
                </a:cxn>
                <a:cxn ang="0">
                  <a:pos x="60" y="10"/>
                </a:cxn>
                <a:cxn ang="0">
                  <a:pos x="50" y="18"/>
                </a:cxn>
                <a:cxn ang="0">
                  <a:pos x="38" y="26"/>
                </a:cxn>
                <a:cxn ang="0">
                  <a:pos x="26" y="30"/>
                </a:cxn>
                <a:cxn ang="0">
                  <a:pos x="18" y="36"/>
                </a:cxn>
                <a:cxn ang="0">
                  <a:pos x="18" y="36"/>
                </a:cxn>
                <a:cxn ang="0">
                  <a:pos x="12" y="46"/>
                </a:cxn>
                <a:cxn ang="0">
                  <a:pos x="6" y="58"/>
                </a:cxn>
                <a:cxn ang="0">
                  <a:pos x="0" y="74"/>
                </a:cxn>
                <a:cxn ang="0">
                  <a:pos x="0" y="74"/>
                </a:cxn>
              </a:cxnLst>
              <a:rect l="0" t="0" r="r" b="b"/>
              <a:pathLst>
                <a:path w="98" h="200">
                  <a:moveTo>
                    <a:pt x="0" y="74"/>
                  </a:moveTo>
                  <a:lnTo>
                    <a:pt x="0" y="74"/>
                  </a:lnTo>
                  <a:lnTo>
                    <a:pt x="6" y="104"/>
                  </a:lnTo>
                  <a:lnTo>
                    <a:pt x="12" y="136"/>
                  </a:lnTo>
                  <a:lnTo>
                    <a:pt x="12" y="136"/>
                  </a:lnTo>
                  <a:lnTo>
                    <a:pt x="14" y="154"/>
                  </a:lnTo>
                  <a:lnTo>
                    <a:pt x="14" y="166"/>
                  </a:lnTo>
                  <a:lnTo>
                    <a:pt x="16" y="172"/>
                  </a:lnTo>
                  <a:lnTo>
                    <a:pt x="16" y="176"/>
                  </a:lnTo>
                  <a:lnTo>
                    <a:pt x="20" y="182"/>
                  </a:lnTo>
                  <a:lnTo>
                    <a:pt x="26" y="186"/>
                  </a:lnTo>
                  <a:lnTo>
                    <a:pt x="26" y="186"/>
                  </a:lnTo>
                  <a:lnTo>
                    <a:pt x="34" y="192"/>
                  </a:lnTo>
                  <a:lnTo>
                    <a:pt x="40" y="196"/>
                  </a:lnTo>
                  <a:lnTo>
                    <a:pt x="54" y="200"/>
                  </a:lnTo>
                  <a:lnTo>
                    <a:pt x="66" y="200"/>
                  </a:lnTo>
                  <a:lnTo>
                    <a:pt x="70" y="200"/>
                  </a:lnTo>
                  <a:lnTo>
                    <a:pt x="70" y="200"/>
                  </a:lnTo>
                  <a:lnTo>
                    <a:pt x="80" y="182"/>
                  </a:lnTo>
                  <a:lnTo>
                    <a:pt x="86" y="164"/>
                  </a:lnTo>
                  <a:lnTo>
                    <a:pt x="88" y="156"/>
                  </a:lnTo>
                  <a:lnTo>
                    <a:pt x="90" y="148"/>
                  </a:lnTo>
                  <a:lnTo>
                    <a:pt x="90" y="148"/>
                  </a:lnTo>
                  <a:lnTo>
                    <a:pt x="90" y="138"/>
                  </a:lnTo>
                  <a:lnTo>
                    <a:pt x="94" y="128"/>
                  </a:lnTo>
                  <a:lnTo>
                    <a:pt x="96" y="112"/>
                  </a:lnTo>
                  <a:lnTo>
                    <a:pt x="98" y="82"/>
                  </a:lnTo>
                  <a:lnTo>
                    <a:pt x="98" y="82"/>
                  </a:lnTo>
                  <a:lnTo>
                    <a:pt x="96" y="48"/>
                  </a:lnTo>
                  <a:lnTo>
                    <a:pt x="94" y="24"/>
                  </a:lnTo>
                  <a:lnTo>
                    <a:pt x="92" y="8"/>
                  </a:lnTo>
                  <a:lnTo>
                    <a:pt x="90" y="4"/>
                  </a:lnTo>
                  <a:lnTo>
                    <a:pt x="88" y="2"/>
                  </a:lnTo>
                  <a:lnTo>
                    <a:pt x="88" y="2"/>
                  </a:lnTo>
                  <a:lnTo>
                    <a:pt x="82" y="0"/>
                  </a:lnTo>
                  <a:lnTo>
                    <a:pt x="76" y="0"/>
                  </a:lnTo>
                  <a:lnTo>
                    <a:pt x="68" y="2"/>
                  </a:lnTo>
                  <a:lnTo>
                    <a:pt x="60" y="10"/>
                  </a:lnTo>
                  <a:lnTo>
                    <a:pt x="60" y="10"/>
                  </a:lnTo>
                  <a:lnTo>
                    <a:pt x="50" y="18"/>
                  </a:lnTo>
                  <a:lnTo>
                    <a:pt x="38" y="26"/>
                  </a:lnTo>
                  <a:lnTo>
                    <a:pt x="26" y="30"/>
                  </a:lnTo>
                  <a:lnTo>
                    <a:pt x="18" y="36"/>
                  </a:lnTo>
                  <a:lnTo>
                    <a:pt x="18" y="36"/>
                  </a:lnTo>
                  <a:lnTo>
                    <a:pt x="12" y="46"/>
                  </a:lnTo>
                  <a:lnTo>
                    <a:pt x="6" y="58"/>
                  </a:lnTo>
                  <a:lnTo>
                    <a:pt x="0" y="74"/>
                  </a:lnTo>
                  <a:lnTo>
                    <a:pt x="0" y="74"/>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95" name="Freeform 61"/>
            <p:cNvSpPr>
              <a:spLocks/>
            </p:cNvSpPr>
            <p:nvPr/>
          </p:nvSpPr>
          <p:spPr bwMode="auto">
            <a:xfrm>
              <a:off x="3718764" y="5532609"/>
              <a:ext cx="152426" cy="285037"/>
            </a:xfrm>
            <a:custGeom>
              <a:avLst/>
              <a:gdLst/>
              <a:ahLst/>
              <a:cxnLst>
                <a:cxn ang="0">
                  <a:pos x="12" y="32"/>
                </a:cxn>
                <a:cxn ang="0">
                  <a:pos x="26" y="32"/>
                </a:cxn>
                <a:cxn ang="0">
                  <a:pos x="34" y="40"/>
                </a:cxn>
                <a:cxn ang="0">
                  <a:pos x="46" y="54"/>
                </a:cxn>
                <a:cxn ang="0">
                  <a:pos x="52" y="56"/>
                </a:cxn>
                <a:cxn ang="0">
                  <a:pos x="72" y="50"/>
                </a:cxn>
                <a:cxn ang="0">
                  <a:pos x="92" y="30"/>
                </a:cxn>
                <a:cxn ang="0">
                  <a:pos x="102" y="14"/>
                </a:cxn>
                <a:cxn ang="0">
                  <a:pos x="110" y="2"/>
                </a:cxn>
                <a:cxn ang="0">
                  <a:pos x="126" y="4"/>
                </a:cxn>
                <a:cxn ang="0">
                  <a:pos x="138" y="6"/>
                </a:cxn>
                <a:cxn ang="0">
                  <a:pos x="152" y="10"/>
                </a:cxn>
                <a:cxn ang="0">
                  <a:pos x="160" y="18"/>
                </a:cxn>
                <a:cxn ang="0">
                  <a:pos x="172" y="48"/>
                </a:cxn>
                <a:cxn ang="0">
                  <a:pos x="176" y="72"/>
                </a:cxn>
                <a:cxn ang="0">
                  <a:pos x="182" y="80"/>
                </a:cxn>
                <a:cxn ang="0">
                  <a:pos x="194" y="92"/>
                </a:cxn>
                <a:cxn ang="0">
                  <a:pos x="200" y="104"/>
                </a:cxn>
                <a:cxn ang="0">
                  <a:pos x="200" y="112"/>
                </a:cxn>
                <a:cxn ang="0">
                  <a:pos x="184" y="150"/>
                </a:cxn>
                <a:cxn ang="0">
                  <a:pos x="170" y="174"/>
                </a:cxn>
                <a:cxn ang="0">
                  <a:pos x="172" y="180"/>
                </a:cxn>
                <a:cxn ang="0">
                  <a:pos x="184" y="208"/>
                </a:cxn>
                <a:cxn ang="0">
                  <a:pos x="186" y="226"/>
                </a:cxn>
                <a:cxn ang="0">
                  <a:pos x="184" y="242"/>
                </a:cxn>
                <a:cxn ang="0">
                  <a:pos x="180" y="262"/>
                </a:cxn>
                <a:cxn ang="0">
                  <a:pos x="180" y="278"/>
                </a:cxn>
                <a:cxn ang="0">
                  <a:pos x="186" y="322"/>
                </a:cxn>
                <a:cxn ang="0">
                  <a:pos x="184" y="336"/>
                </a:cxn>
                <a:cxn ang="0">
                  <a:pos x="174" y="340"/>
                </a:cxn>
                <a:cxn ang="0">
                  <a:pos x="134" y="334"/>
                </a:cxn>
                <a:cxn ang="0">
                  <a:pos x="114" y="330"/>
                </a:cxn>
                <a:cxn ang="0">
                  <a:pos x="112" y="332"/>
                </a:cxn>
                <a:cxn ang="0">
                  <a:pos x="106" y="352"/>
                </a:cxn>
                <a:cxn ang="0">
                  <a:pos x="98" y="370"/>
                </a:cxn>
                <a:cxn ang="0">
                  <a:pos x="94" y="374"/>
                </a:cxn>
                <a:cxn ang="0">
                  <a:pos x="70" y="372"/>
                </a:cxn>
                <a:cxn ang="0">
                  <a:pos x="46" y="356"/>
                </a:cxn>
                <a:cxn ang="0">
                  <a:pos x="36" y="346"/>
                </a:cxn>
                <a:cxn ang="0">
                  <a:pos x="26" y="330"/>
                </a:cxn>
                <a:cxn ang="0">
                  <a:pos x="24" y="314"/>
                </a:cxn>
                <a:cxn ang="0">
                  <a:pos x="26" y="306"/>
                </a:cxn>
                <a:cxn ang="0">
                  <a:pos x="32" y="256"/>
                </a:cxn>
                <a:cxn ang="0">
                  <a:pos x="38" y="230"/>
                </a:cxn>
                <a:cxn ang="0">
                  <a:pos x="40" y="226"/>
                </a:cxn>
                <a:cxn ang="0">
                  <a:pos x="42" y="218"/>
                </a:cxn>
                <a:cxn ang="0">
                  <a:pos x="46" y="164"/>
                </a:cxn>
                <a:cxn ang="0">
                  <a:pos x="44" y="158"/>
                </a:cxn>
                <a:cxn ang="0">
                  <a:pos x="34" y="134"/>
                </a:cxn>
                <a:cxn ang="0">
                  <a:pos x="6" y="76"/>
                </a:cxn>
                <a:cxn ang="0">
                  <a:pos x="0" y="50"/>
                </a:cxn>
                <a:cxn ang="0">
                  <a:pos x="6" y="38"/>
                </a:cxn>
                <a:cxn ang="0">
                  <a:pos x="12" y="32"/>
                </a:cxn>
              </a:cxnLst>
              <a:rect l="0" t="0" r="r" b="b"/>
              <a:pathLst>
                <a:path w="200" h="374">
                  <a:moveTo>
                    <a:pt x="12" y="32"/>
                  </a:moveTo>
                  <a:lnTo>
                    <a:pt x="12" y="32"/>
                  </a:lnTo>
                  <a:lnTo>
                    <a:pt x="20" y="30"/>
                  </a:lnTo>
                  <a:lnTo>
                    <a:pt x="26" y="32"/>
                  </a:lnTo>
                  <a:lnTo>
                    <a:pt x="30" y="36"/>
                  </a:lnTo>
                  <a:lnTo>
                    <a:pt x="34" y="40"/>
                  </a:lnTo>
                  <a:lnTo>
                    <a:pt x="42" y="50"/>
                  </a:lnTo>
                  <a:lnTo>
                    <a:pt x="46" y="54"/>
                  </a:lnTo>
                  <a:lnTo>
                    <a:pt x="52" y="56"/>
                  </a:lnTo>
                  <a:lnTo>
                    <a:pt x="52" y="56"/>
                  </a:lnTo>
                  <a:lnTo>
                    <a:pt x="62" y="54"/>
                  </a:lnTo>
                  <a:lnTo>
                    <a:pt x="72" y="50"/>
                  </a:lnTo>
                  <a:lnTo>
                    <a:pt x="80" y="44"/>
                  </a:lnTo>
                  <a:lnTo>
                    <a:pt x="92" y="30"/>
                  </a:lnTo>
                  <a:lnTo>
                    <a:pt x="92" y="30"/>
                  </a:lnTo>
                  <a:lnTo>
                    <a:pt x="102" y="14"/>
                  </a:lnTo>
                  <a:lnTo>
                    <a:pt x="108" y="4"/>
                  </a:lnTo>
                  <a:lnTo>
                    <a:pt x="110" y="2"/>
                  </a:lnTo>
                  <a:lnTo>
                    <a:pt x="114" y="0"/>
                  </a:lnTo>
                  <a:lnTo>
                    <a:pt x="126" y="4"/>
                  </a:lnTo>
                  <a:lnTo>
                    <a:pt x="126" y="4"/>
                  </a:lnTo>
                  <a:lnTo>
                    <a:pt x="138" y="6"/>
                  </a:lnTo>
                  <a:lnTo>
                    <a:pt x="146" y="6"/>
                  </a:lnTo>
                  <a:lnTo>
                    <a:pt x="152" y="10"/>
                  </a:lnTo>
                  <a:lnTo>
                    <a:pt x="160" y="18"/>
                  </a:lnTo>
                  <a:lnTo>
                    <a:pt x="160" y="18"/>
                  </a:lnTo>
                  <a:lnTo>
                    <a:pt x="166" y="32"/>
                  </a:lnTo>
                  <a:lnTo>
                    <a:pt x="172" y="48"/>
                  </a:lnTo>
                  <a:lnTo>
                    <a:pt x="176" y="72"/>
                  </a:lnTo>
                  <a:lnTo>
                    <a:pt x="176" y="72"/>
                  </a:lnTo>
                  <a:lnTo>
                    <a:pt x="178" y="78"/>
                  </a:lnTo>
                  <a:lnTo>
                    <a:pt x="182" y="80"/>
                  </a:lnTo>
                  <a:lnTo>
                    <a:pt x="190" y="88"/>
                  </a:lnTo>
                  <a:lnTo>
                    <a:pt x="194" y="92"/>
                  </a:lnTo>
                  <a:lnTo>
                    <a:pt x="198" y="98"/>
                  </a:lnTo>
                  <a:lnTo>
                    <a:pt x="200" y="104"/>
                  </a:lnTo>
                  <a:lnTo>
                    <a:pt x="200" y="112"/>
                  </a:lnTo>
                  <a:lnTo>
                    <a:pt x="200" y="112"/>
                  </a:lnTo>
                  <a:lnTo>
                    <a:pt x="194" y="132"/>
                  </a:lnTo>
                  <a:lnTo>
                    <a:pt x="184" y="150"/>
                  </a:lnTo>
                  <a:lnTo>
                    <a:pt x="170" y="174"/>
                  </a:lnTo>
                  <a:lnTo>
                    <a:pt x="170" y="174"/>
                  </a:lnTo>
                  <a:lnTo>
                    <a:pt x="170" y="176"/>
                  </a:lnTo>
                  <a:lnTo>
                    <a:pt x="172" y="180"/>
                  </a:lnTo>
                  <a:lnTo>
                    <a:pt x="178" y="192"/>
                  </a:lnTo>
                  <a:lnTo>
                    <a:pt x="184" y="208"/>
                  </a:lnTo>
                  <a:lnTo>
                    <a:pt x="186" y="216"/>
                  </a:lnTo>
                  <a:lnTo>
                    <a:pt x="186" y="226"/>
                  </a:lnTo>
                  <a:lnTo>
                    <a:pt x="186" y="226"/>
                  </a:lnTo>
                  <a:lnTo>
                    <a:pt x="184" y="242"/>
                  </a:lnTo>
                  <a:lnTo>
                    <a:pt x="182" y="250"/>
                  </a:lnTo>
                  <a:lnTo>
                    <a:pt x="180" y="262"/>
                  </a:lnTo>
                  <a:lnTo>
                    <a:pt x="180" y="278"/>
                  </a:lnTo>
                  <a:lnTo>
                    <a:pt x="180" y="278"/>
                  </a:lnTo>
                  <a:lnTo>
                    <a:pt x="182" y="302"/>
                  </a:lnTo>
                  <a:lnTo>
                    <a:pt x="186" y="322"/>
                  </a:lnTo>
                  <a:lnTo>
                    <a:pt x="186" y="330"/>
                  </a:lnTo>
                  <a:lnTo>
                    <a:pt x="184" y="336"/>
                  </a:lnTo>
                  <a:lnTo>
                    <a:pt x="180" y="340"/>
                  </a:lnTo>
                  <a:lnTo>
                    <a:pt x="174" y="340"/>
                  </a:lnTo>
                  <a:lnTo>
                    <a:pt x="174" y="340"/>
                  </a:lnTo>
                  <a:lnTo>
                    <a:pt x="134" y="334"/>
                  </a:lnTo>
                  <a:lnTo>
                    <a:pt x="118" y="330"/>
                  </a:lnTo>
                  <a:lnTo>
                    <a:pt x="114" y="330"/>
                  </a:lnTo>
                  <a:lnTo>
                    <a:pt x="112" y="332"/>
                  </a:lnTo>
                  <a:lnTo>
                    <a:pt x="112" y="332"/>
                  </a:lnTo>
                  <a:lnTo>
                    <a:pt x="110" y="340"/>
                  </a:lnTo>
                  <a:lnTo>
                    <a:pt x="106" y="352"/>
                  </a:lnTo>
                  <a:lnTo>
                    <a:pt x="102" y="366"/>
                  </a:lnTo>
                  <a:lnTo>
                    <a:pt x="98" y="370"/>
                  </a:lnTo>
                  <a:lnTo>
                    <a:pt x="94" y="374"/>
                  </a:lnTo>
                  <a:lnTo>
                    <a:pt x="94" y="374"/>
                  </a:lnTo>
                  <a:lnTo>
                    <a:pt x="82" y="374"/>
                  </a:lnTo>
                  <a:lnTo>
                    <a:pt x="70" y="372"/>
                  </a:lnTo>
                  <a:lnTo>
                    <a:pt x="58" y="366"/>
                  </a:lnTo>
                  <a:lnTo>
                    <a:pt x="46" y="356"/>
                  </a:lnTo>
                  <a:lnTo>
                    <a:pt x="46" y="356"/>
                  </a:lnTo>
                  <a:lnTo>
                    <a:pt x="36" y="346"/>
                  </a:lnTo>
                  <a:lnTo>
                    <a:pt x="28" y="336"/>
                  </a:lnTo>
                  <a:lnTo>
                    <a:pt x="26" y="330"/>
                  </a:lnTo>
                  <a:lnTo>
                    <a:pt x="24" y="322"/>
                  </a:lnTo>
                  <a:lnTo>
                    <a:pt x="24" y="314"/>
                  </a:lnTo>
                  <a:lnTo>
                    <a:pt x="26" y="306"/>
                  </a:lnTo>
                  <a:lnTo>
                    <a:pt x="26" y="306"/>
                  </a:lnTo>
                  <a:lnTo>
                    <a:pt x="30" y="282"/>
                  </a:lnTo>
                  <a:lnTo>
                    <a:pt x="32" y="256"/>
                  </a:lnTo>
                  <a:lnTo>
                    <a:pt x="36" y="236"/>
                  </a:lnTo>
                  <a:lnTo>
                    <a:pt x="38" y="230"/>
                  </a:lnTo>
                  <a:lnTo>
                    <a:pt x="40" y="226"/>
                  </a:lnTo>
                  <a:lnTo>
                    <a:pt x="40" y="226"/>
                  </a:lnTo>
                  <a:lnTo>
                    <a:pt x="42" y="224"/>
                  </a:lnTo>
                  <a:lnTo>
                    <a:pt x="42" y="218"/>
                  </a:lnTo>
                  <a:lnTo>
                    <a:pt x="44" y="204"/>
                  </a:lnTo>
                  <a:lnTo>
                    <a:pt x="46" y="164"/>
                  </a:lnTo>
                  <a:lnTo>
                    <a:pt x="46" y="164"/>
                  </a:lnTo>
                  <a:lnTo>
                    <a:pt x="44" y="158"/>
                  </a:lnTo>
                  <a:lnTo>
                    <a:pt x="42" y="150"/>
                  </a:lnTo>
                  <a:lnTo>
                    <a:pt x="34" y="134"/>
                  </a:lnTo>
                  <a:lnTo>
                    <a:pt x="14" y="94"/>
                  </a:lnTo>
                  <a:lnTo>
                    <a:pt x="6" y="76"/>
                  </a:lnTo>
                  <a:lnTo>
                    <a:pt x="0" y="58"/>
                  </a:lnTo>
                  <a:lnTo>
                    <a:pt x="0" y="50"/>
                  </a:lnTo>
                  <a:lnTo>
                    <a:pt x="2" y="44"/>
                  </a:lnTo>
                  <a:lnTo>
                    <a:pt x="6" y="38"/>
                  </a:lnTo>
                  <a:lnTo>
                    <a:pt x="12" y="32"/>
                  </a:lnTo>
                  <a:lnTo>
                    <a:pt x="12" y="32"/>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96" name="Freeform 62"/>
            <p:cNvSpPr>
              <a:spLocks/>
            </p:cNvSpPr>
            <p:nvPr/>
          </p:nvSpPr>
          <p:spPr bwMode="auto">
            <a:xfrm>
              <a:off x="3197465" y="5587482"/>
              <a:ext cx="92980" cy="83834"/>
            </a:xfrm>
            <a:custGeom>
              <a:avLst/>
              <a:gdLst/>
              <a:ahLst/>
              <a:cxnLst>
                <a:cxn ang="0">
                  <a:pos x="2" y="40"/>
                </a:cxn>
                <a:cxn ang="0">
                  <a:pos x="2" y="40"/>
                </a:cxn>
                <a:cxn ang="0">
                  <a:pos x="16" y="56"/>
                </a:cxn>
                <a:cxn ang="0">
                  <a:pos x="44" y="80"/>
                </a:cxn>
                <a:cxn ang="0">
                  <a:pos x="44" y="80"/>
                </a:cxn>
                <a:cxn ang="0">
                  <a:pos x="62" y="94"/>
                </a:cxn>
                <a:cxn ang="0">
                  <a:pos x="76" y="106"/>
                </a:cxn>
                <a:cxn ang="0">
                  <a:pos x="82" y="108"/>
                </a:cxn>
                <a:cxn ang="0">
                  <a:pos x="86" y="110"/>
                </a:cxn>
                <a:cxn ang="0">
                  <a:pos x="92" y="108"/>
                </a:cxn>
                <a:cxn ang="0">
                  <a:pos x="98" y="106"/>
                </a:cxn>
                <a:cxn ang="0">
                  <a:pos x="98" y="106"/>
                </a:cxn>
                <a:cxn ang="0">
                  <a:pos x="108" y="96"/>
                </a:cxn>
                <a:cxn ang="0">
                  <a:pos x="118" y="84"/>
                </a:cxn>
                <a:cxn ang="0">
                  <a:pos x="122" y="72"/>
                </a:cxn>
                <a:cxn ang="0">
                  <a:pos x="122" y="68"/>
                </a:cxn>
                <a:cxn ang="0">
                  <a:pos x="120" y="66"/>
                </a:cxn>
                <a:cxn ang="0">
                  <a:pos x="120" y="66"/>
                </a:cxn>
                <a:cxn ang="0">
                  <a:pos x="112" y="62"/>
                </a:cxn>
                <a:cxn ang="0">
                  <a:pos x="108" y="56"/>
                </a:cxn>
                <a:cxn ang="0">
                  <a:pos x="104" y="44"/>
                </a:cxn>
                <a:cxn ang="0">
                  <a:pos x="104" y="44"/>
                </a:cxn>
                <a:cxn ang="0">
                  <a:pos x="94" y="18"/>
                </a:cxn>
                <a:cxn ang="0">
                  <a:pos x="94" y="18"/>
                </a:cxn>
                <a:cxn ang="0">
                  <a:pos x="94" y="16"/>
                </a:cxn>
                <a:cxn ang="0">
                  <a:pos x="94" y="10"/>
                </a:cxn>
                <a:cxn ang="0">
                  <a:pos x="92" y="8"/>
                </a:cxn>
                <a:cxn ang="0">
                  <a:pos x="88" y="4"/>
                </a:cxn>
                <a:cxn ang="0">
                  <a:pos x="82" y="2"/>
                </a:cxn>
                <a:cxn ang="0">
                  <a:pos x="74" y="0"/>
                </a:cxn>
                <a:cxn ang="0">
                  <a:pos x="74" y="0"/>
                </a:cxn>
                <a:cxn ang="0">
                  <a:pos x="62" y="0"/>
                </a:cxn>
                <a:cxn ang="0">
                  <a:pos x="50" y="4"/>
                </a:cxn>
                <a:cxn ang="0">
                  <a:pos x="36" y="8"/>
                </a:cxn>
                <a:cxn ang="0">
                  <a:pos x="22" y="14"/>
                </a:cxn>
                <a:cxn ang="0">
                  <a:pos x="12" y="20"/>
                </a:cxn>
                <a:cxn ang="0">
                  <a:pos x="4" y="28"/>
                </a:cxn>
                <a:cxn ang="0">
                  <a:pos x="0" y="34"/>
                </a:cxn>
                <a:cxn ang="0">
                  <a:pos x="0" y="38"/>
                </a:cxn>
                <a:cxn ang="0">
                  <a:pos x="2" y="40"/>
                </a:cxn>
                <a:cxn ang="0">
                  <a:pos x="2" y="40"/>
                </a:cxn>
              </a:cxnLst>
              <a:rect l="0" t="0" r="r" b="b"/>
              <a:pathLst>
                <a:path w="122" h="110">
                  <a:moveTo>
                    <a:pt x="2" y="40"/>
                  </a:moveTo>
                  <a:lnTo>
                    <a:pt x="2" y="40"/>
                  </a:lnTo>
                  <a:lnTo>
                    <a:pt x="16" y="56"/>
                  </a:lnTo>
                  <a:lnTo>
                    <a:pt x="44" y="80"/>
                  </a:lnTo>
                  <a:lnTo>
                    <a:pt x="44" y="80"/>
                  </a:lnTo>
                  <a:lnTo>
                    <a:pt x="62" y="94"/>
                  </a:lnTo>
                  <a:lnTo>
                    <a:pt x="76" y="106"/>
                  </a:lnTo>
                  <a:lnTo>
                    <a:pt x="82" y="108"/>
                  </a:lnTo>
                  <a:lnTo>
                    <a:pt x="86" y="110"/>
                  </a:lnTo>
                  <a:lnTo>
                    <a:pt x="92" y="108"/>
                  </a:lnTo>
                  <a:lnTo>
                    <a:pt x="98" y="106"/>
                  </a:lnTo>
                  <a:lnTo>
                    <a:pt x="98" y="106"/>
                  </a:lnTo>
                  <a:lnTo>
                    <a:pt x="108" y="96"/>
                  </a:lnTo>
                  <a:lnTo>
                    <a:pt x="118" y="84"/>
                  </a:lnTo>
                  <a:lnTo>
                    <a:pt x="122" y="72"/>
                  </a:lnTo>
                  <a:lnTo>
                    <a:pt x="122" y="68"/>
                  </a:lnTo>
                  <a:lnTo>
                    <a:pt x="120" y="66"/>
                  </a:lnTo>
                  <a:lnTo>
                    <a:pt x="120" y="66"/>
                  </a:lnTo>
                  <a:lnTo>
                    <a:pt x="112" y="62"/>
                  </a:lnTo>
                  <a:lnTo>
                    <a:pt x="108" y="56"/>
                  </a:lnTo>
                  <a:lnTo>
                    <a:pt x="104" y="44"/>
                  </a:lnTo>
                  <a:lnTo>
                    <a:pt x="104" y="44"/>
                  </a:lnTo>
                  <a:lnTo>
                    <a:pt x="94" y="18"/>
                  </a:lnTo>
                  <a:lnTo>
                    <a:pt x="94" y="18"/>
                  </a:lnTo>
                  <a:lnTo>
                    <a:pt x="94" y="16"/>
                  </a:lnTo>
                  <a:lnTo>
                    <a:pt x="94" y="10"/>
                  </a:lnTo>
                  <a:lnTo>
                    <a:pt x="92" y="8"/>
                  </a:lnTo>
                  <a:lnTo>
                    <a:pt x="88" y="4"/>
                  </a:lnTo>
                  <a:lnTo>
                    <a:pt x="82" y="2"/>
                  </a:lnTo>
                  <a:lnTo>
                    <a:pt x="74" y="0"/>
                  </a:lnTo>
                  <a:lnTo>
                    <a:pt x="74" y="0"/>
                  </a:lnTo>
                  <a:lnTo>
                    <a:pt x="62" y="0"/>
                  </a:lnTo>
                  <a:lnTo>
                    <a:pt x="50" y="4"/>
                  </a:lnTo>
                  <a:lnTo>
                    <a:pt x="36" y="8"/>
                  </a:lnTo>
                  <a:lnTo>
                    <a:pt x="22" y="14"/>
                  </a:lnTo>
                  <a:lnTo>
                    <a:pt x="12" y="20"/>
                  </a:lnTo>
                  <a:lnTo>
                    <a:pt x="4" y="28"/>
                  </a:lnTo>
                  <a:lnTo>
                    <a:pt x="0" y="34"/>
                  </a:lnTo>
                  <a:lnTo>
                    <a:pt x="0" y="38"/>
                  </a:lnTo>
                  <a:lnTo>
                    <a:pt x="2" y="40"/>
                  </a:lnTo>
                  <a:lnTo>
                    <a:pt x="2" y="40"/>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97" name="Freeform 63"/>
            <p:cNvSpPr>
              <a:spLocks/>
            </p:cNvSpPr>
            <p:nvPr/>
          </p:nvSpPr>
          <p:spPr bwMode="auto">
            <a:xfrm>
              <a:off x="3334649" y="5589007"/>
              <a:ext cx="35058" cy="39631"/>
            </a:xfrm>
            <a:custGeom>
              <a:avLst/>
              <a:gdLst/>
              <a:ahLst/>
              <a:cxnLst>
                <a:cxn ang="0">
                  <a:pos x="0" y="14"/>
                </a:cxn>
                <a:cxn ang="0">
                  <a:pos x="0" y="14"/>
                </a:cxn>
                <a:cxn ang="0">
                  <a:pos x="0" y="18"/>
                </a:cxn>
                <a:cxn ang="0">
                  <a:pos x="0" y="22"/>
                </a:cxn>
                <a:cxn ang="0">
                  <a:pos x="6" y="26"/>
                </a:cxn>
                <a:cxn ang="0">
                  <a:pos x="28" y="36"/>
                </a:cxn>
                <a:cxn ang="0">
                  <a:pos x="28" y="36"/>
                </a:cxn>
                <a:cxn ang="0">
                  <a:pos x="34" y="44"/>
                </a:cxn>
                <a:cxn ang="0">
                  <a:pos x="38" y="50"/>
                </a:cxn>
                <a:cxn ang="0">
                  <a:pos x="40" y="52"/>
                </a:cxn>
                <a:cxn ang="0">
                  <a:pos x="42" y="46"/>
                </a:cxn>
                <a:cxn ang="0">
                  <a:pos x="42" y="46"/>
                </a:cxn>
                <a:cxn ang="0">
                  <a:pos x="44" y="38"/>
                </a:cxn>
                <a:cxn ang="0">
                  <a:pos x="46" y="30"/>
                </a:cxn>
                <a:cxn ang="0">
                  <a:pos x="44" y="24"/>
                </a:cxn>
                <a:cxn ang="0">
                  <a:pos x="40" y="18"/>
                </a:cxn>
                <a:cxn ang="0">
                  <a:pos x="40" y="18"/>
                </a:cxn>
                <a:cxn ang="0">
                  <a:pos x="30" y="8"/>
                </a:cxn>
                <a:cxn ang="0">
                  <a:pos x="24" y="4"/>
                </a:cxn>
                <a:cxn ang="0">
                  <a:pos x="18" y="2"/>
                </a:cxn>
                <a:cxn ang="0">
                  <a:pos x="12" y="0"/>
                </a:cxn>
                <a:cxn ang="0">
                  <a:pos x="8" y="2"/>
                </a:cxn>
                <a:cxn ang="0">
                  <a:pos x="2" y="6"/>
                </a:cxn>
                <a:cxn ang="0">
                  <a:pos x="0" y="14"/>
                </a:cxn>
                <a:cxn ang="0">
                  <a:pos x="0" y="14"/>
                </a:cxn>
              </a:cxnLst>
              <a:rect l="0" t="0" r="r" b="b"/>
              <a:pathLst>
                <a:path w="46" h="52">
                  <a:moveTo>
                    <a:pt x="0" y="14"/>
                  </a:moveTo>
                  <a:lnTo>
                    <a:pt x="0" y="14"/>
                  </a:lnTo>
                  <a:lnTo>
                    <a:pt x="0" y="18"/>
                  </a:lnTo>
                  <a:lnTo>
                    <a:pt x="0" y="22"/>
                  </a:lnTo>
                  <a:lnTo>
                    <a:pt x="6" y="26"/>
                  </a:lnTo>
                  <a:lnTo>
                    <a:pt x="28" y="36"/>
                  </a:lnTo>
                  <a:lnTo>
                    <a:pt x="28" y="36"/>
                  </a:lnTo>
                  <a:lnTo>
                    <a:pt x="34" y="44"/>
                  </a:lnTo>
                  <a:lnTo>
                    <a:pt x="38" y="50"/>
                  </a:lnTo>
                  <a:lnTo>
                    <a:pt x="40" y="52"/>
                  </a:lnTo>
                  <a:lnTo>
                    <a:pt x="42" y="46"/>
                  </a:lnTo>
                  <a:lnTo>
                    <a:pt x="42" y="46"/>
                  </a:lnTo>
                  <a:lnTo>
                    <a:pt x="44" y="38"/>
                  </a:lnTo>
                  <a:lnTo>
                    <a:pt x="46" y="30"/>
                  </a:lnTo>
                  <a:lnTo>
                    <a:pt x="44" y="24"/>
                  </a:lnTo>
                  <a:lnTo>
                    <a:pt x="40" y="18"/>
                  </a:lnTo>
                  <a:lnTo>
                    <a:pt x="40" y="18"/>
                  </a:lnTo>
                  <a:lnTo>
                    <a:pt x="30" y="8"/>
                  </a:lnTo>
                  <a:lnTo>
                    <a:pt x="24" y="4"/>
                  </a:lnTo>
                  <a:lnTo>
                    <a:pt x="18" y="2"/>
                  </a:lnTo>
                  <a:lnTo>
                    <a:pt x="12" y="0"/>
                  </a:lnTo>
                  <a:lnTo>
                    <a:pt x="8" y="2"/>
                  </a:lnTo>
                  <a:lnTo>
                    <a:pt x="2" y="6"/>
                  </a:lnTo>
                  <a:lnTo>
                    <a:pt x="0" y="14"/>
                  </a:lnTo>
                  <a:lnTo>
                    <a:pt x="0" y="14"/>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98" name="Freeform 64"/>
            <p:cNvSpPr>
              <a:spLocks/>
            </p:cNvSpPr>
            <p:nvPr/>
          </p:nvSpPr>
          <p:spPr bwMode="auto">
            <a:xfrm>
              <a:off x="2266140" y="4767430"/>
              <a:ext cx="1044120" cy="1070032"/>
            </a:xfrm>
            <a:custGeom>
              <a:avLst/>
              <a:gdLst/>
              <a:ahLst/>
              <a:cxnLst>
                <a:cxn ang="0">
                  <a:pos x="1370" y="694"/>
                </a:cxn>
                <a:cxn ang="0">
                  <a:pos x="1334" y="768"/>
                </a:cxn>
                <a:cxn ang="0">
                  <a:pos x="1172" y="820"/>
                </a:cxn>
                <a:cxn ang="0">
                  <a:pos x="1074" y="854"/>
                </a:cxn>
                <a:cxn ang="0">
                  <a:pos x="1016" y="910"/>
                </a:cxn>
                <a:cxn ang="0">
                  <a:pos x="908" y="1038"/>
                </a:cxn>
                <a:cxn ang="0">
                  <a:pos x="930" y="1148"/>
                </a:cxn>
                <a:cxn ang="0">
                  <a:pos x="958" y="1180"/>
                </a:cxn>
                <a:cxn ang="0">
                  <a:pos x="924" y="1190"/>
                </a:cxn>
                <a:cxn ang="0">
                  <a:pos x="850" y="1228"/>
                </a:cxn>
                <a:cxn ang="0">
                  <a:pos x="838" y="1316"/>
                </a:cxn>
                <a:cxn ang="0">
                  <a:pos x="792" y="1320"/>
                </a:cxn>
                <a:cxn ang="0">
                  <a:pos x="720" y="1334"/>
                </a:cxn>
                <a:cxn ang="0">
                  <a:pos x="672" y="1400"/>
                </a:cxn>
                <a:cxn ang="0">
                  <a:pos x="572" y="1394"/>
                </a:cxn>
                <a:cxn ang="0">
                  <a:pos x="452" y="1356"/>
                </a:cxn>
                <a:cxn ang="0">
                  <a:pos x="368" y="1328"/>
                </a:cxn>
                <a:cxn ang="0">
                  <a:pos x="318" y="1352"/>
                </a:cxn>
                <a:cxn ang="0">
                  <a:pos x="240" y="1344"/>
                </a:cxn>
                <a:cxn ang="0">
                  <a:pos x="204" y="1380"/>
                </a:cxn>
                <a:cxn ang="0">
                  <a:pos x="134" y="1316"/>
                </a:cxn>
                <a:cxn ang="0">
                  <a:pos x="112" y="1212"/>
                </a:cxn>
                <a:cxn ang="0">
                  <a:pos x="82" y="1118"/>
                </a:cxn>
                <a:cxn ang="0">
                  <a:pos x="22" y="1110"/>
                </a:cxn>
                <a:cxn ang="0">
                  <a:pos x="2" y="1054"/>
                </a:cxn>
                <a:cxn ang="0">
                  <a:pos x="26" y="978"/>
                </a:cxn>
                <a:cxn ang="0">
                  <a:pos x="86" y="988"/>
                </a:cxn>
                <a:cxn ang="0">
                  <a:pos x="86" y="944"/>
                </a:cxn>
                <a:cxn ang="0">
                  <a:pos x="64" y="866"/>
                </a:cxn>
                <a:cxn ang="0">
                  <a:pos x="106" y="822"/>
                </a:cxn>
                <a:cxn ang="0">
                  <a:pos x="72" y="704"/>
                </a:cxn>
                <a:cxn ang="0">
                  <a:pos x="78" y="684"/>
                </a:cxn>
                <a:cxn ang="0">
                  <a:pos x="136" y="672"/>
                </a:cxn>
                <a:cxn ang="0">
                  <a:pos x="162" y="612"/>
                </a:cxn>
                <a:cxn ang="0">
                  <a:pos x="194" y="564"/>
                </a:cxn>
                <a:cxn ang="0">
                  <a:pos x="198" y="506"/>
                </a:cxn>
                <a:cxn ang="0">
                  <a:pos x="280" y="418"/>
                </a:cxn>
                <a:cxn ang="0">
                  <a:pos x="222" y="310"/>
                </a:cxn>
                <a:cxn ang="0">
                  <a:pos x="142" y="316"/>
                </a:cxn>
                <a:cxn ang="0">
                  <a:pos x="110" y="276"/>
                </a:cxn>
                <a:cxn ang="0">
                  <a:pos x="86" y="222"/>
                </a:cxn>
                <a:cxn ang="0">
                  <a:pos x="24" y="92"/>
                </a:cxn>
                <a:cxn ang="0">
                  <a:pos x="26" y="34"/>
                </a:cxn>
                <a:cxn ang="0">
                  <a:pos x="98" y="8"/>
                </a:cxn>
                <a:cxn ang="0">
                  <a:pos x="140" y="18"/>
                </a:cxn>
                <a:cxn ang="0">
                  <a:pos x="194" y="0"/>
                </a:cxn>
                <a:cxn ang="0">
                  <a:pos x="234" y="20"/>
                </a:cxn>
                <a:cxn ang="0">
                  <a:pos x="332" y="100"/>
                </a:cxn>
                <a:cxn ang="0">
                  <a:pos x="476" y="172"/>
                </a:cxn>
                <a:cxn ang="0">
                  <a:pos x="548" y="226"/>
                </a:cxn>
                <a:cxn ang="0">
                  <a:pos x="624" y="232"/>
                </a:cxn>
                <a:cxn ang="0">
                  <a:pos x="766" y="320"/>
                </a:cxn>
                <a:cxn ang="0">
                  <a:pos x="844" y="370"/>
                </a:cxn>
                <a:cxn ang="0">
                  <a:pos x="924" y="436"/>
                </a:cxn>
                <a:cxn ang="0">
                  <a:pos x="982" y="490"/>
                </a:cxn>
                <a:cxn ang="0">
                  <a:pos x="1106" y="534"/>
                </a:cxn>
                <a:cxn ang="0">
                  <a:pos x="1198" y="610"/>
                </a:cxn>
                <a:cxn ang="0">
                  <a:pos x="1354" y="658"/>
                </a:cxn>
              </a:cxnLst>
              <a:rect l="0" t="0" r="r" b="b"/>
              <a:pathLst>
                <a:path w="1370" h="1404">
                  <a:moveTo>
                    <a:pt x="1354" y="658"/>
                  </a:moveTo>
                  <a:lnTo>
                    <a:pt x="1354" y="658"/>
                  </a:lnTo>
                  <a:lnTo>
                    <a:pt x="1358" y="662"/>
                  </a:lnTo>
                  <a:lnTo>
                    <a:pt x="1366" y="670"/>
                  </a:lnTo>
                  <a:lnTo>
                    <a:pt x="1370" y="676"/>
                  </a:lnTo>
                  <a:lnTo>
                    <a:pt x="1370" y="684"/>
                  </a:lnTo>
                  <a:lnTo>
                    <a:pt x="1370" y="694"/>
                  </a:lnTo>
                  <a:lnTo>
                    <a:pt x="1368" y="708"/>
                  </a:lnTo>
                  <a:lnTo>
                    <a:pt x="1368" y="708"/>
                  </a:lnTo>
                  <a:lnTo>
                    <a:pt x="1358" y="732"/>
                  </a:lnTo>
                  <a:lnTo>
                    <a:pt x="1350" y="750"/>
                  </a:lnTo>
                  <a:lnTo>
                    <a:pt x="1346" y="758"/>
                  </a:lnTo>
                  <a:lnTo>
                    <a:pt x="1340" y="762"/>
                  </a:lnTo>
                  <a:lnTo>
                    <a:pt x="1334" y="768"/>
                  </a:lnTo>
                  <a:lnTo>
                    <a:pt x="1326" y="770"/>
                  </a:lnTo>
                  <a:lnTo>
                    <a:pt x="1326" y="770"/>
                  </a:lnTo>
                  <a:lnTo>
                    <a:pt x="1308" y="776"/>
                  </a:lnTo>
                  <a:lnTo>
                    <a:pt x="1284" y="784"/>
                  </a:lnTo>
                  <a:lnTo>
                    <a:pt x="1214" y="808"/>
                  </a:lnTo>
                  <a:lnTo>
                    <a:pt x="1214" y="808"/>
                  </a:lnTo>
                  <a:lnTo>
                    <a:pt x="1172" y="820"/>
                  </a:lnTo>
                  <a:lnTo>
                    <a:pt x="1134" y="828"/>
                  </a:lnTo>
                  <a:lnTo>
                    <a:pt x="1102" y="834"/>
                  </a:lnTo>
                  <a:lnTo>
                    <a:pt x="1092" y="838"/>
                  </a:lnTo>
                  <a:lnTo>
                    <a:pt x="1084" y="842"/>
                  </a:lnTo>
                  <a:lnTo>
                    <a:pt x="1084" y="842"/>
                  </a:lnTo>
                  <a:lnTo>
                    <a:pt x="1078" y="848"/>
                  </a:lnTo>
                  <a:lnTo>
                    <a:pt x="1074" y="854"/>
                  </a:lnTo>
                  <a:lnTo>
                    <a:pt x="1070" y="868"/>
                  </a:lnTo>
                  <a:lnTo>
                    <a:pt x="1064" y="884"/>
                  </a:lnTo>
                  <a:lnTo>
                    <a:pt x="1058" y="890"/>
                  </a:lnTo>
                  <a:lnTo>
                    <a:pt x="1052" y="894"/>
                  </a:lnTo>
                  <a:lnTo>
                    <a:pt x="1052" y="894"/>
                  </a:lnTo>
                  <a:lnTo>
                    <a:pt x="1036" y="900"/>
                  </a:lnTo>
                  <a:lnTo>
                    <a:pt x="1016" y="910"/>
                  </a:lnTo>
                  <a:lnTo>
                    <a:pt x="1006" y="918"/>
                  </a:lnTo>
                  <a:lnTo>
                    <a:pt x="994" y="928"/>
                  </a:lnTo>
                  <a:lnTo>
                    <a:pt x="982" y="942"/>
                  </a:lnTo>
                  <a:lnTo>
                    <a:pt x="968" y="958"/>
                  </a:lnTo>
                  <a:lnTo>
                    <a:pt x="968" y="958"/>
                  </a:lnTo>
                  <a:lnTo>
                    <a:pt x="918" y="1024"/>
                  </a:lnTo>
                  <a:lnTo>
                    <a:pt x="908" y="1038"/>
                  </a:lnTo>
                  <a:lnTo>
                    <a:pt x="902" y="1048"/>
                  </a:lnTo>
                  <a:lnTo>
                    <a:pt x="898" y="1060"/>
                  </a:lnTo>
                  <a:lnTo>
                    <a:pt x="898" y="1068"/>
                  </a:lnTo>
                  <a:lnTo>
                    <a:pt x="898" y="1068"/>
                  </a:lnTo>
                  <a:lnTo>
                    <a:pt x="912" y="1106"/>
                  </a:lnTo>
                  <a:lnTo>
                    <a:pt x="920" y="1128"/>
                  </a:lnTo>
                  <a:lnTo>
                    <a:pt x="930" y="1148"/>
                  </a:lnTo>
                  <a:lnTo>
                    <a:pt x="930" y="1148"/>
                  </a:lnTo>
                  <a:lnTo>
                    <a:pt x="936" y="1154"/>
                  </a:lnTo>
                  <a:lnTo>
                    <a:pt x="942" y="1160"/>
                  </a:lnTo>
                  <a:lnTo>
                    <a:pt x="954" y="1168"/>
                  </a:lnTo>
                  <a:lnTo>
                    <a:pt x="958" y="1172"/>
                  </a:lnTo>
                  <a:lnTo>
                    <a:pt x="958" y="1176"/>
                  </a:lnTo>
                  <a:lnTo>
                    <a:pt x="958" y="1180"/>
                  </a:lnTo>
                  <a:lnTo>
                    <a:pt x="952" y="1184"/>
                  </a:lnTo>
                  <a:lnTo>
                    <a:pt x="952" y="1184"/>
                  </a:lnTo>
                  <a:lnTo>
                    <a:pt x="946" y="1186"/>
                  </a:lnTo>
                  <a:lnTo>
                    <a:pt x="942" y="1188"/>
                  </a:lnTo>
                  <a:lnTo>
                    <a:pt x="936" y="1186"/>
                  </a:lnTo>
                  <a:lnTo>
                    <a:pt x="932" y="1188"/>
                  </a:lnTo>
                  <a:lnTo>
                    <a:pt x="924" y="1190"/>
                  </a:lnTo>
                  <a:lnTo>
                    <a:pt x="914" y="1196"/>
                  </a:lnTo>
                  <a:lnTo>
                    <a:pt x="902" y="1204"/>
                  </a:lnTo>
                  <a:lnTo>
                    <a:pt x="902" y="1204"/>
                  </a:lnTo>
                  <a:lnTo>
                    <a:pt x="886" y="1214"/>
                  </a:lnTo>
                  <a:lnTo>
                    <a:pt x="874" y="1220"/>
                  </a:lnTo>
                  <a:lnTo>
                    <a:pt x="856" y="1224"/>
                  </a:lnTo>
                  <a:lnTo>
                    <a:pt x="850" y="1228"/>
                  </a:lnTo>
                  <a:lnTo>
                    <a:pt x="844" y="1234"/>
                  </a:lnTo>
                  <a:lnTo>
                    <a:pt x="842" y="1246"/>
                  </a:lnTo>
                  <a:lnTo>
                    <a:pt x="838" y="1264"/>
                  </a:lnTo>
                  <a:lnTo>
                    <a:pt x="838" y="1264"/>
                  </a:lnTo>
                  <a:lnTo>
                    <a:pt x="838" y="1282"/>
                  </a:lnTo>
                  <a:lnTo>
                    <a:pt x="838" y="1298"/>
                  </a:lnTo>
                  <a:lnTo>
                    <a:pt x="838" y="1316"/>
                  </a:lnTo>
                  <a:lnTo>
                    <a:pt x="836" y="1322"/>
                  </a:lnTo>
                  <a:lnTo>
                    <a:pt x="832" y="1324"/>
                  </a:lnTo>
                  <a:lnTo>
                    <a:pt x="824" y="1326"/>
                  </a:lnTo>
                  <a:lnTo>
                    <a:pt x="812" y="1326"/>
                  </a:lnTo>
                  <a:lnTo>
                    <a:pt x="812" y="1326"/>
                  </a:lnTo>
                  <a:lnTo>
                    <a:pt x="800" y="1324"/>
                  </a:lnTo>
                  <a:lnTo>
                    <a:pt x="792" y="1320"/>
                  </a:lnTo>
                  <a:lnTo>
                    <a:pt x="776" y="1312"/>
                  </a:lnTo>
                  <a:lnTo>
                    <a:pt x="770" y="1310"/>
                  </a:lnTo>
                  <a:lnTo>
                    <a:pt x="760" y="1310"/>
                  </a:lnTo>
                  <a:lnTo>
                    <a:pt x="750" y="1314"/>
                  </a:lnTo>
                  <a:lnTo>
                    <a:pt x="734" y="1322"/>
                  </a:lnTo>
                  <a:lnTo>
                    <a:pt x="734" y="1322"/>
                  </a:lnTo>
                  <a:lnTo>
                    <a:pt x="720" y="1334"/>
                  </a:lnTo>
                  <a:lnTo>
                    <a:pt x="712" y="1346"/>
                  </a:lnTo>
                  <a:lnTo>
                    <a:pt x="704" y="1360"/>
                  </a:lnTo>
                  <a:lnTo>
                    <a:pt x="698" y="1372"/>
                  </a:lnTo>
                  <a:lnTo>
                    <a:pt x="692" y="1384"/>
                  </a:lnTo>
                  <a:lnTo>
                    <a:pt x="684" y="1392"/>
                  </a:lnTo>
                  <a:lnTo>
                    <a:pt x="678" y="1396"/>
                  </a:lnTo>
                  <a:lnTo>
                    <a:pt x="672" y="1400"/>
                  </a:lnTo>
                  <a:lnTo>
                    <a:pt x="666" y="1402"/>
                  </a:lnTo>
                  <a:lnTo>
                    <a:pt x="656" y="1402"/>
                  </a:lnTo>
                  <a:lnTo>
                    <a:pt x="656" y="1402"/>
                  </a:lnTo>
                  <a:lnTo>
                    <a:pt x="610" y="1404"/>
                  </a:lnTo>
                  <a:lnTo>
                    <a:pt x="594" y="1402"/>
                  </a:lnTo>
                  <a:lnTo>
                    <a:pt x="572" y="1394"/>
                  </a:lnTo>
                  <a:lnTo>
                    <a:pt x="572" y="1394"/>
                  </a:lnTo>
                  <a:lnTo>
                    <a:pt x="548" y="1386"/>
                  </a:lnTo>
                  <a:lnTo>
                    <a:pt x="526" y="1382"/>
                  </a:lnTo>
                  <a:lnTo>
                    <a:pt x="506" y="1378"/>
                  </a:lnTo>
                  <a:lnTo>
                    <a:pt x="480" y="1370"/>
                  </a:lnTo>
                  <a:lnTo>
                    <a:pt x="480" y="1370"/>
                  </a:lnTo>
                  <a:lnTo>
                    <a:pt x="466" y="1364"/>
                  </a:lnTo>
                  <a:lnTo>
                    <a:pt x="452" y="1356"/>
                  </a:lnTo>
                  <a:lnTo>
                    <a:pt x="426" y="1340"/>
                  </a:lnTo>
                  <a:lnTo>
                    <a:pt x="414" y="1334"/>
                  </a:lnTo>
                  <a:lnTo>
                    <a:pt x="402" y="1328"/>
                  </a:lnTo>
                  <a:lnTo>
                    <a:pt x="390" y="1326"/>
                  </a:lnTo>
                  <a:lnTo>
                    <a:pt x="378" y="1326"/>
                  </a:lnTo>
                  <a:lnTo>
                    <a:pt x="378" y="1326"/>
                  </a:lnTo>
                  <a:lnTo>
                    <a:pt x="368" y="1328"/>
                  </a:lnTo>
                  <a:lnTo>
                    <a:pt x="360" y="1332"/>
                  </a:lnTo>
                  <a:lnTo>
                    <a:pt x="350" y="1340"/>
                  </a:lnTo>
                  <a:lnTo>
                    <a:pt x="344" y="1344"/>
                  </a:lnTo>
                  <a:lnTo>
                    <a:pt x="338" y="1348"/>
                  </a:lnTo>
                  <a:lnTo>
                    <a:pt x="330" y="1350"/>
                  </a:lnTo>
                  <a:lnTo>
                    <a:pt x="318" y="1352"/>
                  </a:lnTo>
                  <a:lnTo>
                    <a:pt x="318" y="1352"/>
                  </a:lnTo>
                  <a:lnTo>
                    <a:pt x="306" y="1352"/>
                  </a:lnTo>
                  <a:lnTo>
                    <a:pt x="292" y="1350"/>
                  </a:lnTo>
                  <a:lnTo>
                    <a:pt x="270" y="1344"/>
                  </a:lnTo>
                  <a:lnTo>
                    <a:pt x="252" y="1340"/>
                  </a:lnTo>
                  <a:lnTo>
                    <a:pt x="244" y="1340"/>
                  </a:lnTo>
                  <a:lnTo>
                    <a:pt x="240" y="1344"/>
                  </a:lnTo>
                  <a:lnTo>
                    <a:pt x="240" y="1344"/>
                  </a:lnTo>
                  <a:lnTo>
                    <a:pt x="236" y="1354"/>
                  </a:lnTo>
                  <a:lnTo>
                    <a:pt x="230" y="1366"/>
                  </a:lnTo>
                  <a:lnTo>
                    <a:pt x="224" y="1376"/>
                  </a:lnTo>
                  <a:lnTo>
                    <a:pt x="220" y="1380"/>
                  </a:lnTo>
                  <a:lnTo>
                    <a:pt x="216" y="1380"/>
                  </a:lnTo>
                  <a:lnTo>
                    <a:pt x="216" y="1380"/>
                  </a:lnTo>
                  <a:lnTo>
                    <a:pt x="204" y="1380"/>
                  </a:lnTo>
                  <a:lnTo>
                    <a:pt x="194" y="1378"/>
                  </a:lnTo>
                  <a:lnTo>
                    <a:pt x="182" y="1370"/>
                  </a:lnTo>
                  <a:lnTo>
                    <a:pt x="164" y="1356"/>
                  </a:lnTo>
                  <a:lnTo>
                    <a:pt x="164" y="1356"/>
                  </a:lnTo>
                  <a:lnTo>
                    <a:pt x="148" y="1340"/>
                  </a:lnTo>
                  <a:lnTo>
                    <a:pt x="140" y="1328"/>
                  </a:lnTo>
                  <a:lnTo>
                    <a:pt x="134" y="1316"/>
                  </a:lnTo>
                  <a:lnTo>
                    <a:pt x="128" y="1294"/>
                  </a:lnTo>
                  <a:lnTo>
                    <a:pt x="128" y="1294"/>
                  </a:lnTo>
                  <a:lnTo>
                    <a:pt x="116" y="1248"/>
                  </a:lnTo>
                  <a:lnTo>
                    <a:pt x="112" y="1230"/>
                  </a:lnTo>
                  <a:lnTo>
                    <a:pt x="112" y="1218"/>
                  </a:lnTo>
                  <a:lnTo>
                    <a:pt x="112" y="1218"/>
                  </a:lnTo>
                  <a:lnTo>
                    <a:pt x="112" y="1212"/>
                  </a:lnTo>
                  <a:lnTo>
                    <a:pt x="114" y="1208"/>
                  </a:lnTo>
                  <a:lnTo>
                    <a:pt x="114" y="1198"/>
                  </a:lnTo>
                  <a:lnTo>
                    <a:pt x="106" y="1174"/>
                  </a:lnTo>
                  <a:lnTo>
                    <a:pt x="106" y="1174"/>
                  </a:lnTo>
                  <a:lnTo>
                    <a:pt x="96" y="1146"/>
                  </a:lnTo>
                  <a:lnTo>
                    <a:pt x="86" y="1124"/>
                  </a:lnTo>
                  <a:lnTo>
                    <a:pt x="82" y="1118"/>
                  </a:lnTo>
                  <a:lnTo>
                    <a:pt x="76" y="1112"/>
                  </a:lnTo>
                  <a:lnTo>
                    <a:pt x="68" y="1108"/>
                  </a:lnTo>
                  <a:lnTo>
                    <a:pt x="58" y="1106"/>
                  </a:lnTo>
                  <a:lnTo>
                    <a:pt x="58" y="1106"/>
                  </a:lnTo>
                  <a:lnTo>
                    <a:pt x="48" y="1106"/>
                  </a:lnTo>
                  <a:lnTo>
                    <a:pt x="38" y="1108"/>
                  </a:lnTo>
                  <a:lnTo>
                    <a:pt x="22" y="1110"/>
                  </a:lnTo>
                  <a:lnTo>
                    <a:pt x="16" y="1110"/>
                  </a:lnTo>
                  <a:lnTo>
                    <a:pt x="12" y="1108"/>
                  </a:lnTo>
                  <a:lnTo>
                    <a:pt x="8" y="1104"/>
                  </a:lnTo>
                  <a:lnTo>
                    <a:pt x="8" y="1096"/>
                  </a:lnTo>
                  <a:lnTo>
                    <a:pt x="8" y="1096"/>
                  </a:lnTo>
                  <a:lnTo>
                    <a:pt x="6" y="1076"/>
                  </a:lnTo>
                  <a:lnTo>
                    <a:pt x="2" y="1054"/>
                  </a:lnTo>
                  <a:lnTo>
                    <a:pt x="0" y="1032"/>
                  </a:lnTo>
                  <a:lnTo>
                    <a:pt x="0" y="1024"/>
                  </a:lnTo>
                  <a:lnTo>
                    <a:pt x="2" y="1018"/>
                  </a:lnTo>
                  <a:lnTo>
                    <a:pt x="2" y="1018"/>
                  </a:lnTo>
                  <a:lnTo>
                    <a:pt x="10" y="1004"/>
                  </a:lnTo>
                  <a:lnTo>
                    <a:pt x="20" y="986"/>
                  </a:lnTo>
                  <a:lnTo>
                    <a:pt x="26" y="978"/>
                  </a:lnTo>
                  <a:lnTo>
                    <a:pt x="34" y="972"/>
                  </a:lnTo>
                  <a:lnTo>
                    <a:pt x="44" y="968"/>
                  </a:lnTo>
                  <a:lnTo>
                    <a:pt x="54" y="968"/>
                  </a:lnTo>
                  <a:lnTo>
                    <a:pt x="54" y="968"/>
                  </a:lnTo>
                  <a:lnTo>
                    <a:pt x="64" y="970"/>
                  </a:lnTo>
                  <a:lnTo>
                    <a:pt x="74" y="976"/>
                  </a:lnTo>
                  <a:lnTo>
                    <a:pt x="86" y="988"/>
                  </a:lnTo>
                  <a:lnTo>
                    <a:pt x="90" y="990"/>
                  </a:lnTo>
                  <a:lnTo>
                    <a:pt x="90" y="990"/>
                  </a:lnTo>
                  <a:lnTo>
                    <a:pt x="92" y="988"/>
                  </a:lnTo>
                  <a:lnTo>
                    <a:pt x="92" y="980"/>
                  </a:lnTo>
                  <a:lnTo>
                    <a:pt x="90" y="964"/>
                  </a:lnTo>
                  <a:lnTo>
                    <a:pt x="90" y="964"/>
                  </a:lnTo>
                  <a:lnTo>
                    <a:pt x="86" y="944"/>
                  </a:lnTo>
                  <a:lnTo>
                    <a:pt x="80" y="928"/>
                  </a:lnTo>
                  <a:lnTo>
                    <a:pt x="68" y="904"/>
                  </a:lnTo>
                  <a:lnTo>
                    <a:pt x="60" y="888"/>
                  </a:lnTo>
                  <a:lnTo>
                    <a:pt x="60" y="880"/>
                  </a:lnTo>
                  <a:lnTo>
                    <a:pt x="60" y="874"/>
                  </a:lnTo>
                  <a:lnTo>
                    <a:pt x="60" y="874"/>
                  </a:lnTo>
                  <a:lnTo>
                    <a:pt x="64" y="866"/>
                  </a:lnTo>
                  <a:lnTo>
                    <a:pt x="70" y="860"/>
                  </a:lnTo>
                  <a:lnTo>
                    <a:pt x="82" y="848"/>
                  </a:lnTo>
                  <a:lnTo>
                    <a:pt x="94" y="840"/>
                  </a:lnTo>
                  <a:lnTo>
                    <a:pt x="102" y="834"/>
                  </a:lnTo>
                  <a:lnTo>
                    <a:pt x="102" y="834"/>
                  </a:lnTo>
                  <a:lnTo>
                    <a:pt x="104" y="830"/>
                  </a:lnTo>
                  <a:lnTo>
                    <a:pt x="106" y="822"/>
                  </a:lnTo>
                  <a:lnTo>
                    <a:pt x="104" y="796"/>
                  </a:lnTo>
                  <a:lnTo>
                    <a:pt x="98" y="766"/>
                  </a:lnTo>
                  <a:lnTo>
                    <a:pt x="94" y="754"/>
                  </a:lnTo>
                  <a:lnTo>
                    <a:pt x="90" y="746"/>
                  </a:lnTo>
                  <a:lnTo>
                    <a:pt x="90" y="746"/>
                  </a:lnTo>
                  <a:lnTo>
                    <a:pt x="82" y="728"/>
                  </a:lnTo>
                  <a:lnTo>
                    <a:pt x="72" y="704"/>
                  </a:lnTo>
                  <a:lnTo>
                    <a:pt x="70" y="694"/>
                  </a:lnTo>
                  <a:lnTo>
                    <a:pt x="70" y="686"/>
                  </a:lnTo>
                  <a:lnTo>
                    <a:pt x="70" y="684"/>
                  </a:lnTo>
                  <a:lnTo>
                    <a:pt x="72" y="682"/>
                  </a:lnTo>
                  <a:lnTo>
                    <a:pt x="74" y="682"/>
                  </a:lnTo>
                  <a:lnTo>
                    <a:pt x="78" y="684"/>
                  </a:lnTo>
                  <a:lnTo>
                    <a:pt x="78" y="684"/>
                  </a:lnTo>
                  <a:lnTo>
                    <a:pt x="94" y="692"/>
                  </a:lnTo>
                  <a:lnTo>
                    <a:pt x="102" y="696"/>
                  </a:lnTo>
                  <a:lnTo>
                    <a:pt x="108" y="698"/>
                  </a:lnTo>
                  <a:lnTo>
                    <a:pt x="116" y="698"/>
                  </a:lnTo>
                  <a:lnTo>
                    <a:pt x="122" y="694"/>
                  </a:lnTo>
                  <a:lnTo>
                    <a:pt x="130" y="686"/>
                  </a:lnTo>
                  <a:lnTo>
                    <a:pt x="136" y="672"/>
                  </a:lnTo>
                  <a:lnTo>
                    <a:pt x="136" y="672"/>
                  </a:lnTo>
                  <a:lnTo>
                    <a:pt x="146" y="644"/>
                  </a:lnTo>
                  <a:lnTo>
                    <a:pt x="150" y="628"/>
                  </a:lnTo>
                  <a:lnTo>
                    <a:pt x="154" y="618"/>
                  </a:lnTo>
                  <a:lnTo>
                    <a:pt x="158" y="616"/>
                  </a:lnTo>
                  <a:lnTo>
                    <a:pt x="162" y="612"/>
                  </a:lnTo>
                  <a:lnTo>
                    <a:pt x="162" y="612"/>
                  </a:lnTo>
                  <a:lnTo>
                    <a:pt x="174" y="606"/>
                  </a:lnTo>
                  <a:lnTo>
                    <a:pt x="184" y="598"/>
                  </a:lnTo>
                  <a:lnTo>
                    <a:pt x="192" y="586"/>
                  </a:lnTo>
                  <a:lnTo>
                    <a:pt x="194" y="578"/>
                  </a:lnTo>
                  <a:lnTo>
                    <a:pt x="194" y="570"/>
                  </a:lnTo>
                  <a:lnTo>
                    <a:pt x="194" y="570"/>
                  </a:lnTo>
                  <a:lnTo>
                    <a:pt x="194" y="564"/>
                  </a:lnTo>
                  <a:lnTo>
                    <a:pt x="192" y="556"/>
                  </a:lnTo>
                  <a:lnTo>
                    <a:pt x="186" y="542"/>
                  </a:lnTo>
                  <a:lnTo>
                    <a:pt x="184" y="534"/>
                  </a:lnTo>
                  <a:lnTo>
                    <a:pt x="186" y="526"/>
                  </a:lnTo>
                  <a:lnTo>
                    <a:pt x="190" y="516"/>
                  </a:lnTo>
                  <a:lnTo>
                    <a:pt x="198" y="506"/>
                  </a:lnTo>
                  <a:lnTo>
                    <a:pt x="198" y="506"/>
                  </a:lnTo>
                  <a:lnTo>
                    <a:pt x="222" y="486"/>
                  </a:lnTo>
                  <a:lnTo>
                    <a:pt x="246" y="468"/>
                  </a:lnTo>
                  <a:lnTo>
                    <a:pt x="268" y="454"/>
                  </a:lnTo>
                  <a:lnTo>
                    <a:pt x="278" y="444"/>
                  </a:lnTo>
                  <a:lnTo>
                    <a:pt x="278" y="444"/>
                  </a:lnTo>
                  <a:lnTo>
                    <a:pt x="280" y="434"/>
                  </a:lnTo>
                  <a:lnTo>
                    <a:pt x="280" y="418"/>
                  </a:lnTo>
                  <a:lnTo>
                    <a:pt x="274" y="398"/>
                  </a:lnTo>
                  <a:lnTo>
                    <a:pt x="266" y="376"/>
                  </a:lnTo>
                  <a:lnTo>
                    <a:pt x="266" y="376"/>
                  </a:lnTo>
                  <a:lnTo>
                    <a:pt x="254" y="352"/>
                  </a:lnTo>
                  <a:lnTo>
                    <a:pt x="238" y="328"/>
                  </a:lnTo>
                  <a:lnTo>
                    <a:pt x="230" y="318"/>
                  </a:lnTo>
                  <a:lnTo>
                    <a:pt x="222" y="310"/>
                  </a:lnTo>
                  <a:lnTo>
                    <a:pt x="212" y="304"/>
                  </a:lnTo>
                  <a:lnTo>
                    <a:pt x="202" y="302"/>
                  </a:lnTo>
                  <a:lnTo>
                    <a:pt x="202" y="302"/>
                  </a:lnTo>
                  <a:lnTo>
                    <a:pt x="190" y="304"/>
                  </a:lnTo>
                  <a:lnTo>
                    <a:pt x="178" y="306"/>
                  </a:lnTo>
                  <a:lnTo>
                    <a:pt x="154" y="314"/>
                  </a:lnTo>
                  <a:lnTo>
                    <a:pt x="142" y="316"/>
                  </a:lnTo>
                  <a:lnTo>
                    <a:pt x="132" y="314"/>
                  </a:lnTo>
                  <a:lnTo>
                    <a:pt x="128" y="310"/>
                  </a:lnTo>
                  <a:lnTo>
                    <a:pt x="122" y="306"/>
                  </a:lnTo>
                  <a:lnTo>
                    <a:pt x="118" y="300"/>
                  </a:lnTo>
                  <a:lnTo>
                    <a:pt x="114" y="292"/>
                  </a:lnTo>
                  <a:lnTo>
                    <a:pt x="114" y="292"/>
                  </a:lnTo>
                  <a:lnTo>
                    <a:pt x="110" y="276"/>
                  </a:lnTo>
                  <a:lnTo>
                    <a:pt x="106" y="260"/>
                  </a:lnTo>
                  <a:lnTo>
                    <a:pt x="106" y="238"/>
                  </a:lnTo>
                  <a:lnTo>
                    <a:pt x="106" y="230"/>
                  </a:lnTo>
                  <a:lnTo>
                    <a:pt x="102" y="224"/>
                  </a:lnTo>
                  <a:lnTo>
                    <a:pt x="96" y="222"/>
                  </a:lnTo>
                  <a:lnTo>
                    <a:pt x="86" y="222"/>
                  </a:lnTo>
                  <a:lnTo>
                    <a:pt x="86" y="222"/>
                  </a:lnTo>
                  <a:lnTo>
                    <a:pt x="40" y="234"/>
                  </a:lnTo>
                  <a:lnTo>
                    <a:pt x="18" y="240"/>
                  </a:lnTo>
                  <a:lnTo>
                    <a:pt x="50" y="174"/>
                  </a:lnTo>
                  <a:lnTo>
                    <a:pt x="50" y="174"/>
                  </a:lnTo>
                  <a:lnTo>
                    <a:pt x="38" y="138"/>
                  </a:lnTo>
                  <a:lnTo>
                    <a:pt x="24" y="92"/>
                  </a:lnTo>
                  <a:lnTo>
                    <a:pt x="24" y="92"/>
                  </a:lnTo>
                  <a:lnTo>
                    <a:pt x="18" y="80"/>
                  </a:lnTo>
                  <a:lnTo>
                    <a:pt x="14" y="66"/>
                  </a:lnTo>
                  <a:lnTo>
                    <a:pt x="14" y="58"/>
                  </a:lnTo>
                  <a:lnTo>
                    <a:pt x="16" y="50"/>
                  </a:lnTo>
                  <a:lnTo>
                    <a:pt x="18" y="42"/>
                  </a:lnTo>
                  <a:lnTo>
                    <a:pt x="26" y="34"/>
                  </a:lnTo>
                  <a:lnTo>
                    <a:pt x="26" y="34"/>
                  </a:lnTo>
                  <a:lnTo>
                    <a:pt x="34" y="26"/>
                  </a:lnTo>
                  <a:lnTo>
                    <a:pt x="44" y="20"/>
                  </a:lnTo>
                  <a:lnTo>
                    <a:pt x="66" y="10"/>
                  </a:lnTo>
                  <a:lnTo>
                    <a:pt x="76" y="6"/>
                  </a:lnTo>
                  <a:lnTo>
                    <a:pt x="84" y="6"/>
                  </a:lnTo>
                  <a:lnTo>
                    <a:pt x="92" y="6"/>
                  </a:lnTo>
                  <a:lnTo>
                    <a:pt x="98" y="8"/>
                  </a:lnTo>
                  <a:lnTo>
                    <a:pt x="98" y="8"/>
                  </a:lnTo>
                  <a:lnTo>
                    <a:pt x="110" y="18"/>
                  </a:lnTo>
                  <a:lnTo>
                    <a:pt x="110" y="18"/>
                  </a:lnTo>
                  <a:lnTo>
                    <a:pt x="114" y="20"/>
                  </a:lnTo>
                  <a:lnTo>
                    <a:pt x="126" y="20"/>
                  </a:lnTo>
                  <a:lnTo>
                    <a:pt x="134" y="20"/>
                  </a:lnTo>
                  <a:lnTo>
                    <a:pt x="140" y="18"/>
                  </a:lnTo>
                  <a:lnTo>
                    <a:pt x="148" y="16"/>
                  </a:lnTo>
                  <a:lnTo>
                    <a:pt x="152" y="10"/>
                  </a:lnTo>
                  <a:lnTo>
                    <a:pt x="152" y="10"/>
                  </a:lnTo>
                  <a:lnTo>
                    <a:pt x="160" y="6"/>
                  </a:lnTo>
                  <a:lnTo>
                    <a:pt x="170" y="2"/>
                  </a:lnTo>
                  <a:lnTo>
                    <a:pt x="182" y="0"/>
                  </a:lnTo>
                  <a:lnTo>
                    <a:pt x="194" y="0"/>
                  </a:lnTo>
                  <a:lnTo>
                    <a:pt x="208" y="0"/>
                  </a:lnTo>
                  <a:lnTo>
                    <a:pt x="220" y="2"/>
                  </a:lnTo>
                  <a:lnTo>
                    <a:pt x="228" y="6"/>
                  </a:lnTo>
                  <a:lnTo>
                    <a:pt x="234" y="10"/>
                  </a:lnTo>
                  <a:lnTo>
                    <a:pt x="234" y="10"/>
                  </a:lnTo>
                  <a:lnTo>
                    <a:pt x="234" y="14"/>
                  </a:lnTo>
                  <a:lnTo>
                    <a:pt x="234" y="20"/>
                  </a:lnTo>
                  <a:lnTo>
                    <a:pt x="232" y="30"/>
                  </a:lnTo>
                  <a:lnTo>
                    <a:pt x="234" y="36"/>
                  </a:lnTo>
                  <a:lnTo>
                    <a:pt x="238" y="42"/>
                  </a:lnTo>
                  <a:lnTo>
                    <a:pt x="246" y="50"/>
                  </a:lnTo>
                  <a:lnTo>
                    <a:pt x="260" y="58"/>
                  </a:lnTo>
                  <a:lnTo>
                    <a:pt x="260" y="58"/>
                  </a:lnTo>
                  <a:lnTo>
                    <a:pt x="332" y="100"/>
                  </a:lnTo>
                  <a:lnTo>
                    <a:pt x="370" y="120"/>
                  </a:lnTo>
                  <a:lnTo>
                    <a:pt x="370" y="120"/>
                  </a:lnTo>
                  <a:lnTo>
                    <a:pt x="408" y="136"/>
                  </a:lnTo>
                  <a:lnTo>
                    <a:pt x="440" y="150"/>
                  </a:lnTo>
                  <a:lnTo>
                    <a:pt x="466" y="164"/>
                  </a:lnTo>
                  <a:lnTo>
                    <a:pt x="466" y="164"/>
                  </a:lnTo>
                  <a:lnTo>
                    <a:pt x="476" y="172"/>
                  </a:lnTo>
                  <a:lnTo>
                    <a:pt x="484" y="182"/>
                  </a:lnTo>
                  <a:lnTo>
                    <a:pt x="500" y="202"/>
                  </a:lnTo>
                  <a:lnTo>
                    <a:pt x="510" y="212"/>
                  </a:lnTo>
                  <a:lnTo>
                    <a:pt x="520" y="220"/>
                  </a:lnTo>
                  <a:lnTo>
                    <a:pt x="534" y="224"/>
                  </a:lnTo>
                  <a:lnTo>
                    <a:pt x="540" y="226"/>
                  </a:lnTo>
                  <a:lnTo>
                    <a:pt x="548" y="226"/>
                  </a:lnTo>
                  <a:lnTo>
                    <a:pt x="548" y="226"/>
                  </a:lnTo>
                  <a:lnTo>
                    <a:pt x="574" y="220"/>
                  </a:lnTo>
                  <a:lnTo>
                    <a:pt x="590" y="216"/>
                  </a:lnTo>
                  <a:lnTo>
                    <a:pt x="598" y="216"/>
                  </a:lnTo>
                  <a:lnTo>
                    <a:pt x="606" y="218"/>
                  </a:lnTo>
                  <a:lnTo>
                    <a:pt x="614" y="222"/>
                  </a:lnTo>
                  <a:lnTo>
                    <a:pt x="624" y="232"/>
                  </a:lnTo>
                  <a:lnTo>
                    <a:pt x="624" y="232"/>
                  </a:lnTo>
                  <a:lnTo>
                    <a:pt x="660" y="266"/>
                  </a:lnTo>
                  <a:lnTo>
                    <a:pt x="674" y="278"/>
                  </a:lnTo>
                  <a:lnTo>
                    <a:pt x="686" y="286"/>
                  </a:lnTo>
                  <a:lnTo>
                    <a:pt x="686" y="286"/>
                  </a:lnTo>
                  <a:lnTo>
                    <a:pt x="716" y="300"/>
                  </a:lnTo>
                  <a:lnTo>
                    <a:pt x="766" y="320"/>
                  </a:lnTo>
                  <a:lnTo>
                    <a:pt x="836" y="346"/>
                  </a:lnTo>
                  <a:lnTo>
                    <a:pt x="836" y="346"/>
                  </a:lnTo>
                  <a:lnTo>
                    <a:pt x="834" y="352"/>
                  </a:lnTo>
                  <a:lnTo>
                    <a:pt x="836" y="358"/>
                  </a:lnTo>
                  <a:lnTo>
                    <a:pt x="840" y="366"/>
                  </a:lnTo>
                  <a:lnTo>
                    <a:pt x="840" y="366"/>
                  </a:lnTo>
                  <a:lnTo>
                    <a:pt x="844" y="370"/>
                  </a:lnTo>
                  <a:lnTo>
                    <a:pt x="850" y="374"/>
                  </a:lnTo>
                  <a:lnTo>
                    <a:pt x="856" y="380"/>
                  </a:lnTo>
                  <a:lnTo>
                    <a:pt x="862" y="388"/>
                  </a:lnTo>
                  <a:lnTo>
                    <a:pt x="862" y="388"/>
                  </a:lnTo>
                  <a:lnTo>
                    <a:pt x="874" y="400"/>
                  </a:lnTo>
                  <a:lnTo>
                    <a:pt x="892" y="414"/>
                  </a:lnTo>
                  <a:lnTo>
                    <a:pt x="924" y="436"/>
                  </a:lnTo>
                  <a:lnTo>
                    <a:pt x="924" y="436"/>
                  </a:lnTo>
                  <a:lnTo>
                    <a:pt x="936" y="446"/>
                  </a:lnTo>
                  <a:lnTo>
                    <a:pt x="950" y="462"/>
                  </a:lnTo>
                  <a:lnTo>
                    <a:pt x="964" y="476"/>
                  </a:lnTo>
                  <a:lnTo>
                    <a:pt x="974" y="484"/>
                  </a:lnTo>
                  <a:lnTo>
                    <a:pt x="974" y="484"/>
                  </a:lnTo>
                  <a:lnTo>
                    <a:pt x="982" y="490"/>
                  </a:lnTo>
                  <a:lnTo>
                    <a:pt x="998" y="498"/>
                  </a:lnTo>
                  <a:lnTo>
                    <a:pt x="1018" y="506"/>
                  </a:lnTo>
                  <a:lnTo>
                    <a:pt x="1048" y="512"/>
                  </a:lnTo>
                  <a:lnTo>
                    <a:pt x="1048" y="512"/>
                  </a:lnTo>
                  <a:lnTo>
                    <a:pt x="1064" y="516"/>
                  </a:lnTo>
                  <a:lnTo>
                    <a:pt x="1078" y="520"/>
                  </a:lnTo>
                  <a:lnTo>
                    <a:pt x="1106" y="534"/>
                  </a:lnTo>
                  <a:lnTo>
                    <a:pt x="1128" y="546"/>
                  </a:lnTo>
                  <a:lnTo>
                    <a:pt x="1140" y="554"/>
                  </a:lnTo>
                  <a:lnTo>
                    <a:pt x="1140" y="554"/>
                  </a:lnTo>
                  <a:lnTo>
                    <a:pt x="1150" y="564"/>
                  </a:lnTo>
                  <a:lnTo>
                    <a:pt x="1168" y="582"/>
                  </a:lnTo>
                  <a:lnTo>
                    <a:pt x="1186" y="600"/>
                  </a:lnTo>
                  <a:lnTo>
                    <a:pt x="1198" y="610"/>
                  </a:lnTo>
                  <a:lnTo>
                    <a:pt x="1198" y="610"/>
                  </a:lnTo>
                  <a:lnTo>
                    <a:pt x="1214" y="618"/>
                  </a:lnTo>
                  <a:lnTo>
                    <a:pt x="1238" y="628"/>
                  </a:lnTo>
                  <a:lnTo>
                    <a:pt x="1286" y="644"/>
                  </a:lnTo>
                  <a:lnTo>
                    <a:pt x="1286" y="644"/>
                  </a:lnTo>
                  <a:lnTo>
                    <a:pt x="1328" y="654"/>
                  </a:lnTo>
                  <a:lnTo>
                    <a:pt x="1354" y="658"/>
                  </a:lnTo>
                  <a:lnTo>
                    <a:pt x="1354" y="658"/>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199" name="Freeform 65"/>
            <p:cNvSpPr>
              <a:spLocks/>
            </p:cNvSpPr>
            <p:nvPr/>
          </p:nvSpPr>
          <p:spPr bwMode="auto">
            <a:xfrm>
              <a:off x="2125908" y="4933574"/>
              <a:ext cx="356677" cy="685918"/>
            </a:xfrm>
            <a:custGeom>
              <a:avLst/>
              <a:gdLst/>
              <a:ahLst/>
              <a:cxnLst>
                <a:cxn ang="0">
                  <a:pos x="22" y="802"/>
                </a:cxn>
                <a:cxn ang="0">
                  <a:pos x="42" y="834"/>
                </a:cxn>
                <a:cxn ang="0">
                  <a:pos x="90" y="842"/>
                </a:cxn>
                <a:cxn ang="0">
                  <a:pos x="114" y="866"/>
                </a:cxn>
                <a:cxn ang="0">
                  <a:pos x="154" y="896"/>
                </a:cxn>
                <a:cxn ang="0">
                  <a:pos x="188" y="896"/>
                </a:cxn>
                <a:cxn ang="0">
                  <a:pos x="192" y="858"/>
                </a:cxn>
                <a:cxn ang="0">
                  <a:pos x="184" y="820"/>
                </a:cxn>
                <a:cxn ang="0">
                  <a:pos x="208" y="766"/>
                </a:cxn>
                <a:cxn ang="0">
                  <a:pos x="240" y="752"/>
                </a:cxn>
                <a:cxn ang="0">
                  <a:pos x="276" y="770"/>
                </a:cxn>
                <a:cxn ang="0">
                  <a:pos x="270" y="728"/>
                </a:cxn>
                <a:cxn ang="0">
                  <a:pos x="246" y="656"/>
                </a:cxn>
                <a:cxn ang="0">
                  <a:pos x="256" y="646"/>
                </a:cxn>
                <a:cxn ang="0">
                  <a:pos x="286" y="616"/>
                </a:cxn>
                <a:cxn ang="0">
                  <a:pos x="292" y="580"/>
                </a:cxn>
                <a:cxn ang="0">
                  <a:pos x="278" y="534"/>
                </a:cxn>
                <a:cxn ang="0">
                  <a:pos x="252" y="472"/>
                </a:cxn>
                <a:cxn ang="0">
                  <a:pos x="268" y="470"/>
                </a:cxn>
                <a:cxn ang="0">
                  <a:pos x="286" y="480"/>
                </a:cxn>
                <a:cxn ang="0">
                  <a:pos x="312" y="468"/>
                </a:cxn>
                <a:cxn ang="0">
                  <a:pos x="330" y="426"/>
                </a:cxn>
                <a:cxn ang="0">
                  <a:pos x="342" y="406"/>
                </a:cxn>
                <a:cxn ang="0">
                  <a:pos x="380" y="370"/>
                </a:cxn>
                <a:cxn ang="0">
                  <a:pos x="378" y="348"/>
                </a:cxn>
                <a:cxn ang="0">
                  <a:pos x="368" y="324"/>
                </a:cxn>
                <a:cxn ang="0">
                  <a:pos x="370" y="300"/>
                </a:cxn>
                <a:cxn ang="0">
                  <a:pos x="458" y="234"/>
                </a:cxn>
                <a:cxn ang="0">
                  <a:pos x="468" y="198"/>
                </a:cxn>
                <a:cxn ang="0">
                  <a:pos x="438" y="134"/>
                </a:cxn>
                <a:cxn ang="0">
                  <a:pos x="410" y="96"/>
                </a:cxn>
                <a:cxn ang="0">
                  <a:pos x="384" y="78"/>
                </a:cxn>
                <a:cxn ang="0">
                  <a:pos x="330" y="94"/>
                </a:cxn>
                <a:cxn ang="0">
                  <a:pos x="306" y="86"/>
                </a:cxn>
                <a:cxn ang="0">
                  <a:pos x="294" y="64"/>
                </a:cxn>
                <a:cxn ang="0">
                  <a:pos x="284" y="2"/>
                </a:cxn>
                <a:cxn ang="0">
                  <a:pos x="202" y="22"/>
                </a:cxn>
                <a:cxn ang="0">
                  <a:pos x="200" y="34"/>
                </a:cxn>
                <a:cxn ang="0">
                  <a:pos x="190" y="100"/>
                </a:cxn>
                <a:cxn ang="0">
                  <a:pos x="190" y="126"/>
                </a:cxn>
                <a:cxn ang="0">
                  <a:pos x="204" y="154"/>
                </a:cxn>
                <a:cxn ang="0">
                  <a:pos x="196" y="180"/>
                </a:cxn>
                <a:cxn ang="0">
                  <a:pos x="142" y="278"/>
                </a:cxn>
                <a:cxn ang="0">
                  <a:pos x="108" y="338"/>
                </a:cxn>
                <a:cxn ang="0">
                  <a:pos x="48" y="420"/>
                </a:cxn>
                <a:cxn ang="0">
                  <a:pos x="8" y="478"/>
                </a:cxn>
                <a:cxn ang="0">
                  <a:pos x="4" y="500"/>
                </a:cxn>
                <a:cxn ang="0">
                  <a:pos x="32" y="502"/>
                </a:cxn>
                <a:cxn ang="0">
                  <a:pos x="48" y="524"/>
                </a:cxn>
                <a:cxn ang="0">
                  <a:pos x="66" y="592"/>
                </a:cxn>
                <a:cxn ang="0">
                  <a:pos x="48" y="638"/>
                </a:cxn>
                <a:cxn ang="0">
                  <a:pos x="32" y="692"/>
                </a:cxn>
                <a:cxn ang="0">
                  <a:pos x="50" y="740"/>
                </a:cxn>
                <a:cxn ang="0">
                  <a:pos x="42" y="758"/>
                </a:cxn>
                <a:cxn ang="0">
                  <a:pos x="20" y="790"/>
                </a:cxn>
              </a:cxnLst>
              <a:rect l="0" t="0" r="r" b="b"/>
              <a:pathLst>
                <a:path w="468" h="900">
                  <a:moveTo>
                    <a:pt x="20" y="790"/>
                  </a:moveTo>
                  <a:lnTo>
                    <a:pt x="20" y="790"/>
                  </a:lnTo>
                  <a:lnTo>
                    <a:pt x="22" y="796"/>
                  </a:lnTo>
                  <a:lnTo>
                    <a:pt x="22" y="802"/>
                  </a:lnTo>
                  <a:lnTo>
                    <a:pt x="26" y="816"/>
                  </a:lnTo>
                  <a:lnTo>
                    <a:pt x="28" y="824"/>
                  </a:lnTo>
                  <a:lnTo>
                    <a:pt x="34" y="830"/>
                  </a:lnTo>
                  <a:lnTo>
                    <a:pt x="42" y="834"/>
                  </a:lnTo>
                  <a:lnTo>
                    <a:pt x="52" y="836"/>
                  </a:lnTo>
                  <a:lnTo>
                    <a:pt x="52" y="836"/>
                  </a:lnTo>
                  <a:lnTo>
                    <a:pt x="76" y="838"/>
                  </a:lnTo>
                  <a:lnTo>
                    <a:pt x="90" y="842"/>
                  </a:lnTo>
                  <a:lnTo>
                    <a:pt x="96" y="846"/>
                  </a:lnTo>
                  <a:lnTo>
                    <a:pt x="102" y="850"/>
                  </a:lnTo>
                  <a:lnTo>
                    <a:pt x="114" y="866"/>
                  </a:lnTo>
                  <a:lnTo>
                    <a:pt x="114" y="866"/>
                  </a:lnTo>
                  <a:lnTo>
                    <a:pt x="122" y="874"/>
                  </a:lnTo>
                  <a:lnTo>
                    <a:pt x="132" y="882"/>
                  </a:lnTo>
                  <a:lnTo>
                    <a:pt x="142" y="890"/>
                  </a:lnTo>
                  <a:lnTo>
                    <a:pt x="154" y="896"/>
                  </a:lnTo>
                  <a:lnTo>
                    <a:pt x="166" y="900"/>
                  </a:lnTo>
                  <a:lnTo>
                    <a:pt x="176" y="900"/>
                  </a:lnTo>
                  <a:lnTo>
                    <a:pt x="184" y="900"/>
                  </a:lnTo>
                  <a:lnTo>
                    <a:pt x="188" y="896"/>
                  </a:lnTo>
                  <a:lnTo>
                    <a:pt x="188" y="896"/>
                  </a:lnTo>
                  <a:lnTo>
                    <a:pt x="192" y="888"/>
                  </a:lnTo>
                  <a:lnTo>
                    <a:pt x="192" y="878"/>
                  </a:lnTo>
                  <a:lnTo>
                    <a:pt x="192" y="858"/>
                  </a:lnTo>
                  <a:lnTo>
                    <a:pt x="188" y="838"/>
                  </a:lnTo>
                  <a:lnTo>
                    <a:pt x="184" y="824"/>
                  </a:lnTo>
                  <a:lnTo>
                    <a:pt x="184" y="824"/>
                  </a:lnTo>
                  <a:lnTo>
                    <a:pt x="184" y="820"/>
                  </a:lnTo>
                  <a:lnTo>
                    <a:pt x="184" y="812"/>
                  </a:lnTo>
                  <a:lnTo>
                    <a:pt x="192" y="794"/>
                  </a:lnTo>
                  <a:lnTo>
                    <a:pt x="200" y="776"/>
                  </a:lnTo>
                  <a:lnTo>
                    <a:pt x="208" y="766"/>
                  </a:lnTo>
                  <a:lnTo>
                    <a:pt x="208" y="766"/>
                  </a:lnTo>
                  <a:lnTo>
                    <a:pt x="216" y="760"/>
                  </a:lnTo>
                  <a:lnTo>
                    <a:pt x="228" y="754"/>
                  </a:lnTo>
                  <a:lnTo>
                    <a:pt x="240" y="752"/>
                  </a:lnTo>
                  <a:lnTo>
                    <a:pt x="246" y="754"/>
                  </a:lnTo>
                  <a:lnTo>
                    <a:pt x="252" y="756"/>
                  </a:lnTo>
                  <a:lnTo>
                    <a:pt x="252" y="756"/>
                  </a:lnTo>
                  <a:lnTo>
                    <a:pt x="276" y="770"/>
                  </a:lnTo>
                  <a:lnTo>
                    <a:pt x="276" y="770"/>
                  </a:lnTo>
                  <a:lnTo>
                    <a:pt x="272" y="736"/>
                  </a:lnTo>
                  <a:lnTo>
                    <a:pt x="272" y="736"/>
                  </a:lnTo>
                  <a:lnTo>
                    <a:pt x="270" y="728"/>
                  </a:lnTo>
                  <a:lnTo>
                    <a:pt x="266" y="714"/>
                  </a:lnTo>
                  <a:lnTo>
                    <a:pt x="256" y="688"/>
                  </a:lnTo>
                  <a:lnTo>
                    <a:pt x="246" y="664"/>
                  </a:lnTo>
                  <a:lnTo>
                    <a:pt x="246" y="656"/>
                  </a:lnTo>
                  <a:lnTo>
                    <a:pt x="246" y="652"/>
                  </a:lnTo>
                  <a:lnTo>
                    <a:pt x="246" y="652"/>
                  </a:lnTo>
                  <a:lnTo>
                    <a:pt x="250" y="650"/>
                  </a:lnTo>
                  <a:lnTo>
                    <a:pt x="256" y="646"/>
                  </a:lnTo>
                  <a:lnTo>
                    <a:pt x="266" y="634"/>
                  </a:lnTo>
                  <a:lnTo>
                    <a:pt x="266" y="634"/>
                  </a:lnTo>
                  <a:lnTo>
                    <a:pt x="286" y="616"/>
                  </a:lnTo>
                  <a:lnTo>
                    <a:pt x="286" y="616"/>
                  </a:lnTo>
                  <a:lnTo>
                    <a:pt x="290" y="604"/>
                  </a:lnTo>
                  <a:lnTo>
                    <a:pt x="292" y="592"/>
                  </a:lnTo>
                  <a:lnTo>
                    <a:pt x="292" y="580"/>
                  </a:lnTo>
                  <a:lnTo>
                    <a:pt x="292" y="580"/>
                  </a:lnTo>
                  <a:lnTo>
                    <a:pt x="290" y="570"/>
                  </a:lnTo>
                  <a:lnTo>
                    <a:pt x="286" y="556"/>
                  </a:lnTo>
                  <a:lnTo>
                    <a:pt x="278" y="534"/>
                  </a:lnTo>
                  <a:lnTo>
                    <a:pt x="278" y="534"/>
                  </a:lnTo>
                  <a:lnTo>
                    <a:pt x="262" y="504"/>
                  </a:lnTo>
                  <a:lnTo>
                    <a:pt x="254" y="484"/>
                  </a:lnTo>
                  <a:lnTo>
                    <a:pt x="252" y="478"/>
                  </a:lnTo>
                  <a:lnTo>
                    <a:pt x="252" y="472"/>
                  </a:lnTo>
                  <a:lnTo>
                    <a:pt x="252" y="472"/>
                  </a:lnTo>
                  <a:lnTo>
                    <a:pt x="256" y="468"/>
                  </a:lnTo>
                  <a:lnTo>
                    <a:pt x="262" y="468"/>
                  </a:lnTo>
                  <a:lnTo>
                    <a:pt x="268" y="470"/>
                  </a:lnTo>
                  <a:lnTo>
                    <a:pt x="272" y="472"/>
                  </a:lnTo>
                  <a:lnTo>
                    <a:pt x="272" y="472"/>
                  </a:lnTo>
                  <a:lnTo>
                    <a:pt x="280" y="476"/>
                  </a:lnTo>
                  <a:lnTo>
                    <a:pt x="286" y="480"/>
                  </a:lnTo>
                  <a:lnTo>
                    <a:pt x="292" y="482"/>
                  </a:lnTo>
                  <a:lnTo>
                    <a:pt x="298" y="482"/>
                  </a:lnTo>
                  <a:lnTo>
                    <a:pt x="306" y="478"/>
                  </a:lnTo>
                  <a:lnTo>
                    <a:pt x="312" y="468"/>
                  </a:lnTo>
                  <a:lnTo>
                    <a:pt x="320" y="454"/>
                  </a:lnTo>
                  <a:lnTo>
                    <a:pt x="320" y="454"/>
                  </a:lnTo>
                  <a:lnTo>
                    <a:pt x="326" y="436"/>
                  </a:lnTo>
                  <a:lnTo>
                    <a:pt x="330" y="426"/>
                  </a:lnTo>
                  <a:lnTo>
                    <a:pt x="334" y="420"/>
                  </a:lnTo>
                  <a:lnTo>
                    <a:pt x="340" y="410"/>
                  </a:lnTo>
                  <a:lnTo>
                    <a:pt x="340" y="410"/>
                  </a:lnTo>
                  <a:lnTo>
                    <a:pt x="342" y="406"/>
                  </a:lnTo>
                  <a:lnTo>
                    <a:pt x="346" y="400"/>
                  </a:lnTo>
                  <a:lnTo>
                    <a:pt x="358" y="390"/>
                  </a:lnTo>
                  <a:lnTo>
                    <a:pt x="370" y="380"/>
                  </a:lnTo>
                  <a:lnTo>
                    <a:pt x="380" y="370"/>
                  </a:lnTo>
                  <a:lnTo>
                    <a:pt x="380" y="370"/>
                  </a:lnTo>
                  <a:lnTo>
                    <a:pt x="380" y="366"/>
                  </a:lnTo>
                  <a:lnTo>
                    <a:pt x="382" y="360"/>
                  </a:lnTo>
                  <a:lnTo>
                    <a:pt x="378" y="348"/>
                  </a:lnTo>
                  <a:lnTo>
                    <a:pt x="374" y="336"/>
                  </a:lnTo>
                  <a:lnTo>
                    <a:pt x="370" y="330"/>
                  </a:lnTo>
                  <a:lnTo>
                    <a:pt x="370" y="330"/>
                  </a:lnTo>
                  <a:lnTo>
                    <a:pt x="368" y="324"/>
                  </a:lnTo>
                  <a:lnTo>
                    <a:pt x="366" y="316"/>
                  </a:lnTo>
                  <a:lnTo>
                    <a:pt x="366" y="308"/>
                  </a:lnTo>
                  <a:lnTo>
                    <a:pt x="368" y="304"/>
                  </a:lnTo>
                  <a:lnTo>
                    <a:pt x="370" y="300"/>
                  </a:lnTo>
                  <a:lnTo>
                    <a:pt x="370" y="300"/>
                  </a:lnTo>
                  <a:lnTo>
                    <a:pt x="418" y="264"/>
                  </a:lnTo>
                  <a:lnTo>
                    <a:pt x="458" y="234"/>
                  </a:lnTo>
                  <a:lnTo>
                    <a:pt x="458" y="234"/>
                  </a:lnTo>
                  <a:lnTo>
                    <a:pt x="460" y="228"/>
                  </a:lnTo>
                  <a:lnTo>
                    <a:pt x="466" y="216"/>
                  </a:lnTo>
                  <a:lnTo>
                    <a:pt x="468" y="208"/>
                  </a:lnTo>
                  <a:lnTo>
                    <a:pt x="468" y="198"/>
                  </a:lnTo>
                  <a:lnTo>
                    <a:pt x="466" y="186"/>
                  </a:lnTo>
                  <a:lnTo>
                    <a:pt x="462" y="172"/>
                  </a:lnTo>
                  <a:lnTo>
                    <a:pt x="462" y="172"/>
                  </a:lnTo>
                  <a:lnTo>
                    <a:pt x="438" y="134"/>
                  </a:lnTo>
                  <a:lnTo>
                    <a:pt x="426" y="112"/>
                  </a:lnTo>
                  <a:lnTo>
                    <a:pt x="416" y="102"/>
                  </a:lnTo>
                  <a:lnTo>
                    <a:pt x="416" y="102"/>
                  </a:lnTo>
                  <a:lnTo>
                    <a:pt x="410" y="96"/>
                  </a:lnTo>
                  <a:lnTo>
                    <a:pt x="402" y="86"/>
                  </a:lnTo>
                  <a:lnTo>
                    <a:pt x="398" y="80"/>
                  </a:lnTo>
                  <a:lnTo>
                    <a:pt x="392" y="78"/>
                  </a:lnTo>
                  <a:lnTo>
                    <a:pt x="384" y="78"/>
                  </a:lnTo>
                  <a:lnTo>
                    <a:pt x="374" y="78"/>
                  </a:lnTo>
                  <a:lnTo>
                    <a:pt x="374" y="78"/>
                  </a:lnTo>
                  <a:lnTo>
                    <a:pt x="342" y="92"/>
                  </a:lnTo>
                  <a:lnTo>
                    <a:pt x="330" y="94"/>
                  </a:lnTo>
                  <a:lnTo>
                    <a:pt x="324" y="96"/>
                  </a:lnTo>
                  <a:lnTo>
                    <a:pt x="324" y="96"/>
                  </a:lnTo>
                  <a:lnTo>
                    <a:pt x="316" y="92"/>
                  </a:lnTo>
                  <a:lnTo>
                    <a:pt x="306" y="86"/>
                  </a:lnTo>
                  <a:lnTo>
                    <a:pt x="298" y="74"/>
                  </a:lnTo>
                  <a:lnTo>
                    <a:pt x="296" y="70"/>
                  </a:lnTo>
                  <a:lnTo>
                    <a:pt x="294" y="64"/>
                  </a:lnTo>
                  <a:lnTo>
                    <a:pt x="294" y="64"/>
                  </a:lnTo>
                  <a:lnTo>
                    <a:pt x="290" y="28"/>
                  </a:lnTo>
                  <a:lnTo>
                    <a:pt x="290" y="2"/>
                  </a:lnTo>
                  <a:lnTo>
                    <a:pt x="290" y="2"/>
                  </a:lnTo>
                  <a:lnTo>
                    <a:pt x="284" y="2"/>
                  </a:lnTo>
                  <a:lnTo>
                    <a:pt x="274" y="0"/>
                  </a:lnTo>
                  <a:lnTo>
                    <a:pt x="274" y="0"/>
                  </a:lnTo>
                  <a:lnTo>
                    <a:pt x="236" y="12"/>
                  </a:lnTo>
                  <a:lnTo>
                    <a:pt x="202" y="22"/>
                  </a:lnTo>
                  <a:lnTo>
                    <a:pt x="202" y="22"/>
                  </a:lnTo>
                  <a:lnTo>
                    <a:pt x="202" y="22"/>
                  </a:lnTo>
                  <a:lnTo>
                    <a:pt x="202" y="24"/>
                  </a:lnTo>
                  <a:lnTo>
                    <a:pt x="200" y="34"/>
                  </a:lnTo>
                  <a:lnTo>
                    <a:pt x="198" y="56"/>
                  </a:lnTo>
                  <a:lnTo>
                    <a:pt x="198" y="56"/>
                  </a:lnTo>
                  <a:lnTo>
                    <a:pt x="194" y="82"/>
                  </a:lnTo>
                  <a:lnTo>
                    <a:pt x="190" y="100"/>
                  </a:lnTo>
                  <a:lnTo>
                    <a:pt x="188" y="112"/>
                  </a:lnTo>
                  <a:lnTo>
                    <a:pt x="188" y="120"/>
                  </a:lnTo>
                  <a:lnTo>
                    <a:pt x="190" y="126"/>
                  </a:lnTo>
                  <a:lnTo>
                    <a:pt x="190" y="126"/>
                  </a:lnTo>
                  <a:lnTo>
                    <a:pt x="192" y="134"/>
                  </a:lnTo>
                  <a:lnTo>
                    <a:pt x="196" y="140"/>
                  </a:lnTo>
                  <a:lnTo>
                    <a:pt x="202" y="148"/>
                  </a:lnTo>
                  <a:lnTo>
                    <a:pt x="204" y="154"/>
                  </a:lnTo>
                  <a:lnTo>
                    <a:pt x="204" y="160"/>
                  </a:lnTo>
                  <a:lnTo>
                    <a:pt x="202" y="170"/>
                  </a:lnTo>
                  <a:lnTo>
                    <a:pt x="196" y="180"/>
                  </a:lnTo>
                  <a:lnTo>
                    <a:pt x="196" y="180"/>
                  </a:lnTo>
                  <a:lnTo>
                    <a:pt x="182" y="206"/>
                  </a:lnTo>
                  <a:lnTo>
                    <a:pt x="166" y="232"/>
                  </a:lnTo>
                  <a:lnTo>
                    <a:pt x="152" y="256"/>
                  </a:lnTo>
                  <a:lnTo>
                    <a:pt x="142" y="278"/>
                  </a:lnTo>
                  <a:lnTo>
                    <a:pt x="142" y="278"/>
                  </a:lnTo>
                  <a:lnTo>
                    <a:pt x="132" y="298"/>
                  </a:lnTo>
                  <a:lnTo>
                    <a:pt x="122" y="318"/>
                  </a:lnTo>
                  <a:lnTo>
                    <a:pt x="108" y="338"/>
                  </a:lnTo>
                  <a:lnTo>
                    <a:pt x="92" y="360"/>
                  </a:lnTo>
                  <a:lnTo>
                    <a:pt x="92" y="360"/>
                  </a:lnTo>
                  <a:lnTo>
                    <a:pt x="62" y="402"/>
                  </a:lnTo>
                  <a:lnTo>
                    <a:pt x="48" y="420"/>
                  </a:lnTo>
                  <a:lnTo>
                    <a:pt x="36" y="440"/>
                  </a:lnTo>
                  <a:lnTo>
                    <a:pt x="36" y="440"/>
                  </a:lnTo>
                  <a:lnTo>
                    <a:pt x="22" y="460"/>
                  </a:lnTo>
                  <a:lnTo>
                    <a:pt x="8" y="478"/>
                  </a:lnTo>
                  <a:lnTo>
                    <a:pt x="2" y="486"/>
                  </a:lnTo>
                  <a:lnTo>
                    <a:pt x="0" y="492"/>
                  </a:lnTo>
                  <a:lnTo>
                    <a:pt x="0" y="498"/>
                  </a:lnTo>
                  <a:lnTo>
                    <a:pt x="4" y="500"/>
                  </a:lnTo>
                  <a:lnTo>
                    <a:pt x="4" y="500"/>
                  </a:lnTo>
                  <a:lnTo>
                    <a:pt x="16" y="500"/>
                  </a:lnTo>
                  <a:lnTo>
                    <a:pt x="28" y="500"/>
                  </a:lnTo>
                  <a:lnTo>
                    <a:pt x="32" y="502"/>
                  </a:lnTo>
                  <a:lnTo>
                    <a:pt x="38" y="506"/>
                  </a:lnTo>
                  <a:lnTo>
                    <a:pt x="42" y="514"/>
                  </a:lnTo>
                  <a:lnTo>
                    <a:pt x="48" y="524"/>
                  </a:lnTo>
                  <a:lnTo>
                    <a:pt x="48" y="524"/>
                  </a:lnTo>
                  <a:lnTo>
                    <a:pt x="58" y="550"/>
                  </a:lnTo>
                  <a:lnTo>
                    <a:pt x="64" y="572"/>
                  </a:lnTo>
                  <a:lnTo>
                    <a:pt x="66" y="582"/>
                  </a:lnTo>
                  <a:lnTo>
                    <a:pt x="66" y="592"/>
                  </a:lnTo>
                  <a:lnTo>
                    <a:pt x="64" y="604"/>
                  </a:lnTo>
                  <a:lnTo>
                    <a:pt x="60" y="616"/>
                  </a:lnTo>
                  <a:lnTo>
                    <a:pt x="60" y="616"/>
                  </a:lnTo>
                  <a:lnTo>
                    <a:pt x="48" y="638"/>
                  </a:lnTo>
                  <a:lnTo>
                    <a:pt x="38" y="658"/>
                  </a:lnTo>
                  <a:lnTo>
                    <a:pt x="34" y="668"/>
                  </a:lnTo>
                  <a:lnTo>
                    <a:pt x="32" y="680"/>
                  </a:lnTo>
                  <a:lnTo>
                    <a:pt x="32" y="692"/>
                  </a:lnTo>
                  <a:lnTo>
                    <a:pt x="36" y="704"/>
                  </a:lnTo>
                  <a:lnTo>
                    <a:pt x="36" y="704"/>
                  </a:lnTo>
                  <a:lnTo>
                    <a:pt x="44" y="728"/>
                  </a:lnTo>
                  <a:lnTo>
                    <a:pt x="50" y="740"/>
                  </a:lnTo>
                  <a:lnTo>
                    <a:pt x="50" y="746"/>
                  </a:lnTo>
                  <a:lnTo>
                    <a:pt x="50" y="750"/>
                  </a:lnTo>
                  <a:lnTo>
                    <a:pt x="42" y="758"/>
                  </a:lnTo>
                  <a:lnTo>
                    <a:pt x="42" y="758"/>
                  </a:lnTo>
                  <a:lnTo>
                    <a:pt x="24" y="774"/>
                  </a:lnTo>
                  <a:lnTo>
                    <a:pt x="18" y="782"/>
                  </a:lnTo>
                  <a:lnTo>
                    <a:pt x="18" y="786"/>
                  </a:lnTo>
                  <a:lnTo>
                    <a:pt x="20" y="790"/>
                  </a:lnTo>
                  <a:lnTo>
                    <a:pt x="20" y="790"/>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242" name="Freeform 75"/>
            <p:cNvSpPr>
              <a:spLocks/>
            </p:cNvSpPr>
            <p:nvPr/>
          </p:nvSpPr>
          <p:spPr bwMode="auto">
            <a:xfrm>
              <a:off x="5200346" y="5794784"/>
              <a:ext cx="18291" cy="25912"/>
            </a:xfrm>
            <a:custGeom>
              <a:avLst/>
              <a:gdLst/>
              <a:ahLst/>
              <a:cxnLst>
                <a:cxn ang="0">
                  <a:pos x="0" y="0"/>
                </a:cxn>
                <a:cxn ang="0">
                  <a:pos x="0" y="0"/>
                </a:cxn>
                <a:cxn ang="0">
                  <a:pos x="2" y="10"/>
                </a:cxn>
                <a:cxn ang="0">
                  <a:pos x="6" y="24"/>
                </a:cxn>
                <a:cxn ang="0">
                  <a:pos x="12" y="32"/>
                </a:cxn>
                <a:cxn ang="0">
                  <a:pos x="16" y="34"/>
                </a:cxn>
                <a:cxn ang="0">
                  <a:pos x="18" y="34"/>
                </a:cxn>
                <a:cxn ang="0">
                  <a:pos x="18" y="34"/>
                </a:cxn>
                <a:cxn ang="0">
                  <a:pos x="22" y="22"/>
                </a:cxn>
                <a:cxn ang="0">
                  <a:pos x="24" y="14"/>
                </a:cxn>
                <a:cxn ang="0">
                  <a:pos x="0" y="0"/>
                </a:cxn>
              </a:cxnLst>
              <a:rect l="0" t="0" r="r" b="b"/>
              <a:pathLst>
                <a:path w="24" h="34">
                  <a:moveTo>
                    <a:pt x="0" y="0"/>
                  </a:moveTo>
                  <a:lnTo>
                    <a:pt x="0" y="0"/>
                  </a:lnTo>
                  <a:lnTo>
                    <a:pt x="2" y="10"/>
                  </a:lnTo>
                  <a:lnTo>
                    <a:pt x="6" y="24"/>
                  </a:lnTo>
                  <a:lnTo>
                    <a:pt x="12" y="32"/>
                  </a:lnTo>
                  <a:lnTo>
                    <a:pt x="16" y="34"/>
                  </a:lnTo>
                  <a:lnTo>
                    <a:pt x="18" y="34"/>
                  </a:lnTo>
                  <a:lnTo>
                    <a:pt x="18" y="34"/>
                  </a:lnTo>
                  <a:lnTo>
                    <a:pt x="22" y="22"/>
                  </a:lnTo>
                  <a:lnTo>
                    <a:pt x="24" y="14"/>
                  </a:lnTo>
                  <a:lnTo>
                    <a:pt x="0" y="0"/>
                  </a:lnTo>
                  <a:close/>
                </a:path>
              </a:pathLst>
            </a:custGeom>
            <a:solidFill>
              <a:schemeClr val="bg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282" name="Freeform 76"/>
            <p:cNvSpPr>
              <a:spLocks/>
            </p:cNvSpPr>
            <p:nvPr/>
          </p:nvSpPr>
          <p:spPr bwMode="auto">
            <a:xfrm>
              <a:off x="5227783" y="5666746"/>
              <a:ext cx="27437" cy="18291"/>
            </a:xfrm>
            <a:custGeom>
              <a:avLst/>
              <a:gdLst/>
              <a:ahLst/>
              <a:cxnLst>
                <a:cxn ang="0">
                  <a:pos x="0" y="0"/>
                </a:cxn>
                <a:cxn ang="0">
                  <a:pos x="0" y="0"/>
                </a:cxn>
                <a:cxn ang="0">
                  <a:pos x="0" y="4"/>
                </a:cxn>
                <a:cxn ang="0">
                  <a:pos x="0" y="14"/>
                </a:cxn>
                <a:cxn ang="0">
                  <a:pos x="0" y="18"/>
                </a:cxn>
                <a:cxn ang="0">
                  <a:pos x="2" y="22"/>
                </a:cxn>
                <a:cxn ang="0">
                  <a:pos x="4" y="24"/>
                </a:cxn>
                <a:cxn ang="0">
                  <a:pos x="10" y="24"/>
                </a:cxn>
                <a:cxn ang="0">
                  <a:pos x="10" y="24"/>
                </a:cxn>
                <a:cxn ang="0">
                  <a:pos x="24" y="20"/>
                </a:cxn>
                <a:cxn ang="0">
                  <a:pos x="26" y="18"/>
                </a:cxn>
                <a:cxn ang="0">
                  <a:pos x="28" y="12"/>
                </a:cxn>
                <a:cxn ang="0">
                  <a:pos x="28" y="12"/>
                </a:cxn>
                <a:cxn ang="0">
                  <a:pos x="30" y="10"/>
                </a:cxn>
                <a:cxn ang="0">
                  <a:pos x="32" y="8"/>
                </a:cxn>
                <a:cxn ang="0">
                  <a:pos x="36" y="8"/>
                </a:cxn>
                <a:cxn ang="0">
                  <a:pos x="36" y="8"/>
                </a:cxn>
                <a:cxn ang="0">
                  <a:pos x="30" y="4"/>
                </a:cxn>
                <a:cxn ang="0">
                  <a:pos x="30" y="4"/>
                </a:cxn>
                <a:cxn ang="0">
                  <a:pos x="20" y="2"/>
                </a:cxn>
                <a:cxn ang="0">
                  <a:pos x="10" y="0"/>
                </a:cxn>
                <a:cxn ang="0">
                  <a:pos x="0" y="0"/>
                </a:cxn>
                <a:cxn ang="0">
                  <a:pos x="0" y="0"/>
                </a:cxn>
              </a:cxnLst>
              <a:rect l="0" t="0" r="r" b="b"/>
              <a:pathLst>
                <a:path w="36" h="24">
                  <a:moveTo>
                    <a:pt x="0" y="0"/>
                  </a:moveTo>
                  <a:lnTo>
                    <a:pt x="0" y="0"/>
                  </a:lnTo>
                  <a:lnTo>
                    <a:pt x="0" y="4"/>
                  </a:lnTo>
                  <a:lnTo>
                    <a:pt x="0" y="14"/>
                  </a:lnTo>
                  <a:lnTo>
                    <a:pt x="0" y="18"/>
                  </a:lnTo>
                  <a:lnTo>
                    <a:pt x="2" y="22"/>
                  </a:lnTo>
                  <a:lnTo>
                    <a:pt x="4" y="24"/>
                  </a:lnTo>
                  <a:lnTo>
                    <a:pt x="10" y="24"/>
                  </a:lnTo>
                  <a:lnTo>
                    <a:pt x="10" y="24"/>
                  </a:lnTo>
                  <a:lnTo>
                    <a:pt x="24" y="20"/>
                  </a:lnTo>
                  <a:lnTo>
                    <a:pt x="26" y="18"/>
                  </a:lnTo>
                  <a:lnTo>
                    <a:pt x="28" y="12"/>
                  </a:lnTo>
                  <a:lnTo>
                    <a:pt x="28" y="12"/>
                  </a:lnTo>
                  <a:lnTo>
                    <a:pt x="30" y="10"/>
                  </a:lnTo>
                  <a:lnTo>
                    <a:pt x="32" y="8"/>
                  </a:lnTo>
                  <a:lnTo>
                    <a:pt x="36" y="8"/>
                  </a:lnTo>
                  <a:lnTo>
                    <a:pt x="36" y="8"/>
                  </a:lnTo>
                  <a:lnTo>
                    <a:pt x="30" y="4"/>
                  </a:lnTo>
                  <a:lnTo>
                    <a:pt x="30" y="4"/>
                  </a:lnTo>
                  <a:lnTo>
                    <a:pt x="20" y="2"/>
                  </a:lnTo>
                  <a:lnTo>
                    <a:pt x="10" y="0"/>
                  </a:lnTo>
                  <a:lnTo>
                    <a:pt x="0" y="0"/>
                  </a:lnTo>
                  <a:lnTo>
                    <a:pt x="0" y="0"/>
                  </a:lnTo>
                  <a:close/>
                </a:path>
              </a:pathLst>
            </a:custGeom>
            <a:solidFill>
              <a:schemeClr val="bg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283" name="Freeform 77"/>
            <p:cNvSpPr>
              <a:spLocks/>
            </p:cNvSpPr>
            <p:nvPr/>
          </p:nvSpPr>
          <p:spPr bwMode="auto">
            <a:xfrm>
              <a:off x="4900067" y="5156118"/>
              <a:ext cx="512153" cy="374968"/>
            </a:xfrm>
            <a:custGeom>
              <a:avLst/>
              <a:gdLst/>
              <a:ahLst/>
              <a:cxnLst>
                <a:cxn ang="0">
                  <a:pos x="670" y="298"/>
                </a:cxn>
                <a:cxn ang="0">
                  <a:pos x="650" y="268"/>
                </a:cxn>
                <a:cxn ang="0">
                  <a:pos x="622" y="262"/>
                </a:cxn>
                <a:cxn ang="0">
                  <a:pos x="610" y="244"/>
                </a:cxn>
                <a:cxn ang="0">
                  <a:pos x="602" y="214"/>
                </a:cxn>
                <a:cxn ang="0">
                  <a:pos x="616" y="186"/>
                </a:cxn>
                <a:cxn ang="0">
                  <a:pos x="622" y="154"/>
                </a:cxn>
                <a:cxn ang="0">
                  <a:pos x="622" y="92"/>
                </a:cxn>
                <a:cxn ang="0">
                  <a:pos x="638" y="84"/>
                </a:cxn>
                <a:cxn ang="0">
                  <a:pos x="664" y="58"/>
                </a:cxn>
                <a:cxn ang="0">
                  <a:pos x="644" y="34"/>
                </a:cxn>
                <a:cxn ang="0">
                  <a:pos x="550" y="8"/>
                </a:cxn>
                <a:cxn ang="0">
                  <a:pos x="506" y="0"/>
                </a:cxn>
                <a:cxn ang="0">
                  <a:pos x="410" y="38"/>
                </a:cxn>
                <a:cxn ang="0">
                  <a:pos x="380" y="74"/>
                </a:cxn>
                <a:cxn ang="0">
                  <a:pos x="332" y="100"/>
                </a:cxn>
                <a:cxn ang="0">
                  <a:pos x="284" y="92"/>
                </a:cxn>
                <a:cxn ang="0">
                  <a:pos x="242" y="98"/>
                </a:cxn>
                <a:cxn ang="0">
                  <a:pos x="216" y="116"/>
                </a:cxn>
                <a:cxn ang="0">
                  <a:pos x="176" y="112"/>
                </a:cxn>
                <a:cxn ang="0">
                  <a:pos x="130" y="88"/>
                </a:cxn>
                <a:cxn ang="0">
                  <a:pos x="96" y="108"/>
                </a:cxn>
                <a:cxn ang="0">
                  <a:pos x="76" y="110"/>
                </a:cxn>
                <a:cxn ang="0">
                  <a:pos x="48" y="64"/>
                </a:cxn>
                <a:cxn ang="0">
                  <a:pos x="30" y="44"/>
                </a:cxn>
                <a:cxn ang="0">
                  <a:pos x="2" y="84"/>
                </a:cxn>
                <a:cxn ang="0">
                  <a:pos x="6" y="108"/>
                </a:cxn>
                <a:cxn ang="0">
                  <a:pos x="28" y="144"/>
                </a:cxn>
                <a:cxn ang="0">
                  <a:pos x="76" y="176"/>
                </a:cxn>
                <a:cxn ang="0">
                  <a:pos x="98" y="196"/>
                </a:cxn>
                <a:cxn ang="0">
                  <a:pos x="94" y="236"/>
                </a:cxn>
                <a:cxn ang="0">
                  <a:pos x="54" y="254"/>
                </a:cxn>
                <a:cxn ang="0">
                  <a:pos x="52" y="282"/>
                </a:cxn>
                <a:cxn ang="0">
                  <a:pos x="62" y="306"/>
                </a:cxn>
                <a:cxn ang="0">
                  <a:pos x="46" y="344"/>
                </a:cxn>
                <a:cxn ang="0">
                  <a:pos x="60" y="368"/>
                </a:cxn>
                <a:cxn ang="0">
                  <a:pos x="96" y="390"/>
                </a:cxn>
                <a:cxn ang="0">
                  <a:pos x="130" y="434"/>
                </a:cxn>
                <a:cxn ang="0">
                  <a:pos x="138" y="478"/>
                </a:cxn>
                <a:cxn ang="0">
                  <a:pos x="150" y="492"/>
                </a:cxn>
                <a:cxn ang="0">
                  <a:pos x="190" y="476"/>
                </a:cxn>
                <a:cxn ang="0">
                  <a:pos x="244" y="458"/>
                </a:cxn>
                <a:cxn ang="0">
                  <a:pos x="270" y="438"/>
                </a:cxn>
                <a:cxn ang="0">
                  <a:pos x="302" y="436"/>
                </a:cxn>
                <a:cxn ang="0">
                  <a:pos x="342" y="452"/>
                </a:cxn>
                <a:cxn ang="0">
                  <a:pos x="398" y="474"/>
                </a:cxn>
                <a:cxn ang="0">
                  <a:pos x="436" y="462"/>
                </a:cxn>
                <a:cxn ang="0">
                  <a:pos x="486" y="456"/>
                </a:cxn>
                <a:cxn ang="0">
                  <a:pos x="494" y="426"/>
                </a:cxn>
                <a:cxn ang="0">
                  <a:pos x="480" y="390"/>
                </a:cxn>
                <a:cxn ang="0">
                  <a:pos x="576" y="324"/>
                </a:cxn>
                <a:cxn ang="0">
                  <a:pos x="650" y="312"/>
                </a:cxn>
              </a:cxnLst>
              <a:rect l="0" t="0" r="r" b="b"/>
              <a:pathLst>
                <a:path w="672" h="492">
                  <a:moveTo>
                    <a:pt x="672" y="316"/>
                  </a:moveTo>
                  <a:lnTo>
                    <a:pt x="672" y="316"/>
                  </a:lnTo>
                  <a:lnTo>
                    <a:pt x="672" y="310"/>
                  </a:lnTo>
                  <a:lnTo>
                    <a:pt x="670" y="298"/>
                  </a:lnTo>
                  <a:lnTo>
                    <a:pt x="668" y="290"/>
                  </a:lnTo>
                  <a:lnTo>
                    <a:pt x="662" y="282"/>
                  </a:lnTo>
                  <a:lnTo>
                    <a:pt x="658" y="274"/>
                  </a:lnTo>
                  <a:lnTo>
                    <a:pt x="650" y="268"/>
                  </a:lnTo>
                  <a:lnTo>
                    <a:pt x="650" y="268"/>
                  </a:lnTo>
                  <a:lnTo>
                    <a:pt x="640" y="264"/>
                  </a:lnTo>
                  <a:lnTo>
                    <a:pt x="634" y="262"/>
                  </a:lnTo>
                  <a:lnTo>
                    <a:pt x="622" y="262"/>
                  </a:lnTo>
                  <a:lnTo>
                    <a:pt x="618" y="260"/>
                  </a:lnTo>
                  <a:lnTo>
                    <a:pt x="616" y="258"/>
                  </a:lnTo>
                  <a:lnTo>
                    <a:pt x="612" y="252"/>
                  </a:lnTo>
                  <a:lnTo>
                    <a:pt x="610" y="244"/>
                  </a:lnTo>
                  <a:lnTo>
                    <a:pt x="610" y="244"/>
                  </a:lnTo>
                  <a:lnTo>
                    <a:pt x="606" y="228"/>
                  </a:lnTo>
                  <a:lnTo>
                    <a:pt x="602" y="218"/>
                  </a:lnTo>
                  <a:lnTo>
                    <a:pt x="602" y="214"/>
                  </a:lnTo>
                  <a:lnTo>
                    <a:pt x="602" y="208"/>
                  </a:lnTo>
                  <a:lnTo>
                    <a:pt x="608" y="196"/>
                  </a:lnTo>
                  <a:lnTo>
                    <a:pt x="608" y="196"/>
                  </a:lnTo>
                  <a:lnTo>
                    <a:pt x="616" y="186"/>
                  </a:lnTo>
                  <a:lnTo>
                    <a:pt x="620" y="180"/>
                  </a:lnTo>
                  <a:lnTo>
                    <a:pt x="622" y="174"/>
                  </a:lnTo>
                  <a:lnTo>
                    <a:pt x="622" y="154"/>
                  </a:lnTo>
                  <a:lnTo>
                    <a:pt x="622" y="154"/>
                  </a:lnTo>
                  <a:lnTo>
                    <a:pt x="618" y="110"/>
                  </a:lnTo>
                  <a:lnTo>
                    <a:pt x="618" y="102"/>
                  </a:lnTo>
                  <a:lnTo>
                    <a:pt x="618" y="96"/>
                  </a:lnTo>
                  <a:lnTo>
                    <a:pt x="622" y="92"/>
                  </a:lnTo>
                  <a:lnTo>
                    <a:pt x="626" y="90"/>
                  </a:lnTo>
                  <a:lnTo>
                    <a:pt x="626" y="90"/>
                  </a:lnTo>
                  <a:lnTo>
                    <a:pt x="632" y="88"/>
                  </a:lnTo>
                  <a:lnTo>
                    <a:pt x="638" y="84"/>
                  </a:lnTo>
                  <a:lnTo>
                    <a:pt x="650" y="76"/>
                  </a:lnTo>
                  <a:lnTo>
                    <a:pt x="664" y="62"/>
                  </a:lnTo>
                  <a:lnTo>
                    <a:pt x="664" y="62"/>
                  </a:lnTo>
                  <a:lnTo>
                    <a:pt x="664" y="58"/>
                  </a:lnTo>
                  <a:lnTo>
                    <a:pt x="660" y="48"/>
                  </a:lnTo>
                  <a:lnTo>
                    <a:pt x="654" y="40"/>
                  </a:lnTo>
                  <a:lnTo>
                    <a:pt x="650" y="36"/>
                  </a:lnTo>
                  <a:lnTo>
                    <a:pt x="644" y="34"/>
                  </a:lnTo>
                  <a:lnTo>
                    <a:pt x="644" y="34"/>
                  </a:lnTo>
                  <a:lnTo>
                    <a:pt x="624" y="30"/>
                  </a:lnTo>
                  <a:lnTo>
                    <a:pt x="598" y="22"/>
                  </a:lnTo>
                  <a:lnTo>
                    <a:pt x="550" y="8"/>
                  </a:lnTo>
                  <a:lnTo>
                    <a:pt x="550" y="8"/>
                  </a:lnTo>
                  <a:lnTo>
                    <a:pt x="520" y="2"/>
                  </a:lnTo>
                  <a:lnTo>
                    <a:pt x="506" y="0"/>
                  </a:lnTo>
                  <a:lnTo>
                    <a:pt x="506" y="0"/>
                  </a:lnTo>
                  <a:lnTo>
                    <a:pt x="470" y="12"/>
                  </a:lnTo>
                  <a:lnTo>
                    <a:pt x="422" y="30"/>
                  </a:lnTo>
                  <a:lnTo>
                    <a:pt x="422" y="30"/>
                  </a:lnTo>
                  <a:lnTo>
                    <a:pt x="410" y="38"/>
                  </a:lnTo>
                  <a:lnTo>
                    <a:pt x="398" y="50"/>
                  </a:lnTo>
                  <a:lnTo>
                    <a:pt x="388" y="64"/>
                  </a:lnTo>
                  <a:lnTo>
                    <a:pt x="380" y="74"/>
                  </a:lnTo>
                  <a:lnTo>
                    <a:pt x="380" y="74"/>
                  </a:lnTo>
                  <a:lnTo>
                    <a:pt x="372" y="82"/>
                  </a:lnTo>
                  <a:lnTo>
                    <a:pt x="358" y="92"/>
                  </a:lnTo>
                  <a:lnTo>
                    <a:pt x="340" y="98"/>
                  </a:lnTo>
                  <a:lnTo>
                    <a:pt x="332" y="100"/>
                  </a:lnTo>
                  <a:lnTo>
                    <a:pt x="322" y="100"/>
                  </a:lnTo>
                  <a:lnTo>
                    <a:pt x="322" y="100"/>
                  </a:lnTo>
                  <a:lnTo>
                    <a:pt x="304" y="96"/>
                  </a:lnTo>
                  <a:lnTo>
                    <a:pt x="284" y="92"/>
                  </a:lnTo>
                  <a:lnTo>
                    <a:pt x="274" y="92"/>
                  </a:lnTo>
                  <a:lnTo>
                    <a:pt x="264" y="92"/>
                  </a:lnTo>
                  <a:lnTo>
                    <a:pt x="254" y="94"/>
                  </a:lnTo>
                  <a:lnTo>
                    <a:pt x="242" y="98"/>
                  </a:lnTo>
                  <a:lnTo>
                    <a:pt x="242" y="98"/>
                  </a:lnTo>
                  <a:lnTo>
                    <a:pt x="232" y="104"/>
                  </a:lnTo>
                  <a:lnTo>
                    <a:pt x="226" y="108"/>
                  </a:lnTo>
                  <a:lnTo>
                    <a:pt x="216" y="116"/>
                  </a:lnTo>
                  <a:lnTo>
                    <a:pt x="210" y="118"/>
                  </a:lnTo>
                  <a:lnTo>
                    <a:pt x="204" y="118"/>
                  </a:lnTo>
                  <a:lnTo>
                    <a:pt x="176" y="112"/>
                  </a:lnTo>
                  <a:lnTo>
                    <a:pt x="176" y="112"/>
                  </a:lnTo>
                  <a:lnTo>
                    <a:pt x="160" y="108"/>
                  </a:lnTo>
                  <a:lnTo>
                    <a:pt x="150" y="102"/>
                  </a:lnTo>
                  <a:lnTo>
                    <a:pt x="138" y="94"/>
                  </a:lnTo>
                  <a:lnTo>
                    <a:pt x="130" y="88"/>
                  </a:lnTo>
                  <a:lnTo>
                    <a:pt x="126" y="88"/>
                  </a:lnTo>
                  <a:lnTo>
                    <a:pt x="122" y="90"/>
                  </a:lnTo>
                  <a:lnTo>
                    <a:pt x="122" y="90"/>
                  </a:lnTo>
                  <a:lnTo>
                    <a:pt x="96" y="108"/>
                  </a:lnTo>
                  <a:lnTo>
                    <a:pt x="84" y="112"/>
                  </a:lnTo>
                  <a:lnTo>
                    <a:pt x="80" y="112"/>
                  </a:lnTo>
                  <a:lnTo>
                    <a:pt x="76" y="110"/>
                  </a:lnTo>
                  <a:lnTo>
                    <a:pt x="76" y="110"/>
                  </a:lnTo>
                  <a:lnTo>
                    <a:pt x="68" y="98"/>
                  </a:lnTo>
                  <a:lnTo>
                    <a:pt x="54" y="78"/>
                  </a:lnTo>
                  <a:lnTo>
                    <a:pt x="54" y="78"/>
                  </a:lnTo>
                  <a:lnTo>
                    <a:pt x="48" y="64"/>
                  </a:lnTo>
                  <a:lnTo>
                    <a:pt x="42" y="50"/>
                  </a:lnTo>
                  <a:lnTo>
                    <a:pt x="40" y="44"/>
                  </a:lnTo>
                  <a:lnTo>
                    <a:pt x="36" y="42"/>
                  </a:lnTo>
                  <a:lnTo>
                    <a:pt x="30" y="44"/>
                  </a:lnTo>
                  <a:lnTo>
                    <a:pt x="24" y="50"/>
                  </a:lnTo>
                  <a:lnTo>
                    <a:pt x="24" y="50"/>
                  </a:lnTo>
                  <a:lnTo>
                    <a:pt x="12" y="68"/>
                  </a:lnTo>
                  <a:lnTo>
                    <a:pt x="2" y="84"/>
                  </a:lnTo>
                  <a:lnTo>
                    <a:pt x="0" y="90"/>
                  </a:lnTo>
                  <a:lnTo>
                    <a:pt x="0" y="96"/>
                  </a:lnTo>
                  <a:lnTo>
                    <a:pt x="2" y="102"/>
                  </a:lnTo>
                  <a:lnTo>
                    <a:pt x="6" y="108"/>
                  </a:lnTo>
                  <a:lnTo>
                    <a:pt x="6" y="108"/>
                  </a:lnTo>
                  <a:lnTo>
                    <a:pt x="14" y="122"/>
                  </a:lnTo>
                  <a:lnTo>
                    <a:pt x="20" y="132"/>
                  </a:lnTo>
                  <a:lnTo>
                    <a:pt x="28" y="144"/>
                  </a:lnTo>
                  <a:lnTo>
                    <a:pt x="40" y="156"/>
                  </a:lnTo>
                  <a:lnTo>
                    <a:pt x="40" y="156"/>
                  </a:lnTo>
                  <a:lnTo>
                    <a:pt x="58" y="166"/>
                  </a:lnTo>
                  <a:lnTo>
                    <a:pt x="76" y="176"/>
                  </a:lnTo>
                  <a:lnTo>
                    <a:pt x="90" y="184"/>
                  </a:lnTo>
                  <a:lnTo>
                    <a:pt x="96" y="190"/>
                  </a:lnTo>
                  <a:lnTo>
                    <a:pt x="98" y="196"/>
                  </a:lnTo>
                  <a:lnTo>
                    <a:pt x="98" y="196"/>
                  </a:lnTo>
                  <a:lnTo>
                    <a:pt x="102" y="210"/>
                  </a:lnTo>
                  <a:lnTo>
                    <a:pt x="102" y="222"/>
                  </a:lnTo>
                  <a:lnTo>
                    <a:pt x="98" y="230"/>
                  </a:lnTo>
                  <a:lnTo>
                    <a:pt x="94" y="236"/>
                  </a:lnTo>
                  <a:lnTo>
                    <a:pt x="94" y="236"/>
                  </a:lnTo>
                  <a:lnTo>
                    <a:pt x="84" y="242"/>
                  </a:lnTo>
                  <a:lnTo>
                    <a:pt x="68" y="248"/>
                  </a:lnTo>
                  <a:lnTo>
                    <a:pt x="54" y="254"/>
                  </a:lnTo>
                  <a:lnTo>
                    <a:pt x="50" y="258"/>
                  </a:lnTo>
                  <a:lnTo>
                    <a:pt x="48" y="264"/>
                  </a:lnTo>
                  <a:lnTo>
                    <a:pt x="48" y="264"/>
                  </a:lnTo>
                  <a:lnTo>
                    <a:pt x="52" y="282"/>
                  </a:lnTo>
                  <a:lnTo>
                    <a:pt x="54" y="292"/>
                  </a:lnTo>
                  <a:lnTo>
                    <a:pt x="60" y="300"/>
                  </a:lnTo>
                  <a:lnTo>
                    <a:pt x="60" y="300"/>
                  </a:lnTo>
                  <a:lnTo>
                    <a:pt x="62" y="306"/>
                  </a:lnTo>
                  <a:lnTo>
                    <a:pt x="60" y="312"/>
                  </a:lnTo>
                  <a:lnTo>
                    <a:pt x="56" y="328"/>
                  </a:lnTo>
                  <a:lnTo>
                    <a:pt x="50" y="340"/>
                  </a:lnTo>
                  <a:lnTo>
                    <a:pt x="46" y="344"/>
                  </a:lnTo>
                  <a:lnTo>
                    <a:pt x="46" y="344"/>
                  </a:lnTo>
                  <a:lnTo>
                    <a:pt x="48" y="348"/>
                  </a:lnTo>
                  <a:lnTo>
                    <a:pt x="52" y="356"/>
                  </a:lnTo>
                  <a:lnTo>
                    <a:pt x="60" y="368"/>
                  </a:lnTo>
                  <a:lnTo>
                    <a:pt x="68" y="374"/>
                  </a:lnTo>
                  <a:lnTo>
                    <a:pt x="76" y="380"/>
                  </a:lnTo>
                  <a:lnTo>
                    <a:pt x="76" y="380"/>
                  </a:lnTo>
                  <a:lnTo>
                    <a:pt x="96" y="390"/>
                  </a:lnTo>
                  <a:lnTo>
                    <a:pt x="110" y="400"/>
                  </a:lnTo>
                  <a:lnTo>
                    <a:pt x="124" y="410"/>
                  </a:lnTo>
                  <a:lnTo>
                    <a:pt x="124" y="410"/>
                  </a:lnTo>
                  <a:lnTo>
                    <a:pt x="130" y="434"/>
                  </a:lnTo>
                  <a:lnTo>
                    <a:pt x="138" y="464"/>
                  </a:lnTo>
                  <a:lnTo>
                    <a:pt x="138" y="464"/>
                  </a:lnTo>
                  <a:lnTo>
                    <a:pt x="138" y="470"/>
                  </a:lnTo>
                  <a:lnTo>
                    <a:pt x="138" y="478"/>
                  </a:lnTo>
                  <a:lnTo>
                    <a:pt x="142" y="486"/>
                  </a:lnTo>
                  <a:lnTo>
                    <a:pt x="144" y="490"/>
                  </a:lnTo>
                  <a:lnTo>
                    <a:pt x="150" y="492"/>
                  </a:lnTo>
                  <a:lnTo>
                    <a:pt x="150" y="492"/>
                  </a:lnTo>
                  <a:lnTo>
                    <a:pt x="154" y="492"/>
                  </a:lnTo>
                  <a:lnTo>
                    <a:pt x="162" y="490"/>
                  </a:lnTo>
                  <a:lnTo>
                    <a:pt x="176" y="484"/>
                  </a:lnTo>
                  <a:lnTo>
                    <a:pt x="190" y="476"/>
                  </a:lnTo>
                  <a:lnTo>
                    <a:pt x="204" y="470"/>
                  </a:lnTo>
                  <a:lnTo>
                    <a:pt x="204" y="470"/>
                  </a:lnTo>
                  <a:lnTo>
                    <a:pt x="230" y="462"/>
                  </a:lnTo>
                  <a:lnTo>
                    <a:pt x="244" y="458"/>
                  </a:lnTo>
                  <a:lnTo>
                    <a:pt x="256" y="450"/>
                  </a:lnTo>
                  <a:lnTo>
                    <a:pt x="256" y="450"/>
                  </a:lnTo>
                  <a:lnTo>
                    <a:pt x="266" y="442"/>
                  </a:lnTo>
                  <a:lnTo>
                    <a:pt x="270" y="438"/>
                  </a:lnTo>
                  <a:lnTo>
                    <a:pt x="276" y="434"/>
                  </a:lnTo>
                  <a:lnTo>
                    <a:pt x="282" y="434"/>
                  </a:lnTo>
                  <a:lnTo>
                    <a:pt x="292" y="434"/>
                  </a:lnTo>
                  <a:lnTo>
                    <a:pt x="302" y="436"/>
                  </a:lnTo>
                  <a:lnTo>
                    <a:pt x="316" y="440"/>
                  </a:lnTo>
                  <a:lnTo>
                    <a:pt x="316" y="440"/>
                  </a:lnTo>
                  <a:lnTo>
                    <a:pt x="330" y="446"/>
                  </a:lnTo>
                  <a:lnTo>
                    <a:pt x="342" y="452"/>
                  </a:lnTo>
                  <a:lnTo>
                    <a:pt x="364" y="466"/>
                  </a:lnTo>
                  <a:lnTo>
                    <a:pt x="374" y="472"/>
                  </a:lnTo>
                  <a:lnTo>
                    <a:pt x="386" y="474"/>
                  </a:lnTo>
                  <a:lnTo>
                    <a:pt x="398" y="474"/>
                  </a:lnTo>
                  <a:lnTo>
                    <a:pt x="410" y="470"/>
                  </a:lnTo>
                  <a:lnTo>
                    <a:pt x="410" y="470"/>
                  </a:lnTo>
                  <a:lnTo>
                    <a:pt x="422" y="464"/>
                  </a:lnTo>
                  <a:lnTo>
                    <a:pt x="436" y="462"/>
                  </a:lnTo>
                  <a:lnTo>
                    <a:pt x="460" y="464"/>
                  </a:lnTo>
                  <a:lnTo>
                    <a:pt x="470" y="464"/>
                  </a:lnTo>
                  <a:lnTo>
                    <a:pt x="478" y="462"/>
                  </a:lnTo>
                  <a:lnTo>
                    <a:pt x="486" y="456"/>
                  </a:lnTo>
                  <a:lnTo>
                    <a:pt x="490" y="448"/>
                  </a:lnTo>
                  <a:lnTo>
                    <a:pt x="490" y="448"/>
                  </a:lnTo>
                  <a:lnTo>
                    <a:pt x="494" y="436"/>
                  </a:lnTo>
                  <a:lnTo>
                    <a:pt x="494" y="426"/>
                  </a:lnTo>
                  <a:lnTo>
                    <a:pt x="492" y="418"/>
                  </a:lnTo>
                  <a:lnTo>
                    <a:pt x="488" y="410"/>
                  </a:lnTo>
                  <a:lnTo>
                    <a:pt x="482" y="398"/>
                  </a:lnTo>
                  <a:lnTo>
                    <a:pt x="480" y="390"/>
                  </a:lnTo>
                  <a:lnTo>
                    <a:pt x="480" y="390"/>
                  </a:lnTo>
                  <a:lnTo>
                    <a:pt x="488" y="376"/>
                  </a:lnTo>
                  <a:lnTo>
                    <a:pt x="494" y="364"/>
                  </a:lnTo>
                  <a:lnTo>
                    <a:pt x="576" y="324"/>
                  </a:lnTo>
                  <a:lnTo>
                    <a:pt x="576" y="324"/>
                  </a:lnTo>
                  <a:lnTo>
                    <a:pt x="590" y="320"/>
                  </a:lnTo>
                  <a:lnTo>
                    <a:pt x="618" y="316"/>
                  </a:lnTo>
                  <a:lnTo>
                    <a:pt x="650" y="312"/>
                  </a:lnTo>
                  <a:lnTo>
                    <a:pt x="664" y="312"/>
                  </a:lnTo>
                  <a:lnTo>
                    <a:pt x="672" y="316"/>
                  </a:lnTo>
                  <a:lnTo>
                    <a:pt x="672" y="316"/>
                  </a:lnTo>
                  <a:close/>
                </a:path>
              </a:pathLst>
            </a:custGeom>
            <a:solidFill>
              <a:schemeClr val="bg2">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291" name="Freeform 79"/>
            <p:cNvSpPr>
              <a:spLocks/>
            </p:cNvSpPr>
            <p:nvPr/>
          </p:nvSpPr>
          <p:spPr bwMode="auto">
            <a:xfrm>
              <a:off x="4592166" y="4968632"/>
              <a:ext cx="385639" cy="503006"/>
            </a:xfrm>
            <a:custGeom>
              <a:avLst/>
              <a:gdLst/>
              <a:ahLst/>
              <a:cxnLst>
                <a:cxn ang="0">
                  <a:pos x="130" y="6"/>
                </a:cxn>
                <a:cxn ang="0">
                  <a:pos x="176" y="36"/>
                </a:cxn>
                <a:cxn ang="0">
                  <a:pos x="208" y="64"/>
                </a:cxn>
                <a:cxn ang="0">
                  <a:pos x="208" y="80"/>
                </a:cxn>
                <a:cxn ang="0">
                  <a:pos x="216" y="104"/>
                </a:cxn>
                <a:cxn ang="0">
                  <a:pos x="240" y="124"/>
                </a:cxn>
                <a:cxn ang="0">
                  <a:pos x="278" y="134"/>
                </a:cxn>
                <a:cxn ang="0">
                  <a:pos x="298" y="158"/>
                </a:cxn>
                <a:cxn ang="0">
                  <a:pos x="296" y="188"/>
                </a:cxn>
                <a:cxn ang="0">
                  <a:pos x="306" y="200"/>
                </a:cxn>
                <a:cxn ang="0">
                  <a:pos x="322" y="218"/>
                </a:cxn>
                <a:cxn ang="0">
                  <a:pos x="360" y="220"/>
                </a:cxn>
                <a:cxn ang="0">
                  <a:pos x="394" y="202"/>
                </a:cxn>
                <a:cxn ang="0">
                  <a:pos x="414" y="202"/>
                </a:cxn>
                <a:cxn ang="0">
                  <a:pos x="436" y="228"/>
                </a:cxn>
                <a:cxn ang="0">
                  <a:pos x="412" y="238"/>
                </a:cxn>
                <a:cxn ang="0">
                  <a:pos x="410" y="242"/>
                </a:cxn>
                <a:cxn ang="0">
                  <a:pos x="422" y="276"/>
                </a:cxn>
                <a:cxn ang="0">
                  <a:pos x="432" y="288"/>
                </a:cxn>
                <a:cxn ang="0">
                  <a:pos x="416" y="314"/>
                </a:cxn>
                <a:cxn ang="0">
                  <a:pos x="408" y="340"/>
                </a:cxn>
                <a:cxn ang="0">
                  <a:pos x="428" y="384"/>
                </a:cxn>
                <a:cxn ang="0">
                  <a:pos x="468" y="412"/>
                </a:cxn>
                <a:cxn ang="0">
                  <a:pos x="502" y="442"/>
                </a:cxn>
                <a:cxn ang="0">
                  <a:pos x="504" y="480"/>
                </a:cxn>
                <a:cxn ang="0">
                  <a:pos x="474" y="498"/>
                </a:cxn>
                <a:cxn ang="0">
                  <a:pos x="452" y="510"/>
                </a:cxn>
                <a:cxn ang="0">
                  <a:pos x="462" y="558"/>
                </a:cxn>
                <a:cxn ang="0">
                  <a:pos x="454" y="598"/>
                </a:cxn>
                <a:cxn ang="0">
                  <a:pos x="412" y="586"/>
                </a:cxn>
                <a:cxn ang="0">
                  <a:pos x="378" y="594"/>
                </a:cxn>
                <a:cxn ang="0">
                  <a:pos x="338" y="636"/>
                </a:cxn>
                <a:cxn ang="0">
                  <a:pos x="274" y="660"/>
                </a:cxn>
                <a:cxn ang="0">
                  <a:pos x="246" y="636"/>
                </a:cxn>
                <a:cxn ang="0">
                  <a:pos x="200" y="590"/>
                </a:cxn>
                <a:cxn ang="0">
                  <a:pos x="168" y="566"/>
                </a:cxn>
                <a:cxn ang="0">
                  <a:pos x="158" y="562"/>
                </a:cxn>
                <a:cxn ang="0">
                  <a:pos x="172" y="536"/>
                </a:cxn>
                <a:cxn ang="0">
                  <a:pos x="186" y="496"/>
                </a:cxn>
                <a:cxn ang="0">
                  <a:pos x="172" y="484"/>
                </a:cxn>
                <a:cxn ang="0">
                  <a:pos x="116" y="466"/>
                </a:cxn>
                <a:cxn ang="0">
                  <a:pos x="78" y="462"/>
                </a:cxn>
                <a:cxn ang="0">
                  <a:pos x="68" y="446"/>
                </a:cxn>
                <a:cxn ang="0">
                  <a:pos x="94" y="394"/>
                </a:cxn>
                <a:cxn ang="0">
                  <a:pos x="102" y="358"/>
                </a:cxn>
                <a:cxn ang="0">
                  <a:pos x="92" y="338"/>
                </a:cxn>
                <a:cxn ang="0">
                  <a:pos x="72" y="308"/>
                </a:cxn>
                <a:cxn ang="0">
                  <a:pos x="60" y="288"/>
                </a:cxn>
                <a:cxn ang="0">
                  <a:pos x="60" y="252"/>
                </a:cxn>
                <a:cxn ang="0">
                  <a:pos x="74" y="232"/>
                </a:cxn>
                <a:cxn ang="0">
                  <a:pos x="56" y="214"/>
                </a:cxn>
                <a:cxn ang="0">
                  <a:pos x="36" y="212"/>
                </a:cxn>
                <a:cxn ang="0">
                  <a:pos x="28" y="204"/>
                </a:cxn>
                <a:cxn ang="0">
                  <a:pos x="54" y="174"/>
                </a:cxn>
                <a:cxn ang="0">
                  <a:pos x="52" y="164"/>
                </a:cxn>
                <a:cxn ang="0">
                  <a:pos x="32" y="136"/>
                </a:cxn>
                <a:cxn ang="0">
                  <a:pos x="2" y="100"/>
                </a:cxn>
                <a:cxn ang="0">
                  <a:pos x="4" y="76"/>
                </a:cxn>
                <a:cxn ang="0">
                  <a:pos x="14" y="48"/>
                </a:cxn>
                <a:cxn ang="0">
                  <a:pos x="74" y="4"/>
                </a:cxn>
                <a:cxn ang="0">
                  <a:pos x="126" y="0"/>
                </a:cxn>
              </a:cxnLst>
              <a:rect l="0" t="0" r="r" b="b"/>
              <a:pathLst>
                <a:path w="506" h="660">
                  <a:moveTo>
                    <a:pt x="126" y="0"/>
                  </a:moveTo>
                  <a:lnTo>
                    <a:pt x="126" y="0"/>
                  </a:lnTo>
                  <a:lnTo>
                    <a:pt x="126" y="0"/>
                  </a:lnTo>
                  <a:lnTo>
                    <a:pt x="130" y="6"/>
                  </a:lnTo>
                  <a:lnTo>
                    <a:pt x="138" y="12"/>
                  </a:lnTo>
                  <a:lnTo>
                    <a:pt x="156" y="24"/>
                  </a:lnTo>
                  <a:lnTo>
                    <a:pt x="156" y="24"/>
                  </a:lnTo>
                  <a:lnTo>
                    <a:pt x="176" y="36"/>
                  </a:lnTo>
                  <a:lnTo>
                    <a:pt x="194" y="48"/>
                  </a:lnTo>
                  <a:lnTo>
                    <a:pt x="200" y="52"/>
                  </a:lnTo>
                  <a:lnTo>
                    <a:pt x="204" y="58"/>
                  </a:lnTo>
                  <a:lnTo>
                    <a:pt x="208" y="64"/>
                  </a:lnTo>
                  <a:lnTo>
                    <a:pt x="210" y="70"/>
                  </a:lnTo>
                  <a:lnTo>
                    <a:pt x="210" y="70"/>
                  </a:lnTo>
                  <a:lnTo>
                    <a:pt x="210" y="76"/>
                  </a:lnTo>
                  <a:lnTo>
                    <a:pt x="208" y="80"/>
                  </a:lnTo>
                  <a:lnTo>
                    <a:pt x="206" y="84"/>
                  </a:lnTo>
                  <a:lnTo>
                    <a:pt x="206" y="86"/>
                  </a:lnTo>
                  <a:lnTo>
                    <a:pt x="208" y="90"/>
                  </a:lnTo>
                  <a:lnTo>
                    <a:pt x="216" y="104"/>
                  </a:lnTo>
                  <a:lnTo>
                    <a:pt x="216" y="104"/>
                  </a:lnTo>
                  <a:lnTo>
                    <a:pt x="224" y="112"/>
                  </a:lnTo>
                  <a:lnTo>
                    <a:pt x="232" y="120"/>
                  </a:lnTo>
                  <a:lnTo>
                    <a:pt x="240" y="124"/>
                  </a:lnTo>
                  <a:lnTo>
                    <a:pt x="250" y="128"/>
                  </a:lnTo>
                  <a:lnTo>
                    <a:pt x="266" y="132"/>
                  </a:lnTo>
                  <a:lnTo>
                    <a:pt x="278" y="134"/>
                  </a:lnTo>
                  <a:lnTo>
                    <a:pt x="278" y="134"/>
                  </a:lnTo>
                  <a:lnTo>
                    <a:pt x="286" y="136"/>
                  </a:lnTo>
                  <a:lnTo>
                    <a:pt x="294" y="142"/>
                  </a:lnTo>
                  <a:lnTo>
                    <a:pt x="298" y="150"/>
                  </a:lnTo>
                  <a:lnTo>
                    <a:pt x="298" y="158"/>
                  </a:lnTo>
                  <a:lnTo>
                    <a:pt x="298" y="158"/>
                  </a:lnTo>
                  <a:lnTo>
                    <a:pt x="296" y="168"/>
                  </a:lnTo>
                  <a:lnTo>
                    <a:pt x="294" y="178"/>
                  </a:lnTo>
                  <a:lnTo>
                    <a:pt x="296" y="188"/>
                  </a:lnTo>
                  <a:lnTo>
                    <a:pt x="298" y="192"/>
                  </a:lnTo>
                  <a:lnTo>
                    <a:pt x="302" y="196"/>
                  </a:lnTo>
                  <a:lnTo>
                    <a:pt x="302" y="196"/>
                  </a:lnTo>
                  <a:lnTo>
                    <a:pt x="306" y="200"/>
                  </a:lnTo>
                  <a:lnTo>
                    <a:pt x="308" y="204"/>
                  </a:lnTo>
                  <a:lnTo>
                    <a:pt x="312" y="212"/>
                  </a:lnTo>
                  <a:lnTo>
                    <a:pt x="316" y="216"/>
                  </a:lnTo>
                  <a:lnTo>
                    <a:pt x="322" y="218"/>
                  </a:lnTo>
                  <a:lnTo>
                    <a:pt x="332" y="220"/>
                  </a:lnTo>
                  <a:lnTo>
                    <a:pt x="346" y="220"/>
                  </a:lnTo>
                  <a:lnTo>
                    <a:pt x="346" y="220"/>
                  </a:lnTo>
                  <a:lnTo>
                    <a:pt x="360" y="220"/>
                  </a:lnTo>
                  <a:lnTo>
                    <a:pt x="370" y="216"/>
                  </a:lnTo>
                  <a:lnTo>
                    <a:pt x="378" y="212"/>
                  </a:lnTo>
                  <a:lnTo>
                    <a:pt x="384" y="208"/>
                  </a:lnTo>
                  <a:lnTo>
                    <a:pt x="394" y="202"/>
                  </a:lnTo>
                  <a:lnTo>
                    <a:pt x="398" y="200"/>
                  </a:lnTo>
                  <a:lnTo>
                    <a:pt x="406" y="200"/>
                  </a:lnTo>
                  <a:lnTo>
                    <a:pt x="406" y="200"/>
                  </a:lnTo>
                  <a:lnTo>
                    <a:pt x="414" y="202"/>
                  </a:lnTo>
                  <a:lnTo>
                    <a:pt x="422" y="206"/>
                  </a:lnTo>
                  <a:lnTo>
                    <a:pt x="428" y="212"/>
                  </a:lnTo>
                  <a:lnTo>
                    <a:pt x="432" y="218"/>
                  </a:lnTo>
                  <a:lnTo>
                    <a:pt x="436" y="228"/>
                  </a:lnTo>
                  <a:lnTo>
                    <a:pt x="438" y="232"/>
                  </a:lnTo>
                  <a:lnTo>
                    <a:pt x="418" y="236"/>
                  </a:lnTo>
                  <a:lnTo>
                    <a:pt x="418" y="236"/>
                  </a:lnTo>
                  <a:lnTo>
                    <a:pt x="412" y="238"/>
                  </a:lnTo>
                  <a:lnTo>
                    <a:pt x="410" y="240"/>
                  </a:lnTo>
                  <a:lnTo>
                    <a:pt x="410" y="240"/>
                  </a:lnTo>
                  <a:lnTo>
                    <a:pt x="410" y="242"/>
                  </a:lnTo>
                  <a:lnTo>
                    <a:pt x="410" y="242"/>
                  </a:lnTo>
                  <a:lnTo>
                    <a:pt x="412" y="248"/>
                  </a:lnTo>
                  <a:lnTo>
                    <a:pt x="416" y="260"/>
                  </a:lnTo>
                  <a:lnTo>
                    <a:pt x="420" y="272"/>
                  </a:lnTo>
                  <a:lnTo>
                    <a:pt x="422" y="276"/>
                  </a:lnTo>
                  <a:lnTo>
                    <a:pt x="426" y="280"/>
                  </a:lnTo>
                  <a:lnTo>
                    <a:pt x="426" y="280"/>
                  </a:lnTo>
                  <a:lnTo>
                    <a:pt x="430" y="284"/>
                  </a:lnTo>
                  <a:lnTo>
                    <a:pt x="432" y="288"/>
                  </a:lnTo>
                  <a:lnTo>
                    <a:pt x="430" y="292"/>
                  </a:lnTo>
                  <a:lnTo>
                    <a:pt x="428" y="296"/>
                  </a:lnTo>
                  <a:lnTo>
                    <a:pt x="428" y="296"/>
                  </a:lnTo>
                  <a:lnTo>
                    <a:pt x="416" y="314"/>
                  </a:lnTo>
                  <a:lnTo>
                    <a:pt x="410" y="328"/>
                  </a:lnTo>
                  <a:lnTo>
                    <a:pt x="408" y="334"/>
                  </a:lnTo>
                  <a:lnTo>
                    <a:pt x="408" y="340"/>
                  </a:lnTo>
                  <a:lnTo>
                    <a:pt x="408" y="340"/>
                  </a:lnTo>
                  <a:lnTo>
                    <a:pt x="410" y="350"/>
                  </a:lnTo>
                  <a:lnTo>
                    <a:pt x="418" y="364"/>
                  </a:lnTo>
                  <a:lnTo>
                    <a:pt x="428" y="384"/>
                  </a:lnTo>
                  <a:lnTo>
                    <a:pt x="428" y="384"/>
                  </a:lnTo>
                  <a:lnTo>
                    <a:pt x="434" y="390"/>
                  </a:lnTo>
                  <a:lnTo>
                    <a:pt x="446" y="398"/>
                  </a:lnTo>
                  <a:lnTo>
                    <a:pt x="468" y="412"/>
                  </a:lnTo>
                  <a:lnTo>
                    <a:pt x="468" y="412"/>
                  </a:lnTo>
                  <a:lnTo>
                    <a:pt x="486" y="424"/>
                  </a:lnTo>
                  <a:lnTo>
                    <a:pt x="498" y="434"/>
                  </a:lnTo>
                  <a:lnTo>
                    <a:pt x="498" y="434"/>
                  </a:lnTo>
                  <a:lnTo>
                    <a:pt x="502" y="442"/>
                  </a:lnTo>
                  <a:lnTo>
                    <a:pt x="506" y="454"/>
                  </a:lnTo>
                  <a:lnTo>
                    <a:pt x="506" y="468"/>
                  </a:lnTo>
                  <a:lnTo>
                    <a:pt x="506" y="474"/>
                  </a:lnTo>
                  <a:lnTo>
                    <a:pt x="504" y="480"/>
                  </a:lnTo>
                  <a:lnTo>
                    <a:pt x="504" y="480"/>
                  </a:lnTo>
                  <a:lnTo>
                    <a:pt x="498" y="486"/>
                  </a:lnTo>
                  <a:lnTo>
                    <a:pt x="492" y="490"/>
                  </a:lnTo>
                  <a:lnTo>
                    <a:pt x="474" y="498"/>
                  </a:lnTo>
                  <a:lnTo>
                    <a:pt x="460" y="504"/>
                  </a:lnTo>
                  <a:lnTo>
                    <a:pt x="454" y="506"/>
                  </a:lnTo>
                  <a:lnTo>
                    <a:pt x="452" y="510"/>
                  </a:lnTo>
                  <a:lnTo>
                    <a:pt x="452" y="510"/>
                  </a:lnTo>
                  <a:lnTo>
                    <a:pt x="458" y="526"/>
                  </a:lnTo>
                  <a:lnTo>
                    <a:pt x="464" y="546"/>
                  </a:lnTo>
                  <a:lnTo>
                    <a:pt x="464" y="546"/>
                  </a:lnTo>
                  <a:lnTo>
                    <a:pt x="462" y="558"/>
                  </a:lnTo>
                  <a:lnTo>
                    <a:pt x="460" y="570"/>
                  </a:lnTo>
                  <a:lnTo>
                    <a:pt x="456" y="588"/>
                  </a:lnTo>
                  <a:lnTo>
                    <a:pt x="454" y="598"/>
                  </a:lnTo>
                  <a:lnTo>
                    <a:pt x="454" y="598"/>
                  </a:lnTo>
                  <a:lnTo>
                    <a:pt x="438" y="590"/>
                  </a:lnTo>
                  <a:lnTo>
                    <a:pt x="424" y="586"/>
                  </a:lnTo>
                  <a:lnTo>
                    <a:pt x="412" y="586"/>
                  </a:lnTo>
                  <a:lnTo>
                    <a:pt x="412" y="586"/>
                  </a:lnTo>
                  <a:lnTo>
                    <a:pt x="392" y="588"/>
                  </a:lnTo>
                  <a:lnTo>
                    <a:pt x="384" y="590"/>
                  </a:lnTo>
                  <a:lnTo>
                    <a:pt x="378" y="594"/>
                  </a:lnTo>
                  <a:lnTo>
                    <a:pt x="378" y="594"/>
                  </a:lnTo>
                  <a:lnTo>
                    <a:pt x="360" y="616"/>
                  </a:lnTo>
                  <a:lnTo>
                    <a:pt x="348" y="628"/>
                  </a:lnTo>
                  <a:lnTo>
                    <a:pt x="338" y="636"/>
                  </a:lnTo>
                  <a:lnTo>
                    <a:pt x="338" y="636"/>
                  </a:lnTo>
                  <a:lnTo>
                    <a:pt x="308" y="648"/>
                  </a:lnTo>
                  <a:lnTo>
                    <a:pt x="280" y="658"/>
                  </a:lnTo>
                  <a:lnTo>
                    <a:pt x="280" y="658"/>
                  </a:lnTo>
                  <a:lnTo>
                    <a:pt x="274" y="660"/>
                  </a:lnTo>
                  <a:lnTo>
                    <a:pt x="266" y="658"/>
                  </a:lnTo>
                  <a:lnTo>
                    <a:pt x="256" y="656"/>
                  </a:lnTo>
                  <a:lnTo>
                    <a:pt x="256" y="656"/>
                  </a:lnTo>
                  <a:lnTo>
                    <a:pt x="246" y="636"/>
                  </a:lnTo>
                  <a:lnTo>
                    <a:pt x="236" y="624"/>
                  </a:lnTo>
                  <a:lnTo>
                    <a:pt x="230" y="616"/>
                  </a:lnTo>
                  <a:lnTo>
                    <a:pt x="230" y="616"/>
                  </a:lnTo>
                  <a:lnTo>
                    <a:pt x="200" y="590"/>
                  </a:lnTo>
                  <a:lnTo>
                    <a:pt x="182" y="574"/>
                  </a:lnTo>
                  <a:lnTo>
                    <a:pt x="174" y="568"/>
                  </a:lnTo>
                  <a:lnTo>
                    <a:pt x="168" y="566"/>
                  </a:lnTo>
                  <a:lnTo>
                    <a:pt x="168" y="566"/>
                  </a:lnTo>
                  <a:lnTo>
                    <a:pt x="162" y="564"/>
                  </a:lnTo>
                  <a:lnTo>
                    <a:pt x="160" y="564"/>
                  </a:lnTo>
                  <a:lnTo>
                    <a:pt x="158" y="564"/>
                  </a:lnTo>
                  <a:lnTo>
                    <a:pt x="158" y="562"/>
                  </a:lnTo>
                  <a:lnTo>
                    <a:pt x="158" y="562"/>
                  </a:lnTo>
                  <a:lnTo>
                    <a:pt x="158" y="558"/>
                  </a:lnTo>
                  <a:lnTo>
                    <a:pt x="160" y="552"/>
                  </a:lnTo>
                  <a:lnTo>
                    <a:pt x="172" y="536"/>
                  </a:lnTo>
                  <a:lnTo>
                    <a:pt x="192" y="512"/>
                  </a:lnTo>
                  <a:lnTo>
                    <a:pt x="192" y="512"/>
                  </a:lnTo>
                  <a:lnTo>
                    <a:pt x="190" y="506"/>
                  </a:lnTo>
                  <a:lnTo>
                    <a:pt x="186" y="496"/>
                  </a:lnTo>
                  <a:lnTo>
                    <a:pt x="180" y="488"/>
                  </a:lnTo>
                  <a:lnTo>
                    <a:pt x="176" y="484"/>
                  </a:lnTo>
                  <a:lnTo>
                    <a:pt x="172" y="484"/>
                  </a:lnTo>
                  <a:lnTo>
                    <a:pt x="172" y="484"/>
                  </a:lnTo>
                  <a:lnTo>
                    <a:pt x="162" y="482"/>
                  </a:lnTo>
                  <a:lnTo>
                    <a:pt x="146" y="478"/>
                  </a:lnTo>
                  <a:lnTo>
                    <a:pt x="116" y="466"/>
                  </a:lnTo>
                  <a:lnTo>
                    <a:pt x="116" y="466"/>
                  </a:lnTo>
                  <a:lnTo>
                    <a:pt x="110" y="466"/>
                  </a:lnTo>
                  <a:lnTo>
                    <a:pt x="102" y="464"/>
                  </a:lnTo>
                  <a:lnTo>
                    <a:pt x="86" y="464"/>
                  </a:lnTo>
                  <a:lnTo>
                    <a:pt x="78" y="462"/>
                  </a:lnTo>
                  <a:lnTo>
                    <a:pt x="72" y="458"/>
                  </a:lnTo>
                  <a:lnTo>
                    <a:pt x="68" y="454"/>
                  </a:lnTo>
                  <a:lnTo>
                    <a:pt x="68" y="446"/>
                  </a:lnTo>
                  <a:lnTo>
                    <a:pt x="68" y="446"/>
                  </a:lnTo>
                  <a:lnTo>
                    <a:pt x="70" y="436"/>
                  </a:lnTo>
                  <a:lnTo>
                    <a:pt x="74" y="426"/>
                  </a:lnTo>
                  <a:lnTo>
                    <a:pt x="82" y="410"/>
                  </a:lnTo>
                  <a:lnTo>
                    <a:pt x="94" y="394"/>
                  </a:lnTo>
                  <a:lnTo>
                    <a:pt x="94" y="394"/>
                  </a:lnTo>
                  <a:lnTo>
                    <a:pt x="98" y="384"/>
                  </a:lnTo>
                  <a:lnTo>
                    <a:pt x="100" y="372"/>
                  </a:lnTo>
                  <a:lnTo>
                    <a:pt x="102" y="358"/>
                  </a:lnTo>
                  <a:lnTo>
                    <a:pt x="102" y="358"/>
                  </a:lnTo>
                  <a:lnTo>
                    <a:pt x="100" y="346"/>
                  </a:lnTo>
                  <a:lnTo>
                    <a:pt x="96" y="342"/>
                  </a:lnTo>
                  <a:lnTo>
                    <a:pt x="92" y="338"/>
                  </a:lnTo>
                  <a:lnTo>
                    <a:pt x="86" y="332"/>
                  </a:lnTo>
                  <a:lnTo>
                    <a:pt x="86" y="332"/>
                  </a:lnTo>
                  <a:lnTo>
                    <a:pt x="80" y="322"/>
                  </a:lnTo>
                  <a:lnTo>
                    <a:pt x="72" y="308"/>
                  </a:lnTo>
                  <a:lnTo>
                    <a:pt x="66" y="296"/>
                  </a:lnTo>
                  <a:lnTo>
                    <a:pt x="62" y="290"/>
                  </a:lnTo>
                  <a:lnTo>
                    <a:pt x="62" y="290"/>
                  </a:lnTo>
                  <a:lnTo>
                    <a:pt x="60" y="288"/>
                  </a:lnTo>
                  <a:lnTo>
                    <a:pt x="60" y="284"/>
                  </a:lnTo>
                  <a:lnTo>
                    <a:pt x="60" y="270"/>
                  </a:lnTo>
                  <a:lnTo>
                    <a:pt x="60" y="252"/>
                  </a:lnTo>
                  <a:lnTo>
                    <a:pt x="60" y="252"/>
                  </a:lnTo>
                  <a:lnTo>
                    <a:pt x="64" y="246"/>
                  </a:lnTo>
                  <a:lnTo>
                    <a:pt x="64" y="246"/>
                  </a:lnTo>
                  <a:lnTo>
                    <a:pt x="72" y="236"/>
                  </a:lnTo>
                  <a:lnTo>
                    <a:pt x="74" y="232"/>
                  </a:lnTo>
                  <a:lnTo>
                    <a:pt x="74" y="230"/>
                  </a:lnTo>
                  <a:lnTo>
                    <a:pt x="68" y="224"/>
                  </a:lnTo>
                  <a:lnTo>
                    <a:pt x="68" y="224"/>
                  </a:lnTo>
                  <a:lnTo>
                    <a:pt x="56" y="214"/>
                  </a:lnTo>
                  <a:lnTo>
                    <a:pt x="54" y="212"/>
                  </a:lnTo>
                  <a:lnTo>
                    <a:pt x="50" y="212"/>
                  </a:lnTo>
                  <a:lnTo>
                    <a:pt x="50" y="212"/>
                  </a:lnTo>
                  <a:lnTo>
                    <a:pt x="36" y="212"/>
                  </a:lnTo>
                  <a:lnTo>
                    <a:pt x="30" y="210"/>
                  </a:lnTo>
                  <a:lnTo>
                    <a:pt x="28" y="208"/>
                  </a:lnTo>
                  <a:lnTo>
                    <a:pt x="28" y="204"/>
                  </a:lnTo>
                  <a:lnTo>
                    <a:pt x="28" y="204"/>
                  </a:lnTo>
                  <a:lnTo>
                    <a:pt x="30" y="200"/>
                  </a:lnTo>
                  <a:lnTo>
                    <a:pt x="34" y="194"/>
                  </a:lnTo>
                  <a:lnTo>
                    <a:pt x="46" y="184"/>
                  </a:lnTo>
                  <a:lnTo>
                    <a:pt x="54" y="174"/>
                  </a:lnTo>
                  <a:lnTo>
                    <a:pt x="56" y="170"/>
                  </a:lnTo>
                  <a:lnTo>
                    <a:pt x="56" y="168"/>
                  </a:lnTo>
                  <a:lnTo>
                    <a:pt x="56" y="168"/>
                  </a:lnTo>
                  <a:lnTo>
                    <a:pt x="52" y="164"/>
                  </a:lnTo>
                  <a:lnTo>
                    <a:pt x="46" y="154"/>
                  </a:lnTo>
                  <a:lnTo>
                    <a:pt x="40" y="144"/>
                  </a:lnTo>
                  <a:lnTo>
                    <a:pt x="32" y="136"/>
                  </a:lnTo>
                  <a:lnTo>
                    <a:pt x="32" y="136"/>
                  </a:lnTo>
                  <a:lnTo>
                    <a:pt x="24" y="126"/>
                  </a:lnTo>
                  <a:lnTo>
                    <a:pt x="12" y="114"/>
                  </a:lnTo>
                  <a:lnTo>
                    <a:pt x="6" y="106"/>
                  </a:lnTo>
                  <a:lnTo>
                    <a:pt x="2" y="100"/>
                  </a:lnTo>
                  <a:lnTo>
                    <a:pt x="0" y="92"/>
                  </a:lnTo>
                  <a:lnTo>
                    <a:pt x="2" y="86"/>
                  </a:lnTo>
                  <a:lnTo>
                    <a:pt x="2" y="86"/>
                  </a:lnTo>
                  <a:lnTo>
                    <a:pt x="4" y="76"/>
                  </a:lnTo>
                  <a:lnTo>
                    <a:pt x="8" y="64"/>
                  </a:lnTo>
                  <a:lnTo>
                    <a:pt x="10" y="54"/>
                  </a:lnTo>
                  <a:lnTo>
                    <a:pt x="14" y="48"/>
                  </a:lnTo>
                  <a:lnTo>
                    <a:pt x="14" y="48"/>
                  </a:lnTo>
                  <a:lnTo>
                    <a:pt x="42" y="26"/>
                  </a:lnTo>
                  <a:lnTo>
                    <a:pt x="60" y="14"/>
                  </a:lnTo>
                  <a:lnTo>
                    <a:pt x="74" y="4"/>
                  </a:lnTo>
                  <a:lnTo>
                    <a:pt x="74" y="4"/>
                  </a:lnTo>
                  <a:lnTo>
                    <a:pt x="86" y="2"/>
                  </a:lnTo>
                  <a:lnTo>
                    <a:pt x="104" y="0"/>
                  </a:lnTo>
                  <a:lnTo>
                    <a:pt x="126" y="0"/>
                  </a:lnTo>
                  <a:lnTo>
                    <a:pt x="126" y="0"/>
                  </a:lnTo>
                  <a:close/>
                </a:path>
              </a:pathLst>
            </a:custGeom>
            <a:solidFill>
              <a:schemeClr val="bg2">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293" name="Freeform 81"/>
            <p:cNvSpPr>
              <a:spLocks/>
            </p:cNvSpPr>
            <p:nvPr/>
          </p:nvSpPr>
          <p:spPr bwMode="auto">
            <a:xfrm>
              <a:off x="4157750" y="4909185"/>
              <a:ext cx="208824" cy="129562"/>
            </a:xfrm>
            <a:custGeom>
              <a:avLst/>
              <a:gdLst/>
              <a:ahLst/>
              <a:cxnLst>
                <a:cxn ang="0">
                  <a:pos x="4" y="114"/>
                </a:cxn>
                <a:cxn ang="0">
                  <a:pos x="16" y="122"/>
                </a:cxn>
                <a:cxn ang="0">
                  <a:pos x="24" y="132"/>
                </a:cxn>
                <a:cxn ang="0">
                  <a:pos x="44" y="150"/>
                </a:cxn>
                <a:cxn ang="0">
                  <a:pos x="52" y="160"/>
                </a:cxn>
                <a:cxn ang="0">
                  <a:pos x="52" y="162"/>
                </a:cxn>
                <a:cxn ang="0">
                  <a:pos x="48" y="170"/>
                </a:cxn>
                <a:cxn ang="0">
                  <a:pos x="84" y="170"/>
                </a:cxn>
                <a:cxn ang="0">
                  <a:pos x="94" y="168"/>
                </a:cxn>
                <a:cxn ang="0">
                  <a:pos x="120" y="154"/>
                </a:cxn>
                <a:cxn ang="0">
                  <a:pos x="130" y="156"/>
                </a:cxn>
                <a:cxn ang="0">
                  <a:pos x="132" y="158"/>
                </a:cxn>
                <a:cxn ang="0">
                  <a:pos x="140" y="168"/>
                </a:cxn>
                <a:cxn ang="0">
                  <a:pos x="150" y="170"/>
                </a:cxn>
                <a:cxn ang="0">
                  <a:pos x="168" y="168"/>
                </a:cxn>
                <a:cxn ang="0">
                  <a:pos x="182" y="162"/>
                </a:cxn>
                <a:cxn ang="0">
                  <a:pos x="186" y="156"/>
                </a:cxn>
                <a:cxn ang="0">
                  <a:pos x="188" y="142"/>
                </a:cxn>
                <a:cxn ang="0">
                  <a:pos x="192" y="134"/>
                </a:cxn>
                <a:cxn ang="0">
                  <a:pos x="200" y="116"/>
                </a:cxn>
                <a:cxn ang="0">
                  <a:pos x="204" y="100"/>
                </a:cxn>
                <a:cxn ang="0">
                  <a:pos x="212" y="90"/>
                </a:cxn>
                <a:cxn ang="0">
                  <a:pos x="222" y="86"/>
                </a:cxn>
                <a:cxn ang="0">
                  <a:pos x="256" y="66"/>
                </a:cxn>
                <a:cxn ang="0">
                  <a:pos x="262" y="56"/>
                </a:cxn>
                <a:cxn ang="0">
                  <a:pos x="274" y="38"/>
                </a:cxn>
                <a:cxn ang="0">
                  <a:pos x="270" y="24"/>
                </a:cxn>
                <a:cxn ang="0">
                  <a:pos x="266" y="16"/>
                </a:cxn>
                <a:cxn ang="0">
                  <a:pos x="260" y="2"/>
                </a:cxn>
                <a:cxn ang="0">
                  <a:pos x="256" y="0"/>
                </a:cxn>
                <a:cxn ang="0">
                  <a:pos x="222" y="4"/>
                </a:cxn>
                <a:cxn ang="0">
                  <a:pos x="186" y="10"/>
                </a:cxn>
                <a:cxn ang="0">
                  <a:pos x="86" y="20"/>
                </a:cxn>
                <a:cxn ang="0">
                  <a:pos x="52" y="18"/>
                </a:cxn>
                <a:cxn ang="0">
                  <a:pos x="24" y="12"/>
                </a:cxn>
                <a:cxn ang="0">
                  <a:pos x="14" y="6"/>
                </a:cxn>
                <a:cxn ang="0">
                  <a:pos x="10" y="10"/>
                </a:cxn>
                <a:cxn ang="0">
                  <a:pos x="10" y="20"/>
                </a:cxn>
                <a:cxn ang="0">
                  <a:pos x="4" y="36"/>
                </a:cxn>
                <a:cxn ang="0">
                  <a:pos x="0" y="58"/>
                </a:cxn>
                <a:cxn ang="0">
                  <a:pos x="4" y="88"/>
                </a:cxn>
                <a:cxn ang="0">
                  <a:pos x="4" y="110"/>
                </a:cxn>
                <a:cxn ang="0">
                  <a:pos x="4" y="114"/>
                </a:cxn>
              </a:cxnLst>
              <a:rect l="0" t="0" r="r" b="b"/>
              <a:pathLst>
                <a:path w="274" h="170">
                  <a:moveTo>
                    <a:pt x="4" y="114"/>
                  </a:moveTo>
                  <a:lnTo>
                    <a:pt x="4" y="114"/>
                  </a:lnTo>
                  <a:lnTo>
                    <a:pt x="10" y="116"/>
                  </a:lnTo>
                  <a:lnTo>
                    <a:pt x="16" y="122"/>
                  </a:lnTo>
                  <a:lnTo>
                    <a:pt x="24" y="132"/>
                  </a:lnTo>
                  <a:lnTo>
                    <a:pt x="24" y="132"/>
                  </a:lnTo>
                  <a:lnTo>
                    <a:pt x="32" y="142"/>
                  </a:lnTo>
                  <a:lnTo>
                    <a:pt x="44" y="150"/>
                  </a:lnTo>
                  <a:lnTo>
                    <a:pt x="50" y="156"/>
                  </a:lnTo>
                  <a:lnTo>
                    <a:pt x="52" y="160"/>
                  </a:lnTo>
                  <a:lnTo>
                    <a:pt x="52" y="162"/>
                  </a:lnTo>
                  <a:lnTo>
                    <a:pt x="52" y="162"/>
                  </a:lnTo>
                  <a:lnTo>
                    <a:pt x="48" y="170"/>
                  </a:lnTo>
                  <a:lnTo>
                    <a:pt x="48" y="170"/>
                  </a:lnTo>
                  <a:lnTo>
                    <a:pt x="68" y="170"/>
                  </a:lnTo>
                  <a:lnTo>
                    <a:pt x="84" y="170"/>
                  </a:lnTo>
                  <a:lnTo>
                    <a:pt x="94" y="168"/>
                  </a:lnTo>
                  <a:lnTo>
                    <a:pt x="94" y="168"/>
                  </a:lnTo>
                  <a:lnTo>
                    <a:pt x="110" y="158"/>
                  </a:lnTo>
                  <a:lnTo>
                    <a:pt x="120" y="154"/>
                  </a:lnTo>
                  <a:lnTo>
                    <a:pt x="124" y="154"/>
                  </a:lnTo>
                  <a:lnTo>
                    <a:pt x="130" y="156"/>
                  </a:lnTo>
                  <a:lnTo>
                    <a:pt x="130" y="156"/>
                  </a:lnTo>
                  <a:lnTo>
                    <a:pt x="132" y="158"/>
                  </a:lnTo>
                  <a:lnTo>
                    <a:pt x="136" y="162"/>
                  </a:lnTo>
                  <a:lnTo>
                    <a:pt x="140" y="168"/>
                  </a:lnTo>
                  <a:lnTo>
                    <a:pt x="144" y="170"/>
                  </a:lnTo>
                  <a:lnTo>
                    <a:pt x="150" y="170"/>
                  </a:lnTo>
                  <a:lnTo>
                    <a:pt x="158" y="170"/>
                  </a:lnTo>
                  <a:lnTo>
                    <a:pt x="168" y="168"/>
                  </a:lnTo>
                  <a:lnTo>
                    <a:pt x="168" y="168"/>
                  </a:lnTo>
                  <a:lnTo>
                    <a:pt x="182" y="162"/>
                  </a:lnTo>
                  <a:lnTo>
                    <a:pt x="186" y="158"/>
                  </a:lnTo>
                  <a:lnTo>
                    <a:pt x="186" y="156"/>
                  </a:lnTo>
                  <a:lnTo>
                    <a:pt x="186" y="150"/>
                  </a:lnTo>
                  <a:lnTo>
                    <a:pt x="188" y="142"/>
                  </a:lnTo>
                  <a:lnTo>
                    <a:pt x="192" y="134"/>
                  </a:lnTo>
                  <a:lnTo>
                    <a:pt x="192" y="134"/>
                  </a:lnTo>
                  <a:lnTo>
                    <a:pt x="198" y="124"/>
                  </a:lnTo>
                  <a:lnTo>
                    <a:pt x="200" y="116"/>
                  </a:lnTo>
                  <a:lnTo>
                    <a:pt x="202" y="104"/>
                  </a:lnTo>
                  <a:lnTo>
                    <a:pt x="204" y="100"/>
                  </a:lnTo>
                  <a:lnTo>
                    <a:pt x="206" y="96"/>
                  </a:lnTo>
                  <a:lnTo>
                    <a:pt x="212" y="90"/>
                  </a:lnTo>
                  <a:lnTo>
                    <a:pt x="222" y="86"/>
                  </a:lnTo>
                  <a:lnTo>
                    <a:pt x="222" y="86"/>
                  </a:lnTo>
                  <a:lnTo>
                    <a:pt x="248" y="72"/>
                  </a:lnTo>
                  <a:lnTo>
                    <a:pt x="256" y="66"/>
                  </a:lnTo>
                  <a:lnTo>
                    <a:pt x="262" y="56"/>
                  </a:lnTo>
                  <a:lnTo>
                    <a:pt x="262" y="56"/>
                  </a:lnTo>
                  <a:lnTo>
                    <a:pt x="270" y="46"/>
                  </a:lnTo>
                  <a:lnTo>
                    <a:pt x="274" y="38"/>
                  </a:lnTo>
                  <a:lnTo>
                    <a:pt x="274" y="32"/>
                  </a:lnTo>
                  <a:lnTo>
                    <a:pt x="270" y="24"/>
                  </a:lnTo>
                  <a:lnTo>
                    <a:pt x="270" y="24"/>
                  </a:lnTo>
                  <a:lnTo>
                    <a:pt x="266" y="16"/>
                  </a:lnTo>
                  <a:lnTo>
                    <a:pt x="264" y="8"/>
                  </a:lnTo>
                  <a:lnTo>
                    <a:pt x="260" y="2"/>
                  </a:lnTo>
                  <a:lnTo>
                    <a:pt x="258" y="0"/>
                  </a:lnTo>
                  <a:lnTo>
                    <a:pt x="256" y="0"/>
                  </a:lnTo>
                  <a:lnTo>
                    <a:pt x="256" y="0"/>
                  </a:lnTo>
                  <a:lnTo>
                    <a:pt x="222" y="4"/>
                  </a:lnTo>
                  <a:lnTo>
                    <a:pt x="186" y="10"/>
                  </a:lnTo>
                  <a:lnTo>
                    <a:pt x="186" y="10"/>
                  </a:lnTo>
                  <a:lnTo>
                    <a:pt x="138" y="16"/>
                  </a:lnTo>
                  <a:lnTo>
                    <a:pt x="86" y="20"/>
                  </a:lnTo>
                  <a:lnTo>
                    <a:pt x="86" y="20"/>
                  </a:lnTo>
                  <a:lnTo>
                    <a:pt x="52" y="18"/>
                  </a:lnTo>
                  <a:lnTo>
                    <a:pt x="34" y="16"/>
                  </a:lnTo>
                  <a:lnTo>
                    <a:pt x="24" y="12"/>
                  </a:lnTo>
                  <a:lnTo>
                    <a:pt x="24" y="12"/>
                  </a:lnTo>
                  <a:lnTo>
                    <a:pt x="14" y="6"/>
                  </a:lnTo>
                  <a:lnTo>
                    <a:pt x="10" y="6"/>
                  </a:lnTo>
                  <a:lnTo>
                    <a:pt x="10" y="10"/>
                  </a:lnTo>
                  <a:lnTo>
                    <a:pt x="10" y="20"/>
                  </a:lnTo>
                  <a:lnTo>
                    <a:pt x="10" y="20"/>
                  </a:lnTo>
                  <a:lnTo>
                    <a:pt x="8" y="28"/>
                  </a:lnTo>
                  <a:lnTo>
                    <a:pt x="4" y="36"/>
                  </a:lnTo>
                  <a:lnTo>
                    <a:pt x="0" y="46"/>
                  </a:lnTo>
                  <a:lnTo>
                    <a:pt x="0" y="58"/>
                  </a:lnTo>
                  <a:lnTo>
                    <a:pt x="0" y="58"/>
                  </a:lnTo>
                  <a:lnTo>
                    <a:pt x="4" y="88"/>
                  </a:lnTo>
                  <a:lnTo>
                    <a:pt x="6" y="104"/>
                  </a:lnTo>
                  <a:lnTo>
                    <a:pt x="4" y="110"/>
                  </a:lnTo>
                  <a:lnTo>
                    <a:pt x="4" y="114"/>
                  </a:lnTo>
                  <a:lnTo>
                    <a:pt x="4" y="114"/>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294" name="Freeform 82"/>
            <p:cNvSpPr>
              <a:spLocks/>
            </p:cNvSpPr>
            <p:nvPr/>
          </p:nvSpPr>
          <p:spPr bwMode="auto">
            <a:xfrm>
              <a:off x="4160799" y="4901564"/>
              <a:ext cx="474046" cy="452706"/>
            </a:xfrm>
            <a:custGeom>
              <a:avLst/>
              <a:gdLst/>
              <a:ahLst/>
              <a:cxnLst>
                <a:cxn ang="0">
                  <a:pos x="566" y="268"/>
                </a:cxn>
                <a:cxn ang="0">
                  <a:pos x="496" y="258"/>
                </a:cxn>
                <a:cxn ang="0">
                  <a:pos x="378" y="240"/>
                </a:cxn>
                <a:cxn ang="0">
                  <a:pos x="356" y="230"/>
                </a:cxn>
                <a:cxn ang="0">
                  <a:pos x="326" y="246"/>
                </a:cxn>
                <a:cxn ang="0">
                  <a:pos x="264" y="252"/>
                </a:cxn>
                <a:cxn ang="0">
                  <a:pos x="244" y="262"/>
                </a:cxn>
                <a:cxn ang="0">
                  <a:pos x="268" y="304"/>
                </a:cxn>
                <a:cxn ang="0">
                  <a:pos x="304" y="346"/>
                </a:cxn>
                <a:cxn ang="0">
                  <a:pos x="298" y="386"/>
                </a:cxn>
                <a:cxn ang="0">
                  <a:pos x="318" y="426"/>
                </a:cxn>
                <a:cxn ang="0">
                  <a:pos x="362" y="456"/>
                </a:cxn>
                <a:cxn ang="0">
                  <a:pos x="386" y="482"/>
                </a:cxn>
                <a:cxn ang="0">
                  <a:pos x="428" y="550"/>
                </a:cxn>
                <a:cxn ang="0">
                  <a:pos x="454" y="578"/>
                </a:cxn>
                <a:cxn ang="0">
                  <a:pos x="382" y="524"/>
                </a:cxn>
                <a:cxn ang="0">
                  <a:pos x="346" y="508"/>
                </a:cxn>
                <a:cxn ang="0">
                  <a:pos x="334" y="488"/>
                </a:cxn>
                <a:cxn ang="0">
                  <a:pos x="322" y="486"/>
                </a:cxn>
                <a:cxn ang="0">
                  <a:pos x="312" y="498"/>
                </a:cxn>
                <a:cxn ang="0">
                  <a:pos x="280" y="506"/>
                </a:cxn>
                <a:cxn ang="0">
                  <a:pos x="272" y="484"/>
                </a:cxn>
                <a:cxn ang="0">
                  <a:pos x="238" y="454"/>
                </a:cxn>
                <a:cxn ang="0">
                  <a:pos x="238" y="442"/>
                </a:cxn>
                <a:cxn ang="0">
                  <a:pos x="230" y="404"/>
                </a:cxn>
                <a:cxn ang="0">
                  <a:pos x="222" y="390"/>
                </a:cxn>
                <a:cxn ang="0">
                  <a:pos x="192" y="352"/>
                </a:cxn>
                <a:cxn ang="0">
                  <a:pos x="174" y="294"/>
                </a:cxn>
                <a:cxn ang="0">
                  <a:pos x="162" y="266"/>
                </a:cxn>
                <a:cxn ang="0">
                  <a:pos x="138" y="234"/>
                </a:cxn>
                <a:cxn ang="0">
                  <a:pos x="90" y="200"/>
                </a:cxn>
                <a:cxn ang="0">
                  <a:pos x="78" y="200"/>
                </a:cxn>
                <a:cxn ang="0">
                  <a:pos x="76" y="230"/>
                </a:cxn>
                <a:cxn ang="0">
                  <a:pos x="76" y="264"/>
                </a:cxn>
                <a:cxn ang="0">
                  <a:pos x="56" y="282"/>
                </a:cxn>
                <a:cxn ang="0">
                  <a:pos x="32" y="270"/>
                </a:cxn>
                <a:cxn ang="0">
                  <a:pos x="14" y="230"/>
                </a:cxn>
                <a:cxn ang="0">
                  <a:pos x="6" y="200"/>
                </a:cxn>
                <a:cxn ang="0">
                  <a:pos x="2" y="182"/>
                </a:cxn>
                <a:cxn ang="0">
                  <a:pos x="56" y="178"/>
                </a:cxn>
                <a:cxn ang="0">
                  <a:pos x="130" y="172"/>
                </a:cxn>
                <a:cxn ang="0">
                  <a:pos x="164" y="178"/>
                </a:cxn>
                <a:cxn ang="0">
                  <a:pos x="182" y="166"/>
                </a:cxn>
                <a:cxn ang="0">
                  <a:pos x="196" y="126"/>
                </a:cxn>
                <a:cxn ang="0">
                  <a:pos x="236" y="88"/>
                </a:cxn>
                <a:cxn ang="0">
                  <a:pos x="260" y="64"/>
                </a:cxn>
                <a:cxn ang="0">
                  <a:pos x="300" y="8"/>
                </a:cxn>
                <a:cxn ang="0">
                  <a:pos x="354" y="46"/>
                </a:cxn>
                <a:cxn ang="0">
                  <a:pos x="412" y="112"/>
                </a:cxn>
                <a:cxn ang="0">
                  <a:pos x="490" y="150"/>
                </a:cxn>
                <a:cxn ang="0">
                  <a:pos x="548" y="154"/>
                </a:cxn>
                <a:cxn ang="0">
                  <a:pos x="568" y="172"/>
                </a:cxn>
                <a:cxn ang="0">
                  <a:pos x="584" y="206"/>
                </a:cxn>
                <a:cxn ang="0">
                  <a:pos x="622" y="256"/>
                </a:cxn>
                <a:cxn ang="0">
                  <a:pos x="604" y="280"/>
                </a:cxn>
              </a:cxnLst>
              <a:rect l="0" t="0" r="r" b="b"/>
              <a:pathLst>
                <a:path w="622" h="594">
                  <a:moveTo>
                    <a:pt x="590" y="288"/>
                  </a:moveTo>
                  <a:lnTo>
                    <a:pt x="590" y="288"/>
                  </a:lnTo>
                  <a:lnTo>
                    <a:pt x="580" y="280"/>
                  </a:lnTo>
                  <a:lnTo>
                    <a:pt x="572" y="272"/>
                  </a:lnTo>
                  <a:lnTo>
                    <a:pt x="566" y="268"/>
                  </a:lnTo>
                  <a:lnTo>
                    <a:pt x="560" y="266"/>
                  </a:lnTo>
                  <a:lnTo>
                    <a:pt x="552" y="262"/>
                  </a:lnTo>
                  <a:lnTo>
                    <a:pt x="540" y="262"/>
                  </a:lnTo>
                  <a:lnTo>
                    <a:pt x="540" y="262"/>
                  </a:lnTo>
                  <a:lnTo>
                    <a:pt x="496" y="258"/>
                  </a:lnTo>
                  <a:lnTo>
                    <a:pt x="476" y="258"/>
                  </a:lnTo>
                  <a:lnTo>
                    <a:pt x="456" y="254"/>
                  </a:lnTo>
                  <a:lnTo>
                    <a:pt x="456" y="254"/>
                  </a:lnTo>
                  <a:lnTo>
                    <a:pt x="416" y="246"/>
                  </a:lnTo>
                  <a:lnTo>
                    <a:pt x="378" y="240"/>
                  </a:lnTo>
                  <a:lnTo>
                    <a:pt x="378" y="240"/>
                  </a:lnTo>
                  <a:lnTo>
                    <a:pt x="374" y="238"/>
                  </a:lnTo>
                  <a:lnTo>
                    <a:pt x="368" y="236"/>
                  </a:lnTo>
                  <a:lnTo>
                    <a:pt x="360" y="232"/>
                  </a:lnTo>
                  <a:lnTo>
                    <a:pt x="356" y="230"/>
                  </a:lnTo>
                  <a:lnTo>
                    <a:pt x="352" y="230"/>
                  </a:lnTo>
                  <a:lnTo>
                    <a:pt x="346" y="230"/>
                  </a:lnTo>
                  <a:lnTo>
                    <a:pt x="340" y="234"/>
                  </a:lnTo>
                  <a:lnTo>
                    <a:pt x="340" y="234"/>
                  </a:lnTo>
                  <a:lnTo>
                    <a:pt x="326" y="246"/>
                  </a:lnTo>
                  <a:lnTo>
                    <a:pt x="318" y="250"/>
                  </a:lnTo>
                  <a:lnTo>
                    <a:pt x="300" y="252"/>
                  </a:lnTo>
                  <a:lnTo>
                    <a:pt x="300" y="252"/>
                  </a:lnTo>
                  <a:lnTo>
                    <a:pt x="280" y="252"/>
                  </a:lnTo>
                  <a:lnTo>
                    <a:pt x="264" y="252"/>
                  </a:lnTo>
                  <a:lnTo>
                    <a:pt x="252" y="250"/>
                  </a:lnTo>
                  <a:lnTo>
                    <a:pt x="250" y="252"/>
                  </a:lnTo>
                  <a:lnTo>
                    <a:pt x="248" y="254"/>
                  </a:lnTo>
                  <a:lnTo>
                    <a:pt x="248" y="254"/>
                  </a:lnTo>
                  <a:lnTo>
                    <a:pt x="244" y="262"/>
                  </a:lnTo>
                  <a:lnTo>
                    <a:pt x="244" y="270"/>
                  </a:lnTo>
                  <a:lnTo>
                    <a:pt x="250" y="280"/>
                  </a:lnTo>
                  <a:lnTo>
                    <a:pt x="260" y="296"/>
                  </a:lnTo>
                  <a:lnTo>
                    <a:pt x="260" y="296"/>
                  </a:lnTo>
                  <a:lnTo>
                    <a:pt x="268" y="304"/>
                  </a:lnTo>
                  <a:lnTo>
                    <a:pt x="274" y="312"/>
                  </a:lnTo>
                  <a:lnTo>
                    <a:pt x="290" y="326"/>
                  </a:lnTo>
                  <a:lnTo>
                    <a:pt x="296" y="332"/>
                  </a:lnTo>
                  <a:lnTo>
                    <a:pt x="302" y="338"/>
                  </a:lnTo>
                  <a:lnTo>
                    <a:pt x="304" y="346"/>
                  </a:lnTo>
                  <a:lnTo>
                    <a:pt x="304" y="354"/>
                  </a:lnTo>
                  <a:lnTo>
                    <a:pt x="304" y="354"/>
                  </a:lnTo>
                  <a:lnTo>
                    <a:pt x="300" y="368"/>
                  </a:lnTo>
                  <a:lnTo>
                    <a:pt x="298" y="380"/>
                  </a:lnTo>
                  <a:lnTo>
                    <a:pt x="298" y="386"/>
                  </a:lnTo>
                  <a:lnTo>
                    <a:pt x="298" y="394"/>
                  </a:lnTo>
                  <a:lnTo>
                    <a:pt x="302" y="400"/>
                  </a:lnTo>
                  <a:lnTo>
                    <a:pt x="306" y="408"/>
                  </a:lnTo>
                  <a:lnTo>
                    <a:pt x="306" y="408"/>
                  </a:lnTo>
                  <a:lnTo>
                    <a:pt x="318" y="426"/>
                  </a:lnTo>
                  <a:lnTo>
                    <a:pt x="332" y="440"/>
                  </a:lnTo>
                  <a:lnTo>
                    <a:pt x="344" y="450"/>
                  </a:lnTo>
                  <a:lnTo>
                    <a:pt x="356" y="456"/>
                  </a:lnTo>
                  <a:lnTo>
                    <a:pt x="356" y="456"/>
                  </a:lnTo>
                  <a:lnTo>
                    <a:pt x="362" y="456"/>
                  </a:lnTo>
                  <a:lnTo>
                    <a:pt x="364" y="456"/>
                  </a:lnTo>
                  <a:lnTo>
                    <a:pt x="368" y="454"/>
                  </a:lnTo>
                  <a:lnTo>
                    <a:pt x="370" y="456"/>
                  </a:lnTo>
                  <a:lnTo>
                    <a:pt x="374" y="460"/>
                  </a:lnTo>
                  <a:lnTo>
                    <a:pt x="386" y="482"/>
                  </a:lnTo>
                  <a:lnTo>
                    <a:pt x="386" y="482"/>
                  </a:lnTo>
                  <a:lnTo>
                    <a:pt x="414" y="530"/>
                  </a:lnTo>
                  <a:lnTo>
                    <a:pt x="422" y="544"/>
                  </a:lnTo>
                  <a:lnTo>
                    <a:pt x="428" y="550"/>
                  </a:lnTo>
                  <a:lnTo>
                    <a:pt x="428" y="550"/>
                  </a:lnTo>
                  <a:lnTo>
                    <a:pt x="468" y="574"/>
                  </a:lnTo>
                  <a:lnTo>
                    <a:pt x="480" y="594"/>
                  </a:lnTo>
                  <a:lnTo>
                    <a:pt x="480" y="594"/>
                  </a:lnTo>
                  <a:lnTo>
                    <a:pt x="454" y="578"/>
                  </a:lnTo>
                  <a:lnTo>
                    <a:pt x="454" y="578"/>
                  </a:lnTo>
                  <a:lnTo>
                    <a:pt x="422" y="558"/>
                  </a:lnTo>
                  <a:lnTo>
                    <a:pt x="394" y="538"/>
                  </a:lnTo>
                  <a:lnTo>
                    <a:pt x="394" y="538"/>
                  </a:lnTo>
                  <a:lnTo>
                    <a:pt x="388" y="530"/>
                  </a:lnTo>
                  <a:lnTo>
                    <a:pt x="382" y="524"/>
                  </a:lnTo>
                  <a:lnTo>
                    <a:pt x="374" y="518"/>
                  </a:lnTo>
                  <a:lnTo>
                    <a:pt x="374" y="518"/>
                  </a:lnTo>
                  <a:lnTo>
                    <a:pt x="364" y="514"/>
                  </a:lnTo>
                  <a:lnTo>
                    <a:pt x="354" y="512"/>
                  </a:lnTo>
                  <a:lnTo>
                    <a:pt x="346" y="508"/>
                  </a:lnTo>
                  <a:lnTo>
                    <a:pt x="344" y="506"/>
                  </a:lnTo>
                  <a:lnTo>
                    <a:pt x="344" y="504"/>
                  </a:lnTo>
                  <a:lnTo>
                    <a:pt x="344" y="504"/>
                  </a:lnTo>
                  <a:lnTo>
                    <a:pt x="340" y="496"/>
                  </a:lnTo>
                  <a:lnTo>
                    <a:pt x="334" y="488"/>
                  </a:lnTo>
                  <a:lnTo>
                    <a:pt x="328" y="484"/>
                  </a:lnTo>
                  <a:lnTo>
                    <a:pt x="324" y="484"/>
                  </a:lnTo>
                  <a:lnTo>
                    <a:pt x="322" y="486"/>
                  </a:lnTo>
                  <a:lnTo>
                    <a:pt x="322" y="486"/>
                  </a:lnTo>
                  <a:lnTo>
                    <a:pt x="322" y="486"/>
                  </a:lnTo>
                  <a:lnTo>
                    <a:pt x="322" y="488"/>
                  </a:lnTo>
                  <a:lnTo>
                    <a:pt x="326" y="490"/>
                  </a:lnTo>
                  <a:lnTo>
                    <a:pt x="326" y="492"/>
                  </a:lnTo>
                  <a:lnTo>
                    <a:pt x="324" y="492"/>
                  </a:lnTo>
                  <a:lnTo>
                    <a:pt x="312" y="498"/>
                  </a:lnTo>
                  <a:lnTo>
                    <a:pt x="312" y="498"/>
                  </a:lnTo>
                  <a:lnTo>
                    <a:pt x="296" y="504"/>
                  </a:lnTo>
                  <a:lnTo>
                    <a:pt x="286" y="508"/>
                  </a:lnTo>
                  <a:lnTo>
                    <a:pt x="282" y="508"/>
                  </a:lnTo>
                  <a:lnTo>
                    <a:pt x="280" y="506"/>
                  </a:lnTo>
                  <a:lnTo>
                    <a:pt x="278" y="504"/>
                  </a:lnTo>
                  <a:lnTo>
                    <a:pt x="278" y="500"/>
                  </a:lnTo>
                  <a:lnTo>
                    <a:pt x="278" y="500"/>
                  </a:lnTo>
                  <a:lnTo>
                    <a:pt x="274" y="488"/>
                  </a:lnTo>
                  <a:lnTo>
                    <a:pt x="272" y="484"/>
                  </a:lnTo>
                  <a:lnTo>
                    <a:pt x="266" y="480"/>
                  </a:lnTo>
                  <a:lnTo>
                    <a:pt x="266" y="480"/>
                  </a:lnTo>
                  <a:lnTo>
                    <a:pt x="256" y="474"/>
                  </a:lnTo>
                  <a:lnTo>
                    <a:pt x="246" y="464"/>
                  </a:lnTo>
                  <a:lnTo>
                    <a:pt x="238" y="454"/>
                  </a:lnTo>
                  <a:lnTo>
                    <a:pt x="236" y="450"/>
                  </a:lnTo>
                  <a:lnTo>
                    <a:pt x="236" y="446"/>
                  </a:lnTo>
                  <a:lnTo>
                    <a:pt x="236" y="446"/>
                  </a:lnTo>
                  <a:lnTo>
                    <a:pt x="236" y="444"/>
                  </a:lnTo>
                  <a:lnTo>
                    <a:pt x="238" y="442"/>
                  </a:lnTo>
                  <a:lnTo>
                    <a:pt x="240" y="442"/>
                  </a:lnTo>
                  <a:lnTo>
                    <a:pt x="240" y="438"/>
                  </a:lnTo>
                  <a:lnTo>
                    <a:pt x="236" y="420"/>
                  </a:lnTo>
                  <a:lnTo>
                    <a:pt x="236" y="420"/>
                  </a:lnTo>
                  <a:lnTo>
                    <a:pt x="230" y="404"/>
                  </a:lnTo>
                  <a:lnTo>
                    <a:pt x="226" y="398"/>
                  </a:lnTo>
                  <a:lnTo>
                    <a:pt x="224" y="398"/>
                  </a:lnTo>
                  <a:lnTo>
                    <a:pt x="224" y="394"/>
                  </a:lnTo>
                  <a:lnTo>
                    <a:pt x="224" y="394"/>
                  </a:lnTo>
                  <a:lnTo>
                    <a:pt x="222" y="390"/>
                  </a:lnTo>
                  <a:lnTo>
                    <a:pt x="220" y="386"/>
                  </a:lnTo>
                  <a:lnTo>
                    <a:pt x="210" y="378"/>
                  </a:lnTo>
                  <a:lnTo>
                    <a:pt x="200" y="370"/>
                  </a:lnTo>
                  <a:lnTo>
                    <a:pt x="196" y="362"/>
                  </a:lnTo>
                  <a:lnTo>
                    <a:pt x="192" y="352"/>
                  </a:lnTo>
                  <a:lnTo>
                    <a:pt x="192" y="352"/>
                  </a:lnTo>
                  <a:lnTo>
                    <a:pt x="186" y="330"/>
                  </a:lnTo>
                  <a:lnTo>
                    <a:pt x="180" y="310"/>
                  </a:lnTo>
                  <a:lnTo>
                    <a:pt x="180" y="310"/>
                  </a:lnTo>
                  <a:lnTo>
                    <a:pt x="174" y="294"/>
                  </a:lnTo>
                  <a:lnTo>
                    <a:pt x="172" y="284"/>
                  </a:lnTo>
                  <a:lnTo>
                    <a:pt x="170" y="276"/>
                  </a:lnTo>
                  <a:lnTo>
                    <a:pt x="168" y="270"/>
                  </a:lnTo>
                  <a:lnTo>
                    <a:pt x="168" y="270"/>
                  </a:lnTo>
                  <a:lnTo>
                    <a:pt x="162" y="266"/>
                  </a:lnTo>
                  <a:lnTo>
                    <a:pt x="156" y="260"/>
                  </a:lnTo>
                  <a:lnTo>
                    <a:pt x="148" y="254"/>
                  </a:lnTo>
                  <a:lnTo>
                    <a:pt x="142" y="244"/>
                  </a:lnTo>
                  <a:lnTo>
                    <a:pt x="142" y="244"/>
                  </a:lnTo>
                  <a:lnTo>
                    <a:pt x="138" y="234"/>
                  </a:lnTo>
                  <a:lnTo>
                    <a:pt x="132" y="224"/>
                  </a:lnTo>
                  <a:lnTo>
                    <a:pt x="122" y="216"/>
                  </a:lnTo>
                  <a:lnTo>
                    <a:pt x="122" y="216"/>
                  </a:lnTo>
                  <a:lnTo>
                    <a:pt x="102" y="204"/>
                  </a:lnTo>
                  <a:lnTo>
                    <a:pt x="90" y="200"/>
                  </a:lnTo>
                  <a:lnTo>
                    <a:pt x="86" y="198"/>
                  </a:lnTo>
                  <a:lnTo>
                    <a:pt x="82" y="200"/>
                  </a:lnTo>
                  <a:lnTo>
                    <a:pt x="82" y="200"/>
                  </a:lnTo>
                  <a:lnTo>
                    <a:pt x="80" y="200"/>
                  </a:lnTo>
                  <a:lnTo>
                    <a:pt x="78" y="200"/>
                  </a:lnTo>
                  <a:lnTo>
                    <a:pt x="76" y="204"/>
                  </a:lnTo>
                  <a:lnTo>
                    <a:pt x="76" y="212"/>
                  </a:lnTo>
                  <a:lnTo>
                    <a:pt x="76" y="212"/>
                  </a:lnTo>
                  <a:lnTo>
                    <a:pt x="76" y="224"/>
                  </a:lnTo>
                  <a:lnTo>
                    <a:pt x="76" y="230"/>
                  </a:lnTo>
                  <a:lnTo>
                    <a:pt x="78" y="236"/>
                  </a:lnTo>
                  <a:lnTo>
                    <a:pt x="78" y="236"/>
                  </a:lnTo>
                  <a:lnTo>
                    <a:pt x="80" y="248"/>
                  </a:lnTo>
                  <a:lnTo>
                    <a:pt x="78" y="258"/>
                  </a:lnTo>
                  <a:lnTo>
                    <a:pt x="76" y="264"/>
                  </a:lnTo>
                  <a:lnTo>
                    <a:pt x="72" y="266"/>
                  </a:lnTo>
                  <a:lnTo>
                    <a:pt x="72" y="266"/>
                  </a:lnTo>
                  <a:lnTo>
                    <a:pt x="64" y="272"/>
                  </a:lnTo>
                  <a:lnTo>
                    <a:pt x="58" y="280"/>
                  </a:lnTo>
                  <a:lnTo>
                    <a:pt x="56" y="282"/>
                  </a:lnTo>
                  <a:lnTo>
                    <a:pt x="52" y="282"/>
                  </a:lnTo>
                  <a:lnTo>
                    <a:pt x="48" y="280"/>
                  </a:lnTo>
                  <a:lnTo>
                    <a:pt x="42" y="276"/>
                  </a:lnTo>
                  <a:lnTo>
                    <a:pt x="42" y="276"/>
                  </a:lnTo>
                  <a:lnTo>
                    <a:pt x="32" y="270"/>
                  </a:lnTo>
                  <a:lnTo>
                    <a:pt x="26" y="266"/>
                  </a:lnTo>
                  <a:lnTo>
                    <a:pt x="22" y="260"/>
                  </a:lnTo>
                  <a:lnTo>
                    <a:pt x="18" y="246"/>
                  </a:lnTo>
                  <a:lnTo>
                    <a:pt x="18" y="246"/>
                  </a:lnTo>
                  <a:lnTo>
                    <a:pt x="14" y="230"/>
                  </a:lnTo>
                  <a:lnTo>
                    <a:pt x="12" y="224"/>
                  </a:lnTo>
                  <a:lnTo>
                    <a:pt x="10" y="220"/>
                  </a:lnTo>
                  <a:lnTo>
                    <a:pt x="8" y="210"/>
                  </a:lnTo>
                  <a:lnTo>
                    <a:pt x="8" y="210"/>
                  </a:lnTo>
                  <a:lnTo>
                    <a:pt x="6" y="200"/>
                  </a:lnTo>
                  <a:lnTo>
                    <a:pt x="2" y="194"/>
                  </a:lnTo>
                  <a:lnTo>
                    <a:pt x="0" y="188"/>
                  </a:lnTo>
                  <a:lnTo>
                    <a:pt x="0" y="184"/>
                  </a:lnTo>
                  <a:lnTo>
                    <a:pt x="2" y="182"/>
                  </a:lnTo>
                  <a:lnTo>
                    <a:pt x="2" y="182"/>
                  </a:lnTo>
                  <a:lnTo>
                    <a:pt x="10" y="176"/>
                  </a:lnTo>
                  <a:lnTo>
                    <a:pt x="16" y="176"/>
                  </a:lnTo>
                  <a:lnTo>
                    <a:pt x="28" y="178"/>
                  </a:lnTo>
                  <a:lnTo>
                    <a:pt x="28" y="178"/>
                  </a:lnTo>
                  <a:lnTo>
                    <a:pt x="56" y="178"/>
                  </a:lnTo>
                  <a:lnTo>
                    <a:pt x="82" y="180"/>
                  </a:lnTo>
                  <a:lnTo>
                    <a:pt x="112" y="164"/>
                  </a:lnTo>
                  <a:lnTo>
                    <a:pt x="112" y="164"/>
                  </a:lnTo>
                  <a:lnTo>
                    <a:pt x="122" y="168"/>
                  </a:lnTo>
                  <a:lnTo>
                    <a:pt x="130" y="172"/>
                  </a:lnTo>
                  <a:lnTo>
                    <a:pt x="136" y="176"/>
                  </a:lnTo>
                  <a:lnTo>
                    <a:pt x="136" y="176"/>
                  </a:lnTo>
                  <a:lnTo>
                    <a:pt x="142" y="178"/>
                  </a:lnTo>
                  <a:lnTo>
                    <a:pt x="148" y="180"/>
                  </a:lnTo>
                  <a:lnTo>
                    <a:pt x="164" y="178"/>
                  </a:lnTo>
                  <a:lnTo>
                    <a:pt x="164" y="178"/>
                  </a:lnTo>
                  <a:lnTo>
                    <a:pt x="172" y="174"/>
                  </a:lnTo>
                  <a:lnTo>
                    <a:pt x="178" y="170"/>
                  </a:lnTo>
                  <a:lnTo>
                    <a:pt x="182" y="166"/>
                  </a:lnTo>
                  <a:lnTo>
                    <a:pt x="182" y="166"/>
                  </a:lnTo>
                  <a:lnTo>
                    <a:pt x="184" y="156"/>
                  </a:lnTo>
                  <a:lnTo>
                    <a:pt x="186" y="150"/>
                  </a:lnTo>
                  <a:lnTo>
                    <a:pt x="188" y="144"/>
                  </a:lnTo>
                  <a:lnTo>
                    <a:pt x="188" y="144"/>
                  </a:lnTo>
                  <a:lnTo>
                    <a:pt x="196" y="126"/>
                  </a:lnTo>
                  <a:lnTo>
                    <a:pt x="204" y="110"/>
                  </a:lnTo>
                  <a:lnTo>
                    <a:pt x="204" y="110"/>
                  </a:lnTo>
                  <a:lnTo>
                    <a:pt x="210" y="104"/>
                  </a:lnTo>
                  <a:lnTo>
                    <a:pt x="222" y="96"/>
                  </a:lnTo>
                  <a:lnTo>
                    <a:pt x="236" y="88"/>
                  </a:lnTo>
                  <a:lnTo>
                    <a:pt x="244" y="84"/>
                  </a:lnTo>
                  <a:lnTo>
                    <a:pt x="244" y="84"/>
                  </a:lnTo>
                  <a:lnTo>
                    <a:pt x="248" y="80"/>
                  </a:lnTo>
                  <a:lnTo>
                    <a:pt x="252" y="76"/>
                  </a:lnTo>
                  <a:lnTo>
                    <a:pt x="260" y="64"/>
                  </a:lnTo>
                  <a:lnTo>
                    <a:pt x="272" y="46"/>
                  </a:lnTo>
                  <a:lnTo>
                    <a:pt x="256" y="8"/>
                  </a:lnTo>
                  <a:lnTo>
                    <a:pt x="290" y="0"/>
                  </a:lnTo>
                  <a:lnTo>
                    <a:pt x="290" y="0"/>
                  </a:lnTo>
                  <a:lnTo>
                    <a:pt x="300" y="8"/>
                  </a:lnTo>
                  <a:lnTo>
                    <a:pt x="310" y="16"/>
                  </a:lnTo>
                  <a:lnTo>
                    <a:pt x="324" y="24"/>
                  </a:lnTo>
                  <a:lnTo>
                    <a:pt x="324" y="24"/>
                  </a:lnTo>
                  <a:lnTo>
                    <a:pt x="340" y="34"/>
                  </a:lnTo>
                  <a:lnTo>
                    <a:pt x="354" y="46"/>
                  </a:lnTo>
                  <a:lnTo>
                    <a:pt x="370" y="58"/>
                  </a:lnTo>
                  <a:lnTo>
                    <a:pt x="382" y="74"/>
                  </a:lnTo>
                  <a:lnTo>
                    <a:pt x="382" y="74"/>
                  </a:lnTo>
                  <a:lnTo>
                    <a:pt x="396" y="92"/>
                  </a:lnTo>
                  <a:lnTo>
                    <a:pt x="412" y="112"/>
                  </a:lnTo>
                  <a:lnTo>
                    <a:pt x="428" y="128"/>
                  </a:lnTo>
                  <a:lnTo>
                    <a:pt x="436" y="132"/>
                  </a:lnTo>
                  <a:lnTo>
                    <a:pt x="442" y="136"/>
                  </a:lnTo>
                  <a:lnTo>
                    <a:pt x="442" y="136"/>
                  </a:lnTo>
                  <a:lnTo>
                    <a:pt x="490" y="150"/>
                  </a:lnTo>
                  <a:lnTo>
                    <a:pt x="518" y="156"/>
                  </a:lnTo>
                  <a:lnTo>
                    <a:pt x="528" y="158"/>
                  </a:lnTo>
                  <a:lnTo>
                    <a:pt x="536" y="158"/>
                  </a:lnTo>
                  <a:lnTo>
                    <a:pt x="536" y="158"/>
                  </a:lnTo>
                  <a:lnTo>
                    <a:pt x="548" y="154"/>
                  </a:lnTo>
                  <a:lnTo>
                    <a:pt x="560" y="150"/>
                  </a:lnTo>
                  <a:lnTo>
                    <a:pt x="576" y="144"/>
                  </a:lnTo>
                  <a:lnTo>
                    <a:pt x="576" y="144"/>
                  </a:lnTo>
                  <a:lnTo>
                    <a:pt x="570" y="158"/>
                  </a:lnTo>
                  <a:lnTo>
                    <a:pt x="568" y="172"/>
                  </a:lnTo>
                  <a:lnTo>
                    <a:pt x="568" y="178"/>
                  </a:lnTo>
                  <a:lnTo>
                    <a:pt x="570" y="184"/>
                  </a:lnTo>
                  <a:lnTo>
                    <a:pt x="570" y="184"/>
                  </a:lnTo>
                  <a:lnTo>
                    <a:pt x="576" y="196"/>
                  </a:lnTo>
                  <a:lnTo>
                    <a:pt x="584" y="206"/>
                  </a:lnTo>
                  <a:lnTo>
                    <a:pt x="598" y="224"/>
                  </a:lnTo>
                  <a:lnTo>
                    <a:pt x="598" y="224"/>
                  </a:lnTo>
                  <a:lnTo>
                    <a:pt x="614" y="244"/>
                  </a:lnTo>
                  <a:lnTo>
                    <a:pt x="622" y="256"/>
                  </a:lnTo>
                  <a:lnTo>
                    <a:pt x="622" y="256"/>
                  </a:lnTo>
                  <a:lnTo>
                    <a:pt x="618" y="264"/>
                  </a:lnTo>
                  <a:lnTo>
                    <a:pt x="614" y="272"/>
                  </a:lnTo>
                  <a:lnTo>
                    <a:pt x="608" y="276"/>
                  </a:lnTo>
                  <a:lnTo>
                    <a:pt x="608" y="276"/>
                  </a:lnTo>
                  <a:lnTo>
                    <a:pt x="604" y="280"/>
                  </a:lnTo>
                  <a:lnTo>
                    <a:pt x="600" y="286"/>
                  </a:lnTo>
                  <a:lnTo>
                    <a:pt x="594" y="292"/>
                  </a:lnTo>
                  <a:lnTo>
                    <a:pt x="590" y="288"/>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295" name="Freeform 83"/>
            <p:cNvSpPr>
              <a:spLocks/>
            </p:cNvSpPr>
            <p:nvPr/>
          </p:nvSpPr>
          <p:spPr bwMode="auto">
            <a:xfrm>
              <a:off x="4564730" y="5378659"/>
              <a:ext cx="48776" cy="44204"/>
            </a:xfrm>
            <a:custGeom>
              <a:avLst/>
              <a:gdLst/>
              <a:ahLst/>
              <a:cxnLst>
                <a:cxn ang="0">
                  <a:pos x="0" y="0"/>
                </a:cxn>
                <a:cxn ang="0">
                  <a:pos x="0" y="0"/>
                </a:cxn>
                <a:cxn ang="0">
                  <a:pos x="8" y="0"/>
                </a:cxn>
                <a:cxn ang="0">
                  <a:pos x="14" y="2"/>
                </a:cxn>
                <a:cxn ang="0">
                  <a:pos x="18" y="4"/>
                </a:cxn>
                <a:cxn ang="0">
                  <a:pos x="18" y="4"/>
                </a:cxn>
                <a:cxn ang="0">
                  <a:pos x="30" y="16"/>
                </a:cxn>
                <a:cxn ang="0">
                  <a:pos x="36" y="22"/>
                </a:cxn>
                <a:cxn ang="0">
                  <a:pos x="60" y="36"/>
                </a:cxn>
                <a:cxn ang="0">
                  <a:pos x="64" y="58"/>
                </a:cxn>
                <a:cxn ang="0">
                  <a:pos x="64" y="58"/>
                </a:cxn>
                <a:cxn ang="0">
                  <a:pos x="44" y="44"/>
                </a:cxn>
                <a:cxn ang="0">
                  <a:pos x="44" y="44"/>
                </a:cxn>
                <a:cxn ang="0">
                  <a:pos x="34" y="36"/>
                </a:cxn>
                <a:cxn ang="0">
                  <a:pos x="18" y="24"/>
                </a:cxn>
                <a:cxn ang="0">
                  <a:pos x="2" y="10"/>
                </a:cxn>
                <a:cxn ang="0">
                  <a:pos x="0" y="4"/>
                </a:cxn>
                <a:cxn ang="0">
                  <a:pos x="0" y="0"/>
                </a:cxn>
                <a:cxn ang="0">
                  <a:pos x="0" y="0"/>
                </a:cxn>
              </a:cxnLst>
              <a:rect l="0" t="0" r="r" b="b"/>
              <a:pathLst>
                <a:path w="64" h="58">
                  <a:moveTo>
                    <a:pt x="0" y="0"/>
                  </a:moveTo>
                  <a:lnTo>
                    <a:pt x="0" y="0"/>
                  </a:lnTo>
                  <a:lnTo>
                    <a:pt x="8" y="0"/>
                  </a:lnTo>
                  <a:lnTo>
                    <a:pt x="14" y="2"/>
                  </a:lnTo>
                  <a:lnTo>
                    <a:pt x="18" y="4"/>
                  </a:lnTo>
                  <a:lnTo>
                    <a:pt x="18" y="4"/>
                  </a:lnTo>
                  <a:lnTo>
                    <a:pt x="30" y="16"/>
                  </a:lnTo>
                  <a:lnTo>
                    <a:pt x="36" y="22"/>
                  </a:lnTo>
                  <a:lnTo>
                    <a:pt x="60" y="36"/>
                  </a:lnTo>
                  <a:lnTo>
                    <a:pt x="64" y="58"/>
                  </a:lnTo>
                  <a:lnTo>
                    <a:pt x="64" y="58"/>
                  </a:lnTo>
                  <a:lnTo>
                    <a:pt x="44" y="44"/>
                  </a:lnTo>
                  <a:lnTo>
                    <a:pt x="44" y="44"/>
                  </a:lnTo>
                  <a:lnTo>
                    <a:pt x="34" y="36"/>
                  </a:lnTo>
                  <a:lnTo>
                    <a:pt x="18" y="24"/>
                  </a:lnTo>
                  <a:lnTo>
                    <a:pt x="2" y="10"/>
                  </a:lnTo>
                  <a:lnTo>
                    <a:pt x="0" y="4"/>
                  </a:lnTo>
                  <a:lnTo>
                    <a:pt x="0" y="0"/>
                  </a:lnTo>
                  <a:lnTo>
                    <a:pt x="0" y="0"/>
                  </a:lnTo>
                  <a:close/>
                </a:path>
              </a:pathLst>
            </a:custGeom>
            <a:solidFill>
              <a:schemeClr val="bg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298" name="Freeform 86"/>
            <p:cNvSpPr>
              <a:spLocks/>
            </p:cNvSpPr>
            <p:nvPr/>
          </p:nvSpPr>
          <p:spPr bwMode="auto">
            <a:xfrm>
              <a:off x="4811659" y="5435055"/>
              <a:ext cx="499959" cy="507579"/>
            </a:xfrm>
            <a:custGeom>
              <a:avLst/>
              <a:gdLst/>
              <a:ahLst/>
              <a:cxnLst>
                <a:cxn ang="0">
                  <a:pos x="646" y="190"/>
                </a:cxn>
                <a:cxn ang="0">
                  <a:pos x="622" y="156"/>
                </a:cxn>
                <a:cxn ang="0">
                  <a:pos x="534" y="154"/>
                </a:cxn>
                <a:cxn ang="0">
                  <a:pos x="488" y="166"/>
                </a:cxn>
                <a:cxn ang="0">
                  <a:pos x="476" y="192"/>
                </a:cxn>
                <a:cxn ang="0">
                  <a:pos x="454" y="198"/>
                </a:cxn>
                <a:cxn ang="0">
                  <a:pos x="406" y="186"/>
                </a:cxn>
                <a:cxn ang="0">
                  <a:pos x="346" y="210"/>
                </a:cxn>
                <a:cxn ang="0">
                  <a:pos x="372" y="250"/>
                </a:cxn>
                <a:cxn ang="0">
                  <a:pos x="362" y="282"/>
                </a:cxn>
                <a:cxn ang="0">
                  <a:pos x="294" y="280"/>
                </a:cxn>
                <a:cxn ang="0">
                  <a:pos x="278" y="260"/>
                </a:cxn>
                <a:cxn ang="0">
                  <a:pos x="266" y="236"/>
                </a:cxn>
                <a:cxn ang="0">
                  <a:pos x="226" y="262"/>
                </a:cxn>
                <a:cxn ang="0">
                  <a:pos x="240" y="320"/>
                </a:cxn>
                <a:cxn ang="0">
                  <a:pos x="270" y="372"/>
                </a:cxn>
                <a:cxn ang="0">
                  <a:pos x="324" y="418"/>
                </a:cxn>
                <a:cxn ang="0">
                  <a:pos x="306" y="454"/>
                </a:cxn>
                <a:cxn ang="0">
                  <a:pos x="294" y="510"/>
                </a:cxn>
                <a:cxn ang="0">
                  <a:pos x="316" y="536"/>
                </a:cxn>
                <a:cxn ang="0">
                  <a:pos x="402" y="548"/>
                </a:cxn>
                <a:cxn ang="0">
                  <a:pos x="412" y="540"/>
                </a:cxn>
                <a:cxn ang="0">
                  <a:pos x="436" y="530"/>
                </a:cxn>
                <a:cxn ang="0">
                  <a:pos x="464" y="548"/>
                </a:cxn>
                <a:cxn ang="0">
                  <a:pos x="470" y="592"/>
                </a:cxn>
                <a:cxn ang="0">
                  <a:pos x="510" y="608"/>
                </a:cxn>
                <a:cxn ang="0">
                  <a:pos x="538" y="620"/>
                </a:cxn>
                <a:cxn ang="0">
                  <a:pos x="496" y="638"/>
                </a:cxn>
                <a:cxn ang="0">
                  <a:pos x="472" y="654"/>
                </a:cxn>
                <a:cxn ang="0">
                  <a:pos x="460" y="666"/>
                </a:cxn>
                <a:cxn ang="0">
                  <a:pos x="434" y="644"/>
                </a:cxn>
                <a:cxn ang="0">
                  <a:pos x="406" y="642"/>
                </a:cxn>
                <a:cxn ang="0">
                  <a:pos x="394" y="618"/>
                </a:cxn>
                <a:cxn ang="0">
                  <a:pos x="332" y="594"/>
                </a:cxn>
                <a:cxn ang="0">
                  <a:pos x="238" y="598"/>
                </a:cxn>
                <a:cxn ang="0">
                  <a:pos x="178" y="604"/>
                </a:cxn>
                <a:cxn ang="0">
                  <a:pos x="144" y="622"/>
                </a:cxn>
                <a:cxn ang="0">
                  <a:pos x="124" y="570"/>
                </a:cxn>
                <a:cxn ang="0">
                  <a:pos x="112" y="518"/>
                </a:cxn>
                <a:cxn ang="0">
                  <a:pos x="70" y="496"/>
                </a:cxn>
                <a:cxn ang="0">
                  <a:pos x="30" y="480"/>
                </a:cxn>
                <a:cxn ang="0">
                  <a:pos x="18" y="402"/>
                </a:cxn>
                <a:cxn ang="0">
                  <a:pos x="42" y="312"/>
                </a:cxn>
                <a:cxn ang="0">
                  <a:pos x="68" y="216"/>
                </a:cxn>
                <a:cxn ang="0">
                  <a:pos x="152" y="180"/>
                </a:cxn>
                <a:cxn ang="0">
                  <a:pos x="218" y="168"/>
                </a:cxn>
                <a:cxn ang="0">
                  <a:pos x="258" y="124"/>
                </a:cxn>
                <a:cxn ang="0">
                  <a:pos x="306" y="106"/>
                </a:cxn>
                <a:cxn ang="0">
                  <a:pos x="372" y="80"/>
                </a:cxn>
                <a:cxn ang="0">
                  <a:pos x="422" y="70"/>
                </a:cxn>
                <a:cxn ang="0">
                  <a:pos x="504" y="110"/>
                </a:cxn>
                <a:cxn ang="0">
                  <a:pos x="560" y="98"/>
                </a:cxn>
                <a:cxn ang="0">
                  <a:pos x="606" y="82"/>
                </a:cxn>
                <a:cxn ang="0">
                  <a:pos x="598" y="32"/>
                </a:cxn>
                <a:cxn ang="0">
                  <a:pos x="610" y="0"/>
                </a:cxn>
                <a:cxn ang="0">
                  <a:pos x="646" y="30"/>
                </a:cxn>
                <a:cxn ang="0">
                  <a:pos x="648" y="72"/>
                </a:cxn>
                <a:cxn ang="0">
                  <a:pos x="646" y="148"/>
                </a:cxn>
              </a:cxnLst>
              <a:rect l="0" t="0" r="r" b="b"/>
              <a:pathLst>
                <a:path w="656" h="666">
                  <a:moveTo>
                    <a:pt x="656" y="174"/>
                  </a:moveTo>
                  <a:lnTo>
                    <a:pt x="656" y="174"/>
                  </a:lnTo>
                  <a:lnTo>
                    <a:pt x="654" y="178"/>
                  </a:lnTo>
                  <a:lnTo>
                    <a:pt x="650" y="186"/>
                  </a:lnTo>
                  <a:lnTo>
                    <a:pt x="648" y="190"/>
                  </a:lnTo>
                  <a:lnTo>
                    <a:pt x="646" y="190"/>
                  </a:lnTo>
                  <a:lnTo>
                    <a:pt x="642" y="190"/>
                  </a:lnTo>
                  <a:lnTo>
                    <a:pt x="638" y="184"/>
                  </a:lnTo>
                  <a:lnTo>
                    <a:pt x="638" y="184"/>
                  </a:lnTo>
                  <a:lnTo>
                    <a:pt x="626" y="164"/>
                  </a:lnTo>
                  <a:lnTo>
                    <a:pt x="622" y="156"/>
                  </a:lnTo>
                  <a:lnTo>
                    <a:pt x="622" y="156"/>
                  </a:lnTo>
                  <a:lnTo>
                    <a:pt x="618" y="156"/>
                  </a:lnTo>
                  <a:lnTo>
                    <a:pt x="596" y="156"/>
                  </a:lnTo>
                  <a:lnTo>
                    <a:pt x="596" y="156"/>
                  </a:lnTo>
                  <a:lnTo>
                    <a:pt x="558" y="154"/>
                  </a:lnTo>
                  <a:lnTo>
                    <a:pt x="534" y="154"/>
                  </a:lnTo>
                  <a:lnTo>
                    <a:pt x="534" y="154"/>
                  </a:lnTo>
                  <a:lnTo>
                    <a:pt x="528" y="152"/>
                  </a:lnTo>
                  <a:lnTo>
                    <a:pt x="522" y="152"/>
                  </a:lnTo>
                  <a:lnTo>
                    <a:pt x="512" y="154"/>
                  </a:lnTo>
                  <a:lnTo>
                    <a:pt x="500" y="160"/>
                  </a:lnTo>
                  <a:lnTo>
                    <a:pt x="500" y="160"/>
                  </a:lnTo>
                  <a:lnTo>
                    <a:pt x="488" y="166"/>
                  </a:lnTo>
                  <a:lnTo>
                    <a:pt x="476" y="168"/>
                  </a:lnTo>
                  <a:lnTo>
                    <a:pt x="470" y="172"/>
                  </a:lnTo>
                  <a:lnTo>
                    <a:pt x="470" y="174"/>
                  </a:lnTo>
                  <a:lnTo>
                    <a:pt x="470" y="178"/>
                  </a:lnTo>
                  <a:lnTo>
                    <a:pt x="470" y="178"/>
                  </a:lnTo>
                  <a:lnTo>
                    <a:pt x="476" y="192"/>
                  </a:lnTo>
                  <a:lnTo>
                    <a:pt x="476" y="198"/>
                  </a:lnTo>
                  <a:lnTo>
                    <a:pt x="476" y="198"/>
                  </a:lnTo>
                  <a:lnTo>
                    <a:pt x="474" y="200"/>
                  </a:lnTo>
                  <a:lnTo>
                    <a:pt x="474" y="200"/>
                  </a:lnTo>
                  <a:lnTo>
                    <a:pt x="464" y="200"/>
                  </a:lnTo>
                  <a:lnTo>
                    <a:pt x="454" y="198"/>
                  </a:lnTo>
                  <a:lnTo>
                    <a:pt x="442" y="194"/>
                  </a:lnTo>
                  <a:lnTo>
                    <a:pt x="434" y="190"/>
                  </a:lnTo>
                  <a:lnTo>
                    <a:pt x="434" y="190"/>
                  </a:lnTo>
                  <a:lnTo>
                    <a:pt x="426" y="188"/>
                  </a:lnTo>
                  <a:lnTo>
                    <a:pt x="418" y="186"/>
                  </a:lnTo>
                  <a:lnTo>
                    <a:pt x="406" y="186"/>
                  </a:lnTo>
                  <a:lnTo>
                    <a:pt x="396" y="190"/>
                  </a:lnTo>
                  <a:lnTo>
                    <a:pt x="396" y="190"/>
                  </a:lnTo>
                  <a:lnTo>
                    <a:pt x="380" y="196"/>
                  </a:lnTo>
                  <a:lnTo>
                    <a:pt x="362" y="202"/>
                  </a:lnTo>
                  <a:lnTo>
                    <a:pt x="348" y="208"/>
                  </a:lnTo>
                  <a:lnTo>
                    <a:pt x="346" y="210"/>
                  </a:lnTo>
                  <a:lnTo>
                    <a:pt x="346" y="214"/>
                  </a:lnTo>
                  <a:lnTo>
                    <a:pt x="346" y="214"/>
                  </a:lnTo>
                  <a:lnTo>
                    <a:pt x="354" y="222"/>
                  </a:lnTo>
                  <a:lnTo>
                    <a:pt x="362" y="232"/>
                  </a:lnTo>
                  <a:lnTo>
                    <a:pt x="372" y="250"/>
                  </a:lnTo>
                  <a:lnTo>
                    <a:pt x="372" y="250"/>
                  </a:lnTo>
                  <a:lnTo>
                    <a:pt x="376" y="258"/>
                  </a:lnTo>
                  <a:lnTo>
                    <a:pt x="376" y="264"/>
                  </a:lnTo>
                  <a:lnTo>
                    <a:pt x="376" y="270"/>
                  </a:lnTo>
                  <a:lnTo>
                    <a:pt x="374" y="274"/>
                  </a:lnTo>
                  <a:lnTo>
                    <a:pt x="368" y="280"/>
                  </a:lnTo>
                  <a:lnTo>
                    <a:pt x="362" y="282"/>
                  </a:lnTo>
                  <a:lnTo>
                    <a:pt x="352" y="282"/>
                  </a:lnTo>
                  <a:lnTo>
                    <a:pt x="352" y="282"/>
                  </a:lnTo>
                  <a:lnTo>
                    <a:pt x="312" y="280"/>
                  </a:lnTo>
                  <a:lnTo>
                    <a:pt x="312" y="280"/>
                  </a:lnTo>
                  <a:lnTo>
                    <a:pt x="308" y="280"/>
                  </a:lnTo>
                  <a:lnTo>
                    <a:pt x="294" y="280"/>
                  </a:lnTo>
                  <a:lnTo>
                    <a:pt x="288" y="278"/>
                  </a:lnTo>
                  <a:lnTo>
                    <a:pt x="282" y="276"/>
                  </a:lnTo>
                  <a:lnTo>
                    <a:pt x="278" y="272"/>
                  </a:lnTo>
                  <a:lnTo>
                    <a:pt x="276" y="266"/>
                  </a:lnTo>
                  <a:lnTo>
                    <a:pt x="276" y="266"/>
                  </a:lnTo>
                  <a:lnTo>
                    <a:pt x="278" y="260"/>
                  </a:lnTo>
                  <a:lnTo>
                    <a:pt x="280" y="252"/>
                  </a:lnTo>
                  <a:lnTo>
                    <a:pt x="284" y="240"/>
                  </a:lnTo>
                  <a:lnTo>
                    <a:pt x="286" y="236"/>
                  </a:lnTo>
                  <a:lnTo>
                    <a:pt x="282" y="234"/>
                  </a:lnTo>
                  <a:lnTo>
                    <a:pt x="276" y="232"/>
                  </a:lnTo>
                  <a:lnTo>
                    <a:pt x="266" y="236"/>
                  </a:lnTo>
                  <a:lnTo>
                    <a:pt x="266" y="236"/>
                  </a:lnTo>
                  <a:lnTo>
                    <a:pt x="242" y="244"/>
                  </a:lnTo>
                  <a:lnTo>
                    <a:pt x="234" y="246"/>
                  </a:lnTo>
                  <a:lnTo>
                    <a:pt x="230" y="250"/>
                  </a:lnTo>
                  <a:lnTo>
                    <a:pt x="226" y="254"/>
                  </a:lnTo>
                  <a:lnTo>
                    <a:pt x="226" y="262"/>
                  </a:lnTo>
                  <a:lnTo>
                    <a:pt x="228" y="270"/>
                  </a:lnTo>
                  <a:lnTo>
                    <a:pt x="232" y="282"/>
                  </a:lnTo>
                  <a:lnTo>
                    <a:pt x="232" y="282"/>
                  </a:lnTo>
                  <a:lnTo>
                    <a:pt x="236" y="294"/>
                  </a:lnTo>
                  <a:lnTo>
                    <a:pt x="238" y="304"/>
                  </a:lnTo>
                  <a:lnTo>
                    <a:pt x="240" y="320"/>
                  </a:lnTo>
                  <a:lnTo>
                    <a:pt x="242" y="326"/>
                  </a:lnTo>
                  <a:lnTo>
                    <a:pt x="244" y="336"/>
                  </a:lnTo>
                  <a:lnTo>
                    <a:pt x="250" y="346"/>
                  </a:lnTo>
                  <a:lnTo>
                    <a:pt x="260" y="358"/>
                  </a:lnTo>
                  <a:lnTo>
                    <a:pt x="260" y="358"/>
                  </a:lnTo>
                  <a:lnTo>
                    <a:pt x="270" y="372"/>
                  </a:lnTo>
                  <a:lnTo>
                    <a:pt x="282" y="382"/>
                  </a:lnTo>
                  <a:lnTo>
                    <a:pt x="302" y="400"/>
                  </a:lnTo>
                  <a:lnTo>
                    <a:pt x="316" y="412"/>
                  </a:lnTo>
                  <a:lnTo>
                    <a:pt x="322" y="416"/>
                  </a:lnTo>
                  <a:lnTo>
                    <a:pt x="324" y="418"/>
                  </a:lnTo>
                  <a:lnTo>
                    <a:pt x="324" y="418"/>
                  </a:lnTo>
                  <a:lnTo>
                    <a:pt x="324" y="420"/>
                  </a:lnTo>
                  <a:lnTo>
                    <a:pt x="322" y="424"/>
                  </a:lnTo>
                  <a:lnTo>
                    <a:pt x="316" y="430"/>
                  </a:lnTo>
                  <a:lnTo>
                    <a:pt x="310" y="440"/>
                  </a:lnTo>
                  <a:lnTo>
                    <a:pt x="306" y="446"/>
                  </a:lnTo>
                  <a:lnTo>
                    <a:pt x="306" y="454"/>
                  </a:lnTo>
                  <a:lnTo>
                    <a:pt x="306" y="454"/>
                  </a:lnTo>
                  <a:lnTo>
                    <a:pt x="304" y="484"/>
                  </a:lnTo>
                  <a:lnTo>
                    <a:pt x="306" y="500"/>
                  </a:lnTo>
                  <a:lnTo>
                    <a:pt x="306" y="500"/>
                  </a:lnTo>
                  <a:lnTo>
                    <a:pt x="302" y="504"/>
                  </a:lnTo>
                  <a:lnTo>
                    <a:pt x="294" y="510"/>
                  </a:lnTo>
                  <a:lnTo>
                    <a:pt x="292" y="516"/>
                  </a:lnTo>
                  <a:lnTo>
                    <a:pt x="290" y="520"/>
                  </a:lnTo>
                  <a:lnTo>
                    <a:pt x="292" y="526"/>
                  </a:lnTo>
                  <a:lnTo>
                    <a:pt x="296" y="530"/>
                  </a:lnTo>
                  <a:lnTo>
                    <a:pt x="296" y="530"/>
                  </a:lnTo>
                  <a:lnTo>
                    <a:pt x="316" y="536"/>
                  </a:lnTo>
                  <a:lnTo>
                    <a:pt x="346" y="544"/>
                  </a:lnTo>
                  <a:lnTo>
                    <a:pt x="374" y="550"/>
                  </a:lnTo>
                  <a:lnTo>
                    <a:pt x="386" y="550"/>
                  </a:lnTo>
                  <a:lnTo>
                    <a:pt x="392" y="548"/>
                  </a:lnTo>
                  <a:lnTo>
                    <a:pt x="392" y="548"/>
                  </a:lnTo>
                  <a:lnTo>
                    <a:pt x="402" y="548"/>
                  </a:lnTo>
                  <a:lnTo>
                    <a:pt x="408" y="550"/>
                  </a:lnTo>
                  <a:lnTo>
                    <a:pt x="410" y="552"/>
                  </a:lnTo>
                  <a:lnTo>
                    <a:pt x="412" y="554"/>
                  </a:lnTo>
                  <a:lnTo>
                    <a:pt x="412" y="554"/>
                  </a:lnTo>
                  <a:lnTo>
                    <a:pt x="410" y="550"/>
                  </a:lnTo>
                  <a:lnTo>
                    <a:pt x="412" y="540"/>
                  </a:lnTo>
                  <a:lnTo>
                    <a:pt x="412" y="536"/>
                  </a:lnTo>
                  <a:lnTo>
                    <a:pt x="414" y="532"/>
                  </a:lnTo>
                  <a:lnTo>
                    <a:pt x="418" y="530"/>
                  </a:lnTo>
                  <a:lnTo>
                    <a:pt x="422" y="530"/>
                  </a:lnTo>
                  <a:lnTo>
                    <a:pt x="422" y="530"/>
                  </a:lnTo>
                  <a:lnTo>
                    <a:pt x="436" y="530"/>
                  </a:lnTo>
                  <a:lnTo>
                    <a:pt x="452" y="532"/>
                  </a:lnTo>
                  <a:lnTo>
                    <a:pt x="458" y="532"/>
                  </a:lnTo>
                  <a:lnTo>
                    <a:pt x="462" y="536"/>
                  </a:lnTo>
                  <a:lnTo>
                    <a:pt x="466" y="540"/>
                  </a:lnTo>
                  <a:lnTo>
                    <a:pt x="464" y="548"/>
                  </a:lnTo>
                  <a:lnTo>
                    <a:pt x="464" y="548"/>
                  </a:lnTo>
                  <a:lnTo>
                    <a:pt x="460" y="566"/>
                  </a:lnTo>
                  <a:lnTo>
                    <a:pt x="460" y="580"/>
                  </a:lnTo>
                  <a:lnTo>
                    <a:pt x="464" y="588"/>
                  </a:lnTo>
                  <a:lnTo>
                    <a:pt x="468" y="592"/>
                  </a:lnTo>
                  <a:lnTo>
                    <a:pt x="470" y="592"/>
                  </a:lnTo>
                  <a:lnTo>
                    <a:pt x="470" y="592"/>
                  </a:lnTo>
                  <a:lnTo>
                    <a:pt x="474" y="592"/>
                  </a:lnTo>
                  <a:lnTo>
                    <a:pt x="476" y="594"/>
                  </a:lnTo>
                  <a:lnTo>
                    <a:pt x="480" y="598"/>
                  </a:lnTo>
                  <a:lnTo>
                    <a:pt x="492" y="604"/>
                  </a:lnTo>
                  <a:lnTo>
                    <a:pt x="492" y="604"/>
                  </a:lnTo>
                  <a:lnTo>
                    <a:pt x="510" y="608"/>
                  </a:lnTo>
                  <a:lnTo>
                    <a:pt x="524" y="608"/>
                  </a:lnTo>
                  <a:lnTo>
                    <a:pt x="534" y="610"/>
                  </a:lnTo>
                  <a:lnTo>
                    <a:pt x="538" y="612"/>
                  </a:lnTo>
                  <a:lnTo>
                    <a:pt x="538" y="616"/>
                  </a:lnTo>
                  <a:lnTo>
                    <a:pt x="538" y="616"/>
                  </a:lnTo>
                  <a:lnTo>
                    <a:pt x="538" y="620"/>
                  </a:lnTo>
                  <a:lnTo>
                    <a:pt x="534" y="624"/>
                  </a:lnTo>
                  <a:lnTo>
                    <a:pt x="524" y="632"/>
                  </a:lnTo>
                  <a:lnTo>
                    <a:pt x="510" y="638"/>
                  </a:lnTo>
                  <a:lnTo>
                    <a:pt x="504" y="638"/>
                  </a:lnTo>
                  <a:lnTo>
                    <a:pt x="496" y="638"/>
                  </a:lnTo>
                  <a:lnTo>
                    <a:pt x="496" y="638"/>
                  </a:lnTo>
                  <a:lnTo>
                    <a:pt x="488" y="640"/>
                  </a:lnTo>
                  <a:lnTo>
                    <a:pt x="482" y="640"/>
                  </a:lnTo>
                  <a:lnTo>
                    <a:pt x="478" y="644"/>
                  </a:lnTo>
                  <a:lnTo>
                    <a:pt x="474" y="646"/>
                  </a:lnTo>
                  <a:lnTo>
                    <a:pt x="472" y="650"/>
                  </a:lnTo>
                  <a:lnTo>
                    <a:pt x="472" y="654"/>
                  </a:lnTo>
                  <a:lnTo>
                    <a:pt x="472" y="658"/>
                  </a:lnTo>
                  <a:lnTo>
                    <a:pt x="474" y="660"/>
                  </a:lnTo>
                  <a:lnTo>
                    <a:pt x="474" y="660"/>
                  </a:lnTo>
                  <a:lnTo>
                    <a:pt x="474" y="664"/>
                  </a:lnTo>
                  <a:lnTo>
                    <a:pt x="472" y="664"/>
                  </a:lnTo>
                  <a:lnTo>
                    <a:pt x="460" y="666"/>
                  </a:lnTo>
                  <a:lnTo>
                    <a:pt x="442" y="664"/>
                  </a:lnTo>
                  <a:lnTo>
                    <a:pt x="442" y="664"/>
                  </a:lnTo>
                  <a:lnTo>
                    <a:pt x="442" y="656"/>
                  </a:lnTo>
                  <a:lnTo>
                    <a:pt x="440" y="650"/>
                  </a:lnTo>
                  <a:lnTo>
                    <a:pt x="438" y="646"/>
                  </a:lnTo>
                  <a:lnTo>
                    <a:pt x="434" y="644"/>
                  </a:lnTo>
                  <a:lnTo>
                    <a:pt x="434" y="644"/>
                  </a:lnTo>
                  <a:lnTo>
                    <a:pt x="426" y="640"/>
                  </a:lnTo>
                  <a:lnTo>
                    <a:pt x="418" y="640"/>
                  </a:lnTo>
                  <a:lnTo>
                    <a:pt x="412" y="640"/>
                  </a:lnTo>
                  <a:lnTo>
                    <a:pt x="406" y="642"/>
                  </a:lnTo>
                  <a:lnTo>
                    <a:pt x="406" y="642"/>
                  </a:lnTo>
                  <a:lnTo>
                    <a:pt x="402" y="642"/>
                  </a:lnTo>
                  <a:lnTo>
                    <a:pt x="402" y="640"/>
                  </a:lnTo>
                  <a:lnTo>
                    <a:pt x="400" y="634"/>
                  </a:lnTo>
                  <a:lnTo>
                    <a:pt x="400" y="634"/>
                  </a:lnTo>
                  <a:lnTo>
                    <a:pt x="398" y="628"/>
                  </a:lnTo>
                  <a:lnTo>
                    <a:pt x="394" y="618"/>
                  </a:lnTo>
                  <a:lnTo>
                    <a:pt x="384" y="610"/>
                  </a:lnTo>
                  <a:lnTo>
                    <a:pt x="372" y="602"/>
                  </a:lnTo>
                  <a:lnTo>
                    <a:pt x="372" y="602"/>
                  </a:lnTo>
                  <a:lnTo>
                    <a:pt x="360" y="598"/>
                  </a:lnTo>
                  <a:lnTo>
                    <a:pt x="348" y="596"/>
                  </a:lnTo>
                  <a:lnTo>
                    <a:pt x="332" y="594"/>
                  </a:lnTo>
                  <a:lnTo>
                    <a:pt x="310" y="590"/>
                  </a:lnTo>
                  <a:lnTo>
                    <a:pt x="310" y="590"/>
                  </a:lnTo>
                  <a:lnTo>
                    <a:pt x="288" y="586"/>
                  </a:lnTo>
                  <a:lnTo>
                    <a:pt x="272" y="586"/>
                  </a:lnTo>
                  <a:lnTo>
                    <a:pt x="256" y="590"/>
                  </a:lnTo>
                  <a:lnTo>
                    <a:pt x="238" y="598"/>
                  </a:lnTo>
                  <a:lnTo>
                    <a:pt x="238" y="598"/>
                  </a:lnTo>
                  <a:lnTo>
                    <a:pt x="228" y="604"/>
                  </a:lnTo>
                  <a:lnTo>
                    <a:pt x="218" y="606"/>
                  </a:lnTo>
                  <a:lnTo>
                    <a:pt x="208" y="606"/>
                  </a:lnTo>
                  <a:lnTo>
                    <a:pt x="196" y="606"/>
                  </a:lnTo>
                  <a:lnTo>
                    <a:pt x="178" y="604"/>
                  </a:lnTo>
                  <a:lnTo>
                    <a:pt x="166" y="604"/>
                  </a:lnTo>
                  <a:lnTo>
                    <a:pt x="166" y="604"/>
                  </a:lnTo>
                  <a:lnTo>
                    <a:pt x="162" y="606"/>
                  </a:lnTo>
                  <a:lnTo>
                    <a:pt x="158" y="610"/>
                  </a:lnTo>
                  <a:lnTo>
                    <a:pt x="148" y="620"/>
                  </a:lnTo>
                  <a:lnTo>
                    <a:pt x="144" y="622"/>
                  </a:lnTo>
                  <a:lnTo>
                    <a:pt x="140" y="622"/>
                  </a:lnTo>
                  <a:lnTo>
                    <a:pt x="136" y="616"/>
                  </a:lnTo>
                  <a:lnTo>
                    <a:pt x="132" y="604"/>
                  </a:lnTo>
                  <a:lnTo>
                    <a:pt x="132" y="604"/>
                  </a:lnTo>
                  <a:lnTo>
                    <a:pt x="126" y="582"/>
                  </a:lnTo>
                  <a:lnTo>
                    <a:pt x="124" y="570"/>
                  </a:lnTo>
                  <a:lnTo>
                    <a:pt x="122" y="560"/>
                  </a:lnTo>
                  <a:lnTo>
                    <a:pt x="116" y="546"/>
                  </a:lnTo>
                  <a:lnTo>
                    <a:pt x="116" y="546"/>
                  </a:lnTo>
                  <a:lnTo>
                    <a:pt x="114" y="538"/>
                  </a:lnTo>
                  <a:lnTo>
                    <a:pt x="112" y="530"/>
                  </a:lnTo>
                  <a:lnTo>
                    <a:pt x="112" y="518"/>
                  </a:lnTo>
                  <a:lnTo>
                    <a:pt x="110" y="512"/>
                  </a:lnTo>
                  <a:lnTo>
                    <a:pt x="108" y="508"/>
                  </a:lnTo>
                  <a:lnTo>
                    <a:pt x="102" y="502"/>
                  </a:lnTo>
                  <a:lnTo>
                    <a:pt x="92" y="500"/>
                  </a:lnTo>
                  <a:lnTo>
                    <a:pt x="92" y="500"/>
                  </a:lnTo>
                  <a:lnTo>
                    <a:pt x="70" y="496"/>
                  </a:lnTo>
                  <a:lnTo>
                    <a:pt x="54" y="494"/>
                  </a:lnTo>
                  <a:lnTo>
                    <a:pt x="48" y="492"/>
                  </a:lnTo>
                  <a:lnTo>
                    <a:pt x="42" y="490"/>
                  </a:lnTo>
                  <a:lnTo>
                    <a:pt x="36" y="486"/>
                  </a:lnTo>
                  <a:lnTo>
                    <a:pt x="30" y="480"/>
                  </a:lnTo>
                  <a:lnTo>
                    <a:pt x="30" y="480"/>
                  </a:lnTo>
                  <a:lnTo>
                    <a:pt x="20" y="466"/>
                  </a:lnTo>
                  <a:lnTo>
                    <a:pt x="10" y="456"/>
                  </a:lnTo>
                  <a:lnTo>
                    <a:pt x="0" y="446"/>
                  </a:lnTo>
                  <a:lnTo>
                    <a:pt x="0" y="446"/>
                  </a:lnTo>
                  <a:lnTo>
                    <a:pt x="10" y="422"/>
                  </a:lnTo>
                  <a:lnTo>
                    <a:pt x="18" y="402"/>
                  </a:lnTo>
                  <a:lnTo>
                    <a:pt x="24" y="390"/>
                  </a:lnTo>
                  <a:lnTo>
                    <a:pt x="24" y="390"/>
                  </a:lnTo>
                  <a:lnTo>
                    <a:pt x="34" y="352"/>
                  </a:lnTo>
                  <a:lnTo>
                    <a:pt x="40" y="328"/>
                  </a:lnTo>
                  <a:lnTo>
                    <a:pt x="42" y="318"/>
                  </a:lnTo>
                  <a:lnTo>
                    <a:pt x="42" y="312"/>
                  </a:lnTo>
                  <a:lnTo>
                    <a:pt x="42" y="312"/>
                  </a:lnTo>
                  <a:lnTo>
                    <a:pt x="42" y="292"/>
                  </a:lnTo>
                  <a:lnTo>
                    <a:pt x="44" y="260"/>
                  </a:lnTo>
                  <a:lnTo>
                    <a:pt x="46" y="218"/>
                  </a:lnTo>
                  <a:lnTo>
                    <a:pt x="46" y="218"/>
                  </a:lnTo>
                  <a:lnTo>
                    <a:pt x="68" y="216"/>
                  </a:lnTo>
                  <a:lnTo>
                    <a:pt x="86" y="214"/>
                  </a:lnTo>
                  <a:lnTo>
                    <a:pt x="100" y="212"/>
                  </a:lnTo>
                  <a:lnTo>
                    <a:pt x="100" y="212"/>
                  </a:lnTo>
                  <a:lnTo>
                    <a:pt x="114" y="204"/>
                  </a:lnTo>
                  <a:lnTo>
                    <a:pt x="128" y="194"/>
                  </a:lnTo>
                  <a:lnTo>
                    <a:pt x="152" y="180"/>
                  </a:lnTo>
                  <a:lnTo>
                    <a:pt x="152" y="180"/>
                  </a:lnTo>
                  <a:lnTo>
                    <a:pt x="162" y="176"/>
                  </a:lnTo>
                  <a:lnTo>
                    <a:pt x="180" y="174"/>
                  </a:lnTo>
                  <a:lnTo>
                    <a:pt x="210" y="170"/>
                  </a:lnTo>
                  <a:lnTo>
                    <a:pt x="210" y="170"/>
                  </a:lnTo>
                  <a:lnTo>
                    <a:pt x="218" y="168"/>
                  </a:lnTo>
                  <a:lnTo>
                    <a:pt x="228" y="162"/>
                  </a:lnTo>
                  <a:lnTo>
                    <a:pt x="238" y="154"/>
                  </a:lnTo>
                  <a:lnTo>
                    <a:pt x="246" y="144"/>
                  </a:lnTo>
                  <a:lnTo>
                    <a:pt x="246" y="144"/>
                  </a:lnTo>
                  <a:lnTo>
                    <a:pt x="254" y="130"/>
                  </a:lnTo>
                  <a:lnTo>
                    <a:pt x="258" y="124"/>
                  </a:lnTo>
                  <a:lnTo>
                    <a:pt x="258" y="124"/>
                  </a:lnTo>
                  <a:lnTo>
                    <a:pt x="272" y="122"/>
                  </a:lnTo>
                  <a:lnTo>
                    <a:pt x="284" y="120"/>
                  </a:lnTo>
                  <a:lnTo>
                    <a:pt x="296" y="114"/>
                  </a:lnTo>
                  <a:lnTo>
                    <a:pt x="296" y="114"/>
                  </a:lnTo>
                  <a:lnTo>
                    <a:pt x="306" y="106"/>
                  </a:lnTo>
                  <a:lnTo>
                    <a:pt x="318" y="102"/>
                  </a:lnTo>
                  <a:lnTo>
                    <a:pt x="346" y="98"/>
                  </a:lnTo>
                  <a:lnTo>
                    <a:pt x="346" y="98"/>
                  </a:lnTo>
                  <a:lnTo>
                    <a:pt x="352" y="94"/>
                  </a:lnTo>
                  <a:lnTo>
                    <a:pt x="360" y="92"/>
                  </a:lnTo>
                  <a:lnTo>
                    <a:pt x="372" y="80"/>
                  </a:lnTo>
                  <a:lnTo>
                    <a:pt x="384" y="72"/>
                  </a:lnTo>
                  <a:lnTo>
                    <a:pt x="390" y="68"/>
                  </a:lnTo>
                  <a:lnTo>
                    <a:pt x="394" y="66"/>
                  </a:lnTo>
                  <a:lnTo>
                    <a:pt x="394" y="66"/>
                  </a:lnTo>
                  <a:lnTo>
                    <a:pt x="406" y="68"/>
                  </a:lnTo>
                  <a:lnTo>
                    <a:pt x="422" y="70"/>
                  </a:lnTo>
                  <a:lnTo>
                    <a:pt x="440" y="76"/>
                  </a:lnTo>
                  <a:lnTo>
                    <a:pt x="458" y="84"/>
                  </a:lnTo>
                  <a:lnTo>
                    <a:pt x="458" y="84"/>
                  </a:lnTo>
                  <a:lnTo>
                    <a:pt x="484" y="102"/>
                  </a:lnTo>
                  <a:lnTo>
                    <a:pt x="498" y="108"/>
                  </a:lnTo>
                  <a:lnTo>
                    <a:pt x="504" y="110"/>
                  </a:lnTo>
                  <a:lnTo>
                    <a:pt x="510" y="108"/>
                  </a:lnTo>
                  <a:lnTo>
                    <a:pt x="510" y="108"/>
                  </a:lnTo>
                  <a:lnTo>
                    <a:pt x="534" y="100"/>
                  </a:lnTo>
                  <a:lnTo>
                    <a:pt x="546" y="98"/>
                  </a:lnTo>
                  <a:lnTo>
                    <a:pt x="560" y="98"/>
                  </a:lnTo>
                  <a:lnTo>
                    <a:pt x="560" y="98"/>
                  </a:lnTo>
                  <a:lnTo>
                    <a:pt x="574" y="98"/>
                  </a:lnTo>
                  <a:lnTo>
                    <a:pt x="588" y="98"/>
                  </a:lnTo>
                  <a:lnTo>
                    <a:pt x="594" y="96"/>
                  </a:lnTo>
                  <a:lnTo>
                    <a:pt x="600" y="92"/>
                  </a:lnTo>
                  <a:lnTo>
                    <a:pt x="604" y="88"/>
                  </a:lnTo>
                  <a:lnTo>
                    <a:pt x="606" y="82"/>
                  </a:lnTo>
                  <a:lnTo>
                    <a:pt x="606" y="82"/>
                  </a:lnTo>
                  <a:lnTo>
                    <a:pt x="608" y="68"/>
                  </a:lnTo>
                  <a:lnTo>
                    <a:pt x="606" y="56"/>
                  </a:lnTo>
                  <a:lnTo>
                    <a:pt x="602" y="38"/>
                  </a:lnTo>
                  <a:lnTo>
                    <a:pt x="602" y="38"/>
                  </a:lnTo>
                  <a:lnTo>
                    <a:pt x="598" y="32"/>
                  </a:lnTo>
                  <a:lnTo>
                    <a:pt x="596" y="28"/>
                  </a:lnTo>
                  <a:lnTo>
                    <a:pt x="596" y="26"/>
                  </a:lnTo>
                  <a:lnTo>
                    <a:pt x="598" y="20"/>
                  </a:lnTo>
                  <a:lnTo>
                    <a:pt x="598" y="20"/>
                  </a:lnTo>
                  <a:lnTo>
                    <a:pt x="606" y="6"/>
                  </a:lnTo>
                  <a:lnTo>
                    <a:pt x="610" y="0"/>
                  </a:lnTo>
                  <a:lnTo>
                    <a:pt x="612" y="0"/>
                  </a:lnTo>
                  <a:lnTo>
                    <a:pt x="614" y="2"/>
                  </a:lnTo>
                  <a:lnTo>
                    <a:pt x="614" y="2"/>
                  </a:lnTo>
                  <a:lnTo>
                    <a:pt x="624" y="8"/>
                  </a:lnTo>
                  <a:lnTo>
                    <a:pt x="636" y="18"/>
                  </a:lnTo>
                  <a:lnTo>
                    <a:pt x="646" y="30"/>
                  </a:lnTo>
                  <a:lnTo>
                    <a:pt x="650" y="36"/>
                  </a:lnTo>
                  <a:lnTo>
                    <a:pt x="652" y="42"/>
                  </a:lnTo>
                  <a:lnTo>
                    <a:pt x="652" y="42"/>
                  </a:lnTo>
                  <a:lnTo>
                    <a:pt x="652" y="50"/>
                  </a:lnTo>
                  <a:lnTo>
                    <a:pt x="652" y="60"/>
                  </a:lnTo>
                  <a:lnTo>
                    <a:pt x="648" y="72"/>
                  </a:lnTo>
                  <a:lnTo>
                    <a:pt x="646" y="86"/>
                  </a:lnTo>
                  <a:lnTo>
                    <a:pt x="646" y="86"/>
                  </a:lnTo>
                  <a:lnTo>
                    <a:pt x="644" y="104"/>
                  </a:lnTo>
                  <a:lnTo>
                    <a:pt x="646" y="120"/>
                  </a:lnTo>
                  <a:lnTo>
                    <a:pt x="646" y="148"/>
                  </a:lnTo>
                  <a:lnTo>
                    <a:pt x="646" y="148"/>
                  </a:lnTo>
                  <a:lnTo>
                    <a:pt x="648" y="160"/>
                  </a:lnTo>
                  <a:lnTo>
                    <a:pt x="650" y="168"/>
                  </a:lnTo>
                  <a:lnTo>
                    <a:pt x="656" y="174"/>
                  </a:lnTo>
                  <a:lnTo>
                    <a:pt x="656" y="174"/>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299" name="Freeform 87"/>
            <p:cNvSpPr>
              <a:spLocks/>
            </p:cNvSpPr>
            <p:nvPr/>
          </p:nvSpPr>
          <p:spPr bwMode="auto">
            <a:xfrm>
              <a:off x="4957989" y="5913678"/>
              <a:ext cx="192057" cy="210348"/>
            </a:xfrm>
            <a:custGeom>
              <a:avLst/>
              <a:gdLst/>
              <a:ahLst/>
              <a:cxnLst>
                <a:cxn ang="0">
                  <a:pos x="6" y="78"/>
                </a:cxn>
                <a:cxn ang="0">
                  <a:pos x="32" y="110"/>
                </a:cxn>
                <a:cxn ang="0">
                  <a:pos x="42" y="136"/>
                </a:cxn>
                <a:cxn ang="0">
                  <a:pos x="40" y="172"/>
                </a:cxn>
                <a:cxn ang="0">
                  <a:pos x="44" y="188"/>
                </a:cxn>
                <a:cxn ang="0">
                  <a:pos x="52" y="198"/>
                </a:cxn>
                <a:cxn ang="0">
                  <a:pos x="66" y="216"/>
                </a:cxn>
                <a:cxn ang="0">
                  <a:pos x="88" y="210"/>
                </a:cxn>
                <a:cxn ang="0">
                  <a:pos x="112" y="188"/>
                </a:cxn>
                <a:cxn ang="0">
                  <a:pos x="120" y="186"/>
                </a:cxn>
                <a:cxn ang="0">
                  <a:pos x="120" y="202"/>
                </a:cxn>
                <a:cxn ang="0">
                  <a:pos x="128" y="212"/>
                </a:cxn>
                <a:cxn ang="0">
                  <a:pos x="144" y="212"/>
                </a:cxn>
                <a:cxn ang="0">
                  <a:pos x="164" y="202"/>
                </a:cxn>
                <a:cxn ang="0">
                  <a:pos x="180" y="202"/>
                </a:cxn>
                <a:cxn ang="0">
                  <a:pos x="210" y="220"/>
                </a:cxn>
                <a:cxn ang="0">
                  <a:pos x="214" y="230"/>
                </a:cxn>
                <a:cxn ang="0">
                  <a:pos x="216" y="272"/>
                </a:cxn>
                <a:cxn ang="0">
                  <a:pos x="232" y="276"/>
                </a:cxn>
                <a:cxn ang="0">
                  <a:pos x="240" y="266"/>
                </a:cxn>
                <a:cxn ang="0">
                  <a:pos x="226" y="214"/>
                </a:cxn>
                <a:cxn ang="0">
                  <a:pos x="214" y="184"/>
                </a:cxn>
                <a:cxn ang="0">
                  <a:pos x="186" y="164"/>
                </a:cxn>
                <a:cxn ang="0">
                  <a:pos x="178" y="152"/>
                </a:cxn>
                <a:cxn ang="0">
                  <a:pos x="164" y="136"/>
                </a:cxn>
                <a:cxn ang="0">
                  <a:pos x="158" y="124"/>
                </a:cxn>
                <a:cxn ang="0">
                  <a:pos x="174" y="118"/>
                </a:cxn>
                <a:cxn ang="0">
                  <a:pos x="218" y="126"/>
                </a:cxn>
                <a:cxn ang="0">
                  <a:pos x="244" y="122"/>
                </a:cxn>
                <a:cxn ang="0">
                  <a:pos x="252" y="112"/>
                </a:cxn>
                <a:cxn ang="0">
                  <a:pos x="244" y="104"/>
                </a:cxn>
                <a:cxn ang="0">
                  <a:pos x="202" y="92"/>
                </a:cxn>
                <a:cxn ang="0">
                  <a:pos x="182" y="84"/>
                </a:cxn>
                <a:cxn ang="0">
                  <a:pos x="174" y="66"/>
                </a:cxn>
                <a:cxn ang="0">
                  <a:pos x="168" y="44"/>
                </a:cxn>
                <a:cxn ang="0">
                  <a:pos x="166" y="30"/>
                </a:cxn>
                <a:cxn ang="0">
                  <a:pos x="156" y="24"/>
                </a:cxn>
                <a:cxn ang="0">
                  <a:pos x="134" y="22"/>
                </a:cxn>
                <a:cxn ang="0">
                  <a:pos x="90" y="16"/>
                </a:cxn>
                <a:cxn ang="0">
                  <a:pos x="76" y="12"/>
                </a:cxn>
                <a:cxn ang="0">
                  <a:pos x="38" y="0"/>
                </a:cxn>
                <a:cxn ang="0">
                  <a:pos x="18" y="10"/>
                </a:cxn>
                <a:cxn ang="0">
                  <a:pos x="0" y="36"/>
                </a:cxn>
                <a:cxn ang="0">
                  <a:pos x="4" y="52"/>
                </a:cxn>
                <a:cxn ang="0">
                  <a:pos x="2" y="68"/>
                </a:cxn>
              </a:cxnLst>
              <a:rect l="0" t="0" r="r" b="b"/>
              <a:pathLst>
                <a:path w="252" h="276">
                  <a:moveTo>
                    <a:pt x="2" y="68"/>
                  </a:moveTo>
                  <a:lnTo>
                    <a:pt x="2" y="68"/>
                  </a:lnTo>
                  <a:lnTo>
                    <a:pt x="6" y="78"/>
                  </a:lnTo>
                  <a:lnTo>
                    <a:pt x="12" y="88"/>
                  </a:lnTo>
                  <a:lnTo>
                    <a:pt x="24" y="102"/>
                  </a:lnTo>
                  <a:lnTo>
                    <a:pt x="32" y="110"/>
                  </a:lnTo>
                  <a:lnTo>
                    <a:pt x="36" y="118"/>
                  </a:lnTo>
                  <a:lnTo>
                    <a:pt x="40" y="126"/>
                  </a:lnTo>
                  <a:lnTo>
                    <a:pt x="42" y="136"/>
                  </a:lnTo>
                  <a:lnTo>
                    <a:pt x="42" y="136"/>
                  </a:lnTo>
                  <a:lnTo>
                    <a:pt x="42" y="156"/>
                  </a:lnTo>
                  <a:lnTo>
                    <a:pt x="40" y="172"/>
                  </a:lnTo>
                  <a:lnTo>
                    <a:pt x="40" y="178"/>
                  </a:lnTo>
                  <a:lnTo>
                    <a:pt x="40" y="184"/>
                  </a:lnTo>
                  <a:lnTo>
                    <a:pt x="44" y="188"/>
                  </a:lnTo>
                  <a:lnTo>
                    <a:pt x="48" y="194"/>
                  </a:lnTo>
                  <a:lnTo>
                    <a:pt x="48" y="194"/>
                  </a:lnTo>
                  <a:lnTo>
                    <a:pt x="52" y="198"/>
                  </a:lnTo>
                  <a:lnTo>
                    <a:pt x="56" y="204"/>
                  </a:lnTo>
                  <a:lnTo>
                    <a:pt x="62" y="214"/>
                  </a:lnTo>
                  <a:lnTo>
                    <a:pt x="66" y="216"/>
                  </a:lnTo>
                  <a:lnTo>
                    <a:pt x="72" y="216"/>
                  </a:lnTo>
                  <a:lnTo>
                    <a:pt x="78" y="214"/>
                  </a:lnTo>
                  <a:lnTo>
                    <a:pt x="88" y="210"/>
                  </a:lnTo>
                  <a:lnTo>
                    <a:pt x="88" y="210"/>
                  </a:lnTo>
                  <a:lnTo>
                    <a:pt x="104" y="196"/>
                  </a:lnTo>
                  <a:lnTo>
                    <a:pt x="112" y="188"/>
                  </a:lnTo>
                  <a:lnTo>
                    <a:pt x="118" y="184"/>
                  </a:lnTo>
                  <a:lnTo>
                    <a:pt x="118" y="186"/>
                  </a:lnTo>
                  <a:lnTo>
                    <a:pt x="120" y="186"/>
                  </a:lnTo>
                  <a:lnTo>
                    <a:pt x="120" y="186"/>
                  </a:lnTo>
                  <a:lnTo>
                    <a:pt x="120" y="194"/>
                  </a:lnTo>
                  <a:lnTo>
                    <a:pt x="120" y="202"/>
                  </a:lnTo>
                  <a:lnTo>
                    <a:pt x="120" y="206"/>
                  </a:lnTo>
                  <a:lnTo>
                    <a:pt x="124" y="210"/>
                  </a:lnTo>
                  <a:lnTo>
                    <a:pt x="128" y="212"/>
                  </a:lnTo>
                  <a:lnTo>
                    <a:pt x="136" y="214"/>
                  </a:lnTo>
                  <a:lnTo>
                    <a:pt x="136" y="214"/>
                  </a:lnTo>
                  <a:lnTo>
                    <a:pt x="144" y="212"/>
                  </a:lnTo>
                  <a:lnTo>
                    <a:pt x="150" y="210"/>
                  </a:lnTo>
                  <a:lnTo>
                    <a:pt x="160" y="204"/>
                  </a:lnTo>
                  <a:lnTo>
                    <a:pt x="164" y="202"/>
                  </a:lnTo>
                  <a:lnTo>
                    <a:pt x="170" y="200"/>
                  </a:lnTo>
                  <a:lnTo>
                    <a:pt x="174" y="200"/>
                  </a:lnTo>
                  <a:lnTo>
                    <a:pt x="180" y="202"/>
                  </a:lnTo>
                  <a:lnTo>
                    <a:pt x="180" y="202"/>
                  </a:lnTo>
                  <a:lnTo>
                    <a:pt x="204" y="214"/>
                  </a:lnTo>
                  <a:lnTo>
                    <a:pt x="210" y="220"/>
                  </a:lnTo>
                  <a:lnTo>
                    <a:pt x="212" y="224"/>
                  </a:lnTo>
                  <a:lnTo>
                    <a:pt x="214" y="230"/>
                  </a:lnTo>
                  <a:lnTo>
                    <a:pt x="214" y="230"/>
                  </a:lnTo>
                  <a:lnTo>
                    <a:pt x="214" y="264"/>
                  </a:lnTo>
                  <a:lnTo>
                    <a:pt x="216" y="272"/>
                  </a:lnTo>
                  <a:lnTo>
                    <a:pt x="216" y="272"/>
                  </a:lnTo>
                  <a:lnTo>
                    <a:pt x="218" y="274"/>
                  </a:lnTo>
                  <a:lnTo>
                    <a:pt x="228" y="276"/>
                  </a:lnTo>
                  <a:lnTo>
                    <a:pt x="232" y="276"/>
                  </a:lnTo>
                  <a:lnTo>
                    <a:pt x="236" y="274"/>
                  </a:lnTo>
                  <a:lnTo>
                    <a:pt x="238" y="272"/>
                  </a:lnTo>
                  <a:lnTo>
                    <a:pt x="240" y="266"/>
                  </a:lnTo>
                  <a:lnTo>
                    <a:pt x="240" y="266"/>
                  </a:lnTo>
                  <a:lnTo>
                    <a:pt x="236" y="244"/>
                  </a:lnTo>
                  <a:lnTo>
                    <a:pt x="226" y="214"/>
                  </a:lnTo>
                  <a:lnTo>
                    <a:pt x="226" y="214"/>
                  </a:lnTo>
                  <a:lnTo>
                    <a:pt x="218" y="192"/>
                  </a:lnTo>
                  <a:lnTo>
                    <a:pt x="214" y="184"/>
                  </a:lnTo>
                  <a:lnTo>
                    <a:pt x="204" y="178"/>
                  </a:lnTo>
                  <a:lnTo>
                    <a:pt x="204" y="178"/>
                  </a:lnTo>
                  <a:lnTo>
                    <a:pt x="186" y="164"/>
                  </a:lnTo>
                  <a:lnTo>
                    <a:pt x="180" y="158"/>
                  </a:lnTo>
                  <a:lnTo>
                    <a:pt x="178" y="152"/>
                  </a:lnTo>
                  <a:lnTo>
                    <a:pt x="178" y="152"/>
                  </a:lnTo>
                  <a:lnTo>
                    <a:pt x="178" y="148"/>
                  </a:lnTo>
                  <a:lnTo>
                    <a:pt x="174" y="144"/>
                  </a:lnTo>
                  <a:lnTo>
                    <a:pt x="164" y="136"/>
                  </a:lnTo>
                  <a:lnTo>
                    <a:pt x="158" y="132"/>
                  </a:lnTo>
                  <a:lnTo>
                    <a:pt x="156" y="128"/>
                  </a:lnTo>
                  <a:lnTo>
                    <a:pt x="158" y="124"/>
                  </a:lnTo>
                  <a:lnTo>
                    <a:pt x="164" y="122"/>
                  </a:lnTo>
                  <a:lnTo>
                    <a:pt x="164" y="122"/>
                  </a:lnTo>
                  <a:lnTo>
                    <a:pt x="174" y="118"/>
                  </a:lnTo>
                  <a:lnTo>
                    <a:pt x="182" y="118"/>
                  </a:lnTo>
                  <a:lnTo>
                    <a:pt x="196" y="118"/>
                  </a:lnTo>
                  <a:lnTo>
                    <a:pt x="218" y="126"/>
                  </a:lnTo>
                  <a:lnTo>
                    <a:pt x="218" y="126"/>
                  </a:lnTo>
                  <a:lnTo>
                    <a:pt x="230" y="124"/>
                  </a:lnTo>
                  <a:lnTo>
                    <a:pt x="244" y="122"/>
                  </a:lnTo>
                  <a:lnTo>
                    <a:pt x="248" y="118"/>
                  </a:lnTo>
                  <a:lnTo>
                    <a:pt x="252" y="116"/>
                  </a:lnTo>
                  <a:lnTo>
                    <a:pt x="252" y="112"/>
                  </a:lnTo>
                  <a:lnTo>
                    <a:pt x="250" y="108"/>
                  </a:lnTo>
                  <a:lnTo>
                    <a:pt x="250" y="108"/>
                  </a:lnTo>
                  <a:lnTo>
                    <a:pt x="244" y="104"/>
                  </a:lnTo>
                  <a:lnTo>
                    <a:pt x="238" y="100"/>
                  </a:lnTo>
                  <a:lnTo>
                    <a:pt x="220" y="96"/>
                  </a:lnTo>
                  <a:lnTo>
                    <a:pt x="202" y="92"/>
                  </a:lnTo>
                  <a:lnTo>
                    <a:pt x="190" y="88"/>
                  </a:lnTo>
                  <a:lnTo>
                    <a:pt x="190" y="88"/>
                  </a:lnTo>
                  <a:lnTo>
                    <a:pt x="182" y="84"/>
                  </a:lnTo>
                  <a:lnTo>
                    <a:pt x="176" y="78"/>
                  </a:lnTo>
                  <a:lnTo>
                    <a:pt x="174" y="72"/>
                  </a:lnTo>
                  <a:lnTo>
                    <a:pt x="174" y="66"/>
                  </a:lnTo>
                  <a:lnTo>
                    <a:pt x="174" y="66"/>
                  </a:lnTo>
                  <a:lnTo>
                    <a:pt x="170" y="54"/>
                  </a:lnTo>
                  <a:lnTo>
                    <a:pt x="168" y="44"/>
                  </a:lnTo>
                  <a:lnTo>
                    <a:pt x="168" y="44"/>
                  </a:lnTo>
                  <a:lnTo>
                    <a:pt x="166" y="36"/>
                  </a:lnTo>
                  <a:lnTo>
                    <a:pt x="166" y="30"/>
                  </a:lnTo>
                  <a:lnTo>
                    <a:pt x="164" y="28"/>
                  </a:lnTo>
                  <a:lnTo>
                    <a:pt x="162" y="24"/>
                  </a:lnTo>
                  <a:lnTo>
                    <a:pt x="156" y="24"/>
                  </a:lnTo>
                  <a:lnTo>
                    <a:pt x="150" y="24"/>
                  </a:lnTo>
                  <a:lnTo>
                    <a:pt x="150" y="24"/>
                  </a:lnTo>
                  <a:lnTo>
                    <a:pt x="134" y="22"/>
                  </a:lnTo>
                  <a:lnTo>
                    <a:pt x="116" y="20"/>
                  </a:lnTo>
                  <a:lnTo>
                    <a:pt x="102" y="16"/>
                  </a:lnTo>
                  <a:lnTo>
                    <a:pt x="90" y="16"/>
                  </a:lnTo>
                  <a:lnTo>
                    <a:pt x="90" y="16"/>
                  </a:lnTo>
                  <a:lnTo>
                    <a:pt x="84" y="14"/>
                  </a:lnTo>
                  <a:lnTo>
                    <a:pt x="76" y="12"/>
                  </a:lnTo>
                  <a:lnTo>
                    <a:pt x="58" y="4"/>
                  </a:lnTo>
                  <a:lnTo>
                    <a:pt x="48" y="2"/>
                  </a:lnTo>
                  <a:lnTo>
                    <a:pt x="38" y="0"/>
                  </a:lnTo>
                  <a:lnTo>
                    <a:pt x="28" y="4"/>
                  </a:lnTo>
                  <a:lnTo>
                    <a:pt x="18" y="10"/>
                  </a:lnTo>
                  <a:lnTo>
                    <a:pt x="18" y="10"/>
                  </a:lnTo>
                  <a:lnTo>
                    <a:pt x="4" y="26"/>
                  </a:lnTo>
                  <a:lnTo>
                    <a:pt x="2" y="30"/>
                  </a:lnTo>
                  <a:lnTo>
                    <a:pt x="0" y="36"/>
                  </a:lnTo>
                  <a:lnTo>
                    <a:pt x="0" y="44"/>
                  </a:lnTo>
                  <a:lnTo>
                    <a:pt x="4" y="52"/>
                  </a:lnTo>
                  <a:lnTo>
                    <a:pt x="4" y="52"/>
                  </a:lnTo>
                  <a:lnTo>
                    <a:pt x="4" y="60"/>
                  </a:lnTo>
                  <a:lnTo>
                    <a:pt x="4" y="64"/>
                  </a:lnTo>
                  <a:lnTo>
                    <a:pt x="2" y="68"/>
                  </a:lnTo>
                  <a:lnTo>
                    <a:pt x="2" y="68"/>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300" name="Freeform 88"/>
            <p:cNvSpPr>
              <a:spLocks/>
            </p:cNvSpPr>
            <p:nvPr/>
          </p:nvSpPr>
          <p:spPr bwMode="auto">
            <a:xfrm>
              <a:off x="4688195" y="4618051"/>
              <a:ext cx="756035" cy="629520"/>
            </a:xfrm>
            <a:custGeom>
              <a:avLst/>
              <a:gdLst/>
              <a:ahLst/>
              <a:cxnLst>
                <a:cxn ang="0">
                  <a:pos x="950" y="492"/>
                </a:cxn>
                <a:cxn ang="0">
                  <a:pos x="980" y="512"/>
                </a:cxn>
                <a:cxn ang="0">
                  <a:pos x="980" y="562"/>
                </a:cxn>
                <a:cxn ang="0">
                  <a:pos x="950" y="586"/>
                </a:cxn>
                <a:cxn ang="0">
                  <a:pos x="930" y="568"/>
                </a:cxn>
                <a:cxn ang="0">
                  <a:pos x="924" y="646"/>
                </a:cxn>
                <a:cxn ang="0">
                  <a:pos x="928" y="742"/>
                </a:cxn>
                <a:cxn ang="0">
                  <a:pos x="772" y="714"/>
                </a:cxn>
                <a:cxn ang="0">
                  <a:pos x="672" y="758"/>
                </a:cxn>
                <a:cxn ang="0">
                  <a:pos x="632" y="804"/>
                </a:cxn>
                <a:cxn ang="0">
                  <a:pos x="552" y="804"/>
                </a:cxn>
                <a:cxn ang="0">
                  <a:pos x="504" y="818"/>
                </a:cxn>
                <a:cxn ang="0">
                  <a:pos x="466" y="826"/>
                </a:cxn>
                <a:cxn ang="0">
                  <a:pos x="410" y="796"/>
                </a:cxn>
                <a:cxn ang="0">
                  <a:pos x="372" y="820"/>
                </a:cxn>
                <a:cxn ang="0">
                  <a:pos x="354" y="816"/>
                </a:cxn>
                <a:cxn ang="0">
                  <a:pos x="328" y="772"/>
                </a:cxn>
                <a:cxn ang="0">
                  <a:pos x="298" y="742"/>
                </a:cxn>
                <a:cxn ang="0">
                  <a:pos x="292" y="698"/>
                </a:cxn>
                <a:cxn ang="0">
                  <a:pos x="302" y="674"/>
                </a:cxn>
                <a:cxn ang="0">
                  <a:pos x="268" y="662"/>
                </a:cxn>
                <a:cxn ang="0">
                  <a:pos x="232" y="680"/>
                </a:cxn>
                <a:cxn ang="0">
                  <a:pos x="174" y="656"/>
                </a:cxn>
                <a:cxn ang="0">
                  <a:pos x="170" y="610"/>
                </a:cxn>
                <a:cxn ang="0">
                  <a:pos x="136" y="592"/>
                </a:cxn>
                <a:cxn ang="0">
                  <a:pos x="86" y="556"/>
                </a:cxn>
                <a:cxn ang="0">
                  <a:pos x="60" y="504"/>
                </a:cxn>
                <a:cxn ang="0">
                  <a:pos x="0" y="460"/>
                </a:cxn>
                <a:cxn ang="0">
                  <a:pos x="94" y="438"/>
                </a:cxn>
                <a:cxn ang="0">
                  <a:pos x="96" y="418"/>
                </a:cxn>
                <a:cxn ang="0">
                  <a:pos x="124" y="362"/>
                </a:cxn>
                <a:cxn ang="0">
                  <a:pos x="152" y="258"/>
                </a:cxn>
                <a:cxn ang="0">
                  <a:pos x="194" y="204"/>
                </a:cxn>
                <a:cxn ang="0">
                  <a:pos x="278" y="150"/>
                </a:cxn>
                <a:cxn ang="0">
                  <a:pos x="364" y="144"/>
                </a:cxn>
                <a:cxn ang="0">
                  <a:pos x="434" y="182"/>
                </a:cxn>
                <a:cxn ang="0">
                  <a:pos x="458" y="176"/>
                </a:cxn>
                <a:cxn ang="0">
                  <a:pos x="502" y="130"/>
                </a:cxn>
                <a:cxn ang="0">
                  <a:pos x="568" y="102"/>
                </a:cxn>
                <a:cxn ang="0">
                  <a:pos x="644" y="40"/>
                </a:cxn>
                <a:cxn ang="0">
                  <a:pos x="700" y="0"/>
                </a:cxn>
                <a:cxn ang="0">
                  <a:pos x="736" y="42"/>
                </a:cxn>
                <a:cxn ang="0">
                  <a:pos x="850" y="112"/>
                </a:cxn>
                <a:cxn ang="0">
                  <a:pos x="896" y="170"/>
                </a:cxn>
                <a:cxn ang="0">
                  <a:pos x="938" y="244"/>
                </a:cxn>
                <a:cxn ang="0">
                  <a:pos x="982" y="300"/>
                </a:cxn>
                <a:cxn ang="0">
                  <a:pos x="932" y="308"/>
                </a:cxn>
                <a:cxn ang="0">
                  <a:pos x="874" y="326"/>
                </a:cxn>
                <a:cxn ang="0">
                  <a:pos x="904" y="354"/>
                </a:cxn>
                <a:cxn ang="0">
                  <a:pos x="920" y="388"/>
                </a:cxn>
                <a:cxn ang="0">
                  <a:pos x="880" y="432"/>
                </a:cxn>
                <a:cxn ang="0">
                  <a:pos x="878" y="474"/>
                </a:cxn>
                <a:cxn ang="0">
                  <a:pos x="918" y="498"/>
                </a:cxn>
                <a:cxn ang="0">
                  <a:pos x="984" y="446"/>
                </a:cxn>
              </a:cxnLst>
              <a:rect l="0" t="0" r="r" b="b"/>
              <a:pathLst>
                <a:path w="992" h="826">
                  <a:moveTo>
                    <a:pt x="984" y="446"/>
                  </a:moveTo>
                  <a:lnTo>
                    <a:pt x="984" y="446"/>
                  </a:lnTo>
                  <a:lnTo>
                    <a:pt x="972" y="460"/>
                  </a:lnTo>
                  <a:lnTo>
                    <a:pt x="954" y="486"/>
                  </a:lnTo>
                  <a:lnTo>
                    <a:pt x="954" y="486"/>
                  </a:lnTo>
                  <a:lnTo>
                    <a:pt x="950" y="492"/>
                  </a:lnTo>
                  <a:lnTo>
                    <a:pt x="950" y="496"/>
                  </a:lnTo>
                  <a:lnTo>
                    <a:pt x="950" y="502"/>
                  </a:lnTo>
                  <a:lnTo>
                    <a:pt x="954" y="506"/>
                  </a:lnTo>
                  <a:lnTo>
                    <a:pt x="956" y="508"/>
                  </a:lnTo>
                  <a:lnTo>
                    <a:pt x="980" y="512"/>
                  </a:lnTo>
                  <a:lnTo>
                    <a:pt x="980" y="512"/>
                  </a:lnTo>
                  <a:lnTo>
                    <a:pt x="986" y="516"/>
                  </a:lnTo>
                  <a:lnTo>
                    <a:pt x="990" y="520"/>
                  </a:lnTo>
                  <a:lnTo>
                    <a:pt x="992" y="528"/>
                  </a:lnTo>
                  <a:lnTo>
                    <a:pt x="992" y="528"/>
                  </a:lnTo>
                  <a:lnTo>
                    <a:pt x="988" y="542"/>
                  </a:lnTo>
                  <a:lnTo>
                    <a:pt x="980" y="562"/>
                  </a:lnTo>
                  <a:lnTo>
                    <a:pt x="972" y="580"/>
                  </a:lnTo>
                  <a:lnTo>
                    <a:pt x="968" y="586"/>
                  </a:lnTo>
                  <a:lnTo>
                    <a:pt x="964" y="588"/>
                  </a:lnTo>
                  <a:lnTo>
                    <a:pt x="964" y="588"/>
                  </a:lnTo>
                  <a:lnTo>
                    <a:pt x="958" y="588"/>
                  </a:lnTo>
                  <a:lnTo>
                    <a:pt x="950" y="586"/>
                  </a:lnTo>
                  <a:lnTo>
                    <a:pt x="942" y="582"/>
                  </a:lnTo>
                  <a:lnTo>
                    <a:pt x="938" y="578"/>
                  </a:lnTo>
                  <a:lnTo>
                    <a:pt x="936" y="576"/>
                  </a:lnTo>
                  <a:lnTo>
                    <a:pt x="936" y="576"/>
                  </a:lnTo>
                  <a:lnTo>
                    <a:pt x="934" y="570"/>
                  </a:lnTo>
                  <a:lnTo>
                    <a:pt x="930" y="568"/>
                  </a:lnTo>
                  <a:lnTo>
                    <a:pt x="928" y="570"/>
                  </a:lnTo>
                  <a:lnTo>
                    <a:pt x="926" y="572"/>
                  </a:lnTo>
                  <a:lnTo>
                    <a:pt x="924" y="584"/>
                  </a:lnTo>
                  <a:lnTo>
                    <a:pt x="924" y="584"/>
                  </a:lnTo>
                  <a:lnTo>
                    <a:pt x="924" y="608"/>
                  </a:lnTo>
                  <a:lnTo>
                    <a:pt x="924" y="646"/>
                  </a:lnTo>
                  <a:lnTo>
                    <a:pt x="924" y="700"/>
                  </a:lnTo>
                  <a:lnTo>
                    <a:pt x="924" y="700"/>
                  </a:lnTo>
                  <a:lnTo>
                    <a:pt x="924" y="712"/>
                  </a:lnTo>
                  <a:lnTo>
                    <a:pt x="926" y="724"/>
                  </a:lnTo>
                  <a:lnTo>
                    <a:pt x="928" y="742"/>
                  </a:lnTo>
                  <a:lnTo>
                    <a:pt x="928" y="742"/>
                  </a:lnTo>
                  <a:lnTo>
                    <a:pt x="876" y="730"/>
                  </a:lnTo>
                  <a:lnTo>
                    <a:pt x="876" y="730"/>
                  </a:lnTo>
                  <a:lnTo>
                    <a:pt x="796" y="710"/>
                  </a:lnTo>
                  <a:lnTo>
                    <a:pt x="796" y="710"/>
                  </a:lnTo>
                  <a:lnTo>
                    <a:pt x="786" y="710"/>
                  </a:lnTo>
                  <a:lnTo>
                    <a:pt x="772" y="714"/>
                  </a:lnTo>
                  <a:lnTo>
                    <a:pt x="736" y="722"/>
                  </a:lnTo>
                  <a:lnTo>
                    <a:pt x="736" y="722"/>
                  </a:lnTo>
                  <a:lnTo>
                    <a:pt x="718" y="730"/>
                  </a:lnTo>
                  <a:lnTo>
                    <a:pt x="698" y="738"/>
                  </a:lnTo>
                  <a:lnTo>
                    <a:pt x="680" y="752"/>
                  </a:lnTo>
                  <a:lnTo>
                    <a:pt x="672" y="758"/>
                  </a:lnTo>
                  <a:lnTo>
                    <a:pt x="666" y="764"/>
                  </a:lnTo>
                  <a:lnTo>
                    <a:pt x="666" y="764"/>
                  </a:lnTo>
                  <a:lnTo>
                    <a:pt x="650" y="790"/>
                  </a:lnTo>
                  <a:lnTo>
                    <a:pt x="642" y="798"/>
                  </a:lnTo>
                  <a:lnTo>
                    <a:pt x="636" y="802"/>
                  </a:lnTo>
                  <a:lnTo>
                    <a:pt x="632" y="804"/>
                  </a:lnTo>
                  <a:lnTo>
                    <a:pt x="632" y="804"/>
                  </a:lnTo>
                  <a:lnTo>
                    <a:pt x="610" y="808"/>
                  </a:lnTo>
                  <a:lnTo>
                    <a:pt x="584" y="810"/>
                  </a:lnTo>
                  <a:lnTo>
                    <a:pt x="584" y="810"/>
                  </a:lnTo>
                  <a:lnTo>
                    <a:pt x="570" y="808"/>
                  </a:lnTo>
                  <a:lnTo>
                    <a:pt x="552" y="804"/>
                  </a:lnTo>
                  <a:lnTo>
                    <a:pt x="534" y="800"/>
                  </a:lnTo>
                  <a:lnTo>
                    <a:pt x="526" y="802"/>
                  </a:lnTo>
                  <a:lnTo>
                    <a:pt x="520" y="804"/>
                  </a:lnTo>
                  <a:lnTo>
                    <a:pt x="520" y="804"/>
                  </a:lnTo>
                  <a:lnTo>
                    <a:pt x="510" y="812"/>
                  </a:lnTo>
                  <a:lnTo>
                    <a:pt x="504" y="818"/>
                  </a:lnTo>
                  <a:lnTo>
                    <a:pt x="498" y="822"/>
                  </a:lnTo>
                  <a:lnTo>
                    <a:pt x="486" y="822"/>
                  </a:lnTo>
                  <a:lnTo>
                    <a:pt x="486" y="822"/>
                  </a:lnTo>
                  <a:lnTo>
                    <a:pt x="474" y="824"/>
                  </a:lnTo>
                  <a:lnTo>
                    <a:pt x="470" y="826"/>
                  </a:lnTo>
                  <a:lnTo>
                    <a:pt x="466" y="826"/>
                  </a:lnTo>
                  <a:lnTo>
                    <a:pt x="454" y="822"/>
                  </a:lnTo>
                  <a:lnTo>
                    <a:pt x="454" y="822"/>
                  </a:lnTo>
                  <a:lnTo>
                    <a:pt x="438" y="814"/>
                  </a:lnTo>
                  <a:lnTo>
                    <a:pt x="426" y="806"/>
                  </a:lnTo>
                  <a:lnTo>
                    <a:pt x="414" y="798"/>
                  </a:lnTo>
                  <a:lnTo>
                    <a:pt x="410" y="796"/>
                  </a:lnTo>
                  <a:lnTo>
                    <a:pt x="404" y="796"/>
                  </a:lnTo>
                  <a:lnTo>
                    <a:pt x="404" y="796"/>
                  </a:lnTo>
                  <a:lnTo>
                    <a:pt x="396" y="802"/>
                  </a:lnTo>
                  <a:lnTo>
                    <a:pt x="386" y="810"/>
                  </a:lnTo>
                  <a:lnTo>
                    <a:pt x="372" y="820"/>
                  </a:lnTo>
                  <a:lnTo>
                    <a:pt x="372" y="820"/>
                  </a:lnTo>
                  <a:lnTo>
                    <a:pt x="368" y="824"/>
                  </a:lnTo>
                  <a:lnTo>
                    <a:pt x="364" y="826"/>
                  </a:lnTo>
                  <a:lnTo>
                    <a:pt x="362" y="826"/>
                  </a:lnTo>
                  <a:lnTo>
                    <a:pt x="360" y="824"/>
                  </a:lnTo>
                  <a:lnTo>
                    <a:pt x="356" y="820"/>
                  </a:lnTo>
                  <a:lnTo>
                    <a:pt x="354" y="816"/>
                  </a:lnTo>
                  <a:lnTo>
                    <a:pt x="354" y="816"/>
                  </a:lnTo>
                  <a:lnTo>
                    <a:pt x="348" y="804"/>
                  </a:lnTo>
                  <a:lnTo>
                    <a:pt x="342" y="796"/>
                  </a:lnTo>
                  <a:lnTo>
                    <a:pt x="334" y="786"/>
                  </a:lnTo>
                  <a:lnTo>
                    <a:pt x="328" y="772"/>
                  </a:lnTo>
                  <a:lnTo>
                    <a:pt x="328" y="772"/>
                  </a:lnTo>
                  <a:lnTo>
                    <a:pt x="322" y="762"/>
                  </a:lnTo>
                  <a:lnTo>
                    <a:pt x="314" y="754"/>
                  </a:lnTo>
                  <a:lnTo>
                    <a:pt x="306" y="748"/>
                  </a:lnTo>
                  <a:lnTo>
                    <a:pt x="300" y="744"/>
                  </a:lnTo>
                  <a:lnTo>
                    <a:pt x="300" y="744"/>
                  </a:lnTo>
                  <a:lnTo>
                    <a:pt x="298" y="742"/>
                  </a:lnTo>
                  <a:lnTo>
                    <a:pt x="296" y="738"/>
                  </a:lnTo>
                  <a:lnTo>
                    <a:pt x="292" y="724"/>
                  </a:lnTo>
                  <a:lnTo>
                    <a:pt x="288" y="710"/>
                  </a:lnTo>
                  <a:lnTo>
                    <a:pt x="290" y="702"/>
                  </a:lnTo>
                  <a:lnTo>
                    <a:pt x="290" y="702"/>
                  </a:lnTo>
                  <a:lnTo>
                    <a:pt x="292" y="698"/>
                  </a:lnTo>
                  <a:lnTo>
                    <a:pt x="296" y="694"/>
                  </a:lnTo>
                  <a:lnTo>
                    <a:pt x="306" y="688"/>
                  </a:lnTo>
                  <a:lnTo>
                    <a:pt x="306" y="688"/>
                  </a:lnTo>
                  <a:lnTo>
                    <a:pt x="308" y="684"/>
                  </a:lnTo>
                  <a:lnTo>
                    <a:pt x="306" y="680"/>
                  </a:lnTo>
                  <a:lnTo>
                    <a:pt x="302" y="674"/>
                  </a:lnTo>
                  <a:lnTo>
                    <a:pt x="296" y="668"/>
                  </a:lnTo>
                  <a:lnTo>
                    <a:pt x="282" y="658"/>
                  </a:lnTo>
                  <a:lnTo>
                    <a:pt x="276" y="656"/>
                  </a:lnTo>
                  <a:lnTo>
                    <a:pt x="274" y="658"/>
                  </a:lnTo>
                  <a:lnTo>
                    <a:pt x="274" y="658"/>
                  </a:lnTo>
                  <a:lnTo>
                    <a:pt x="268" y="662"/>
                  </a:lnTo>
                  <a:lnTo>
                    <a:pt x="262" y="670"/>
                  </a:lnTo>
                  <a:lnTo>
                    <a:pt x="256" y="674"/>
                  </a:lnTo>
                  <a:lnTo>
                    <a:pt x="250" y="678"/>
                  </a:lnTo>
                  <a:lnTo>
                    <a:pt x="242" y="680"/>
                  </a:lnTo>
                  <a:lnTo>
                    <a:pt x="232" y="680"/>
                  </a:lnTo>
                  <a:lnTo>
                    <a:pt x="232" y="680"/>
                  </a:lnTo>
                  <a:lnTo>
                    <a:pt x="216" y="680"/>
                  </a:lnTo>
                  <a:lnTo>
                    <a:pt x="204" y="680"/>
                  </a:lnTo>
                  <a:lnTo>
                    <a:pt x="196" y="680"/>
                  </a:lnTo>
                  <a:lnTo>
                    <a:pt x="190" y="674"/>
                  </a:lnTo>
                  <a:lnTo>
                    <a:pt x="190" y="674"/>
                  </a:lnTo>
                  <a:lnTo>
                    <a:pt x="174" y="656"/>
                  </a:lnTo>
                  <a:lnTo>
                    <a:pt x="168" y="646"/>
                  </a:lnTo>
                  <a:lnTo>
                    <a:pt x="166" y="638"/>
                  </a:lnTo>
                  <a:lnTo>
                    <a:pt x="166" y="632"/>
                  </a:lnTo>
                  <a:lnTo>
                    <a:pt x="166" y="632"/>
                  </a:lnTo>
                  <a:lnTo>
                    <a:pt x="168" y="620"/>
                  </a:lnTo>
                  <a:lnTo>
                    <a:pt x="170" y="610"/>
                  </a:lnTo>
                  <a:lnTo>
                    <a:pt x="170" y="606"/>
                  </a:lnTo>
                  <a:lnTo>
                    <a:pt x="170" y="604"/>
                  </a:lnTo>
                  <a:lnTo>
                    <a:pt x="168" y="600"/>
                  </a:lnTo>
                  <a:lnTo>
                    <a:pt x="164" y="598"/>
                  </a:lnTo>
                  <a:lnTo>
                    <a:pt x="164" y="598"/>
                  </a:lnTo>
                  <a:lnTo>
                    <a:pt x="136" y="592"/>
                  </a:lnTo>
                  <a:lnTo>
                    <a:pt x="124" y="588"/>
                  </a:lnTo>
                  <a:lnTo>
                    <a:pt x="116" y="586"/>
                  </a:lnTo>
                  <a:lnTo>
                    <a:pt x="116" y="586"/>
                  </a:lnTo>
                  <a:lnTo>
                    <a:pt x="100" y="572"/>
                  </a:lnTo>
                  <a:lnTo>
                    <a:pt x="90" y="562"/>
                  </a:lnTo>
                  <a:lnTo>
                    <a:pt x="86" y="556"/>
                  </a:lnTo>
                  <a:lnTo>
                    <a:pt x="86" y="556"/>
                  </a:lnTo>
                  <a:lnTo>
                    <a:pt x="84" y="530"/>
                  </a:lnTo>
                  <a:lnTo>
                    <a:pt x="84" y="530"/>
                  </a:lnTo>
                  <a:lnTo>
                    <a:pt x="76" y="520"/>
                  </a:lnTo>
                  <a:lnTo>
                    <a:pt x="68" y="510"/>
                  </a:lnTo>
                  <a:lnTo>
                    <a:pt x="60" y="504"/>
                  </a:lnTo>
                  <a:lnTo>
                    <a:pt x="60" y="504"/>
                  </a:lnTo>
                  <a:lnTo>
                    <a:pt x="24" y="482"/>
                  </a:lnTo>
                  <a:lnTo>
                    <a:pt x="6" y="468"/>
                  </a:lnTo>
                  <a:lnTo>
                    <a:pt x="0" y="462"/>
                  </a:lnTo>
                  <a:lnTo>
                    <a:pt x="0" y="460"/>
                  </a:lnTo>
                  <a:lnTo>
                    <a:pt x="0" y="460"/>
                  </a:lnTo>
                  <a:lnTo>
                    <a:pt x="30" y="452"/>
                  </a:lnTo>
                  <a:lnTo>
                    <a:pt x="64" y="444"/>
                  </a:lnTo>
                  <a:lnTo>
                    <a:pt x="64" y="444"/>
                  </a:lnTo>
                  <a:lnTo>
                    <a:pt x="72" y="442"/>
                  </a:lnTo>
                  <a:lnTo>
                    <a:pt x="84" y="440"/>
                  </a:lnTo>
                  <a:lnTo>
                    <a:pt x="94" y="438"/>
                  </a:lnTo>
                  <a:lnTo>
                    <a:pt x="98" y="434"/>
                  </a:lnTo>
                  <a:lnTo>
                    <a:pt x="100" y="432"/>
                  </a:lnTo>
                  <a:lnTo>
                    <a:pt x="100" y="432"/>
                  </a:lnTo>
                  <a:lnTo>
                    <a:pt x="100" y="428"/>
                  </a:lnTo>
                  <a:lnTo>
                    <a:pt x="100" y="424"/>
                  </a:lnTo>
                  <a:lnTo>
                    <a:pt x="96" y="418"/>
                  </a:lnTo>
                  <a:lnTo>
                    <a:pt x="96" y="414"/>
                  </a:lnTo>
                  <a:lnTo>
                    <a:pt x="96" y="410"/>
                  </a:lnTo>
                  <a:lnTo>
                    <a:pt x="98" y="406"/>
                  </a:lnTo>
                  <a:lnTo>
                    <a:pt x="98" y="406"/>
                  </a:lnTo>
                  <a:lnTo>
                    <a:pt x="110" y="390"/>
                  </a:lnTo>
                  <a:lnTo>
                    <a:pt x="124" y="362"/>
                  </a:lnTo>
                  <a:lnTo>
                    <a:pt x="124" y="362"/>
                  </a:lnTo>
                  <a:lnTo>
                    <a:pt x="132" y="342"/>
                  </a:lnTo>
                  <a:lnTo>
                    <a:pt x="140" y="318"/>
                  </a:lnTo>
                  <a:lnTo>
                    <a:pt x="148" y="282"/>
                  </a:lnTo>
                  <a:lnTo>
                    <a:pt x="148" y="282"/>
                  </a:lnTo>
                  <a:lnTo>
                    <a:pt x="152" y="258"/>
                  </a:lnTo>
                  <a:lnTo>
                    <a:pt x="156" y="244"/>
                  </a:lnTo>
                  <a:lnTo>
                    <a:pt x="160" y="236"/>
                  </a:lnTo>
                  <a:lnTo>
                    <a:pt x="164" y="228"/>
                  </a:lnTo>
                  <a:lnTo>
                    <a:pt x="164" y="228"/>
                  </a:lnTo>
                  <a:lnTo>
                    <a:pt x="178" y="216"/>
                  </a:lnTo>
                  <a:lnTo>
                    <a:pt x="194" y="204"/>
                  </a:lnTo>
                  <a:lnTo>
                    <a:pt x="208" y="194"/>
                  </a:lnTo>
                  <a:lnTo>
                    <a:pt x="212" y="188"/>
                  </a:lnTo>
                  <a:lnTo>
                    <a:pt x="214" y="184"/>
                  </a:lnTo>
                  <a:lnTo>
                    <a:pt x="204" y="156"/>
                  </a:lnTo>
                  <a:lnTo>
                    <a:pt x="204" y="156"/>
                  </a:lnTo>
                  <a:lnTo>
                    <a:pt x="278" y="150"/>
                  </a:lnTo>
                  <a:lnTo>
                    <a:pt x="278" y="150"/>
                  </a:lnTo>
                  <a:lnTo>
                    <a:pt x="314" y="148"/>
                  </a:lnTo>
                  <a:lnTo>
                    <a:pt x="348" y="144"/>
                  </a:lnTo>
                  <a:lnTo>
                    <a:pt x="348" y="144"/>
                  </a:lnTo>
                  <a:lnTo>
                    <a:pt x="356" y="144"/>
                  </a:lnTo>
                  <a:lnTo>
                    <a:pt x="364" y="144"/>
                  </a:lnTo>
                  <a:lnTo>
                    <a:pt x="382" y="150"/>
                  </a:lnTo>
                  <a:lnTo>
                    <a:pt x="400" y="158"/>
                  </a:lnTo>
                  <a:lnTo>
                    <a:pt x="412" y="164"/>
                  </a:lnTo>
                  <a:lnTo>
                    <a:pt x="412" y="164"/>
                  </a:lnTo>
                  <a:lnTo>
                    <a:pt x="422" y="172"/>
                  </a:lnTo>
                  <a:lnTo>
                    <a:pt x="434" y="182"/>
                  </a:lnTo>
                  <a:lnTo>
                    <a:pt x="440" y="186"/>
                  </a:lnTo>
                  <a:lnTo>
                    <a:pt x="446" y="188"/>
                  </a:lnTo>
                  <a:lnTo>
                    <a:pt x="450" y="188"/>
                  </a:lnTo>
                  <a:lnTo>
                    <a:pt x="454" y="184"/>
                  </a:lnTo>
                  <a:lnTo>
                    <a:pt x="454" y="184"/>
                  </a:lnTo>
                  <a:lnTo>
                    <a:pt x="458" y="176"/>
                  </a:lnTo>
                  <a:lnTo>
                    <a:pt x="460" y="172"/>
                  </a:lnTo>
                  <a:lnTo>
                    <a:pt x="464" y="166"/>
                  </a:lnTo>
                  <a:lnTo>
                    <a:pt x="474" y="156"/>
                  </a:lnTo>
                  <a:lnTo>
                    <a:pt x="474" y="156"/>
                  </a:lnTo>
                  <a:lnTo>
                    <a:pt x="488" y="142"/>
                  </a:lnTo>
                  <a:lnTo>
                    <a:pt x="502" y="130"/>
                  </a:lnTo>
                  <a:lnTo>
                    <a:pt x="516" y="122"/>
                  </a:lnTo>
                  <a:lnTo>
                    <a:pt x="530" y="116"/>
                  </a:lnTo>
                  <a:lnTo>
                    <a:pt x="530" y="116"/>
                  </a:lnTo>
                  <a:lnTo>
                    <a:pt x="550" y="110"/>
                  </a:lnTo>
                  <a:lnTo>
                    <a:pt x="568" y="102"/>
                  </a:lnTo>
                  <a:lnTo>
                    <a:pt x="568" y="102"/>
                  </a:lnTo>
                  <a:lnTo>
                    <a:pt x="590" y="88"/>
                  </a:lnTo>
                  <a:lnTo>
                    <a:pt x="604" y="76"/>
                  </a:lnTo>
                  <a:lnTo>
                    <a:pt x="604" y="76"/>
                  </a:lnTo>
                  <a:lnTo>
                    <a:pt x="620" y="64"/>
                  </a:lnTo>
                  <a:lnTo>
                    <a:pt x="632" y="52"/>
                  </a:lnTo>
                  <a:lnTo>
                    <a:pt x="644" y="40"/>
                  </a:lnTo>
                  <a:lnTo>
                    <a:pt x="644" y="40"/>
                  </a:lnTo>
                  <a:lnTo>
                    <a:pt x="658" y="24"/>
                  </a:lnTo>
                  <a:lnTo>
                    <a:pt x="676" y="10"/>
                  </a:lnTo>
                  <a:lnTo>
                    <a:pt x="686" y="4"/>
                  </a:lnTo>
                  <a:lnTo>
                    <a:pt x="694" y="2"/>
                  </a:lnTo>
                  <a:lnTo>
                    <a:pt x="700" y="0"/>
                  </a:lnTo>
                  <a:lnTo>
                    <a:pt x="706" y="4"/>
                  </a:lnTo>
                  <a:lnTo>
                    <a:pt x="706" y="4"/>
                  </a:lnTo>
                  <a:lnTo>
                    <a:pt x="720" y="24"/>
                  </a:lnTo>
                  <a:lnTo>
                    <a:pt x="728" y="34"/>
                  </a:lnTo>
                  <a:lnTo>
                    <a:pt x="736" y="42"/>
                  </a:lnTo>
                  <a:lnTo>
                    <a:pt x="736" y="42"/>
                  </a:lnTo>
                  <a:lnTo>
                    <a:pt x="772" y="68"/>
                  </a:lnTo>
                  <a:lnTo>
                    <a:pt x="798" y="82"/>
                  </a:lnTo>
                  <a:lnTo>
                    <a:pt x="814" y="92"/>
                  </a:lnTo>
                  <a:lnTo>
                    <a:pt x="814" y="92"/>
                  </a:lnTo>
                  <a:lnTo>
                    <a:pt x="830" y="100"/>
                  </a:lnTo>
                  <a:lnTo>
                    <a:pt x="850" y="112"/>
                  </a:lnTo>
                  <a:lnTo>
                    <a:pt x="868" y="124"/>
                  </a:lnTo>
                  <a:lnTo>
                    <a:pt x="880" y="134"/>
                  </a:lnTo>
                  <a:lnTo>
                    <a:pt x="880" y="134"/>
                  </a:lnTo>
                  <a:lnTo>
                    <a:pt x="886" y="146"/>
                  </a:lnTo>
                  <a:lnTo>
                    <a:pt x="892" y="158"/>
                  </a:lnTo>
                  <a:lnTo>
                    <a:pt x="896" y="170"/>
                  </a:lnTo>
                  <a:lnTo>
                    <a:pt x="902" y="180"/>
                  </a:lnTo>
                  <a:lnTo>
                    <a:pt x="902" y="180"/>
                  </a:lnTo>
                  <a:lnTo>
                    <a:pt x="910" y="192"/>
                  </a:lnTo>
                  <a:lnTo>
                    <a:pt x="918" y="208"/>
                  </a:lnTo>
                  <a:lnTo>
                    <a:pt x="928" y="226"/>
                  </a:lnTo>
                  <a:lnTo>
                    <a:pt x="938" y="244"/>
                  </a:lnTo>
                  <a:lnTo>
                    <a:pt x="938" y="244"/>
                  </a:lnTo>
                  <a:lnTo>
                    <a:pt x="954" y="262"/>
                  </a:lnTo>
                  <a:lnTo>
                    <a:pt x="970" y="278"/>
                  </a:lnTo>
                  <a:lnTo>
                    <a:pt x="980" y="292"/>
                  </a:lnTo>
                  <a:lnTo>
                    <a:pt x="982" y="296"/>
                  </a:lnTo>
                  <a:lnTo>
                    <a:pt x="982" y="300"/>
                  </a:lnTo>
                  <a:lnTo>
                    <a:pt x="982" y="300"/>
                  </a:lnTo>
                  <a:lnTo>
                    <a:pt x="978" y="302"/>
                  </a:lnTo>
                  <a:lnTo>
                    <a:pt x="974" y="304"/>
                  </a:lnTo>
                  <a:lnTo>
                    <a:pt x="962" y="306"/>
                  </a:lnTo>
                  <a:lnTo>
                    <a:pt x="932" y="308"/>
                  </a:lnTo>
                  <a:lnTo>
                    <a:pt x="932" y="308"/>
                  </a:lnTo>
                  <a:lnTo>
                    <a:pt x="902" y="312"/>
                  </a:lnTo>
                  <a:lnTo>
                    <a:pt x="890" y="314"/>
                  </a:lnTo>
                  <a:lnTo>
                    <a:pt x="880" y="320"/>
                  </a:lnTo>
                  <a:lnTo>
                    <a:pt x="880" y="320"/>
                  </a:lnTo>
                  <a:lnTo>
                    <a:pt x="876" y="322"/>
                  </a:lnTo>
                  <a:lnTo>
                    <a:pt x="874" y="326"/>
                  </a:lnTo>
                  <a:lnTo>
                    <a:pt x="874" y="328"/>
                  </a:lnTo>
                  <a:lnTo>
                    <a:pt x="876" y="332"/>
                  </a:lnTo>
                  <a:lnTo>
                    <a:pt x="882" y="340"/>
                  </a:lnTo>
                  <a:lnTo>
                    <a:pt x="892" y="346"/>
                  </a:lnTo>
                  <a:lnTo>
                    <a:pt x="892" y="346"/>
                  </a:lnTo>
                  <a:lnTo>
                    <a:pt x="904" y="354"/>
                  </a:lnTo>
                  <a:lnTo>
                    <a:pt x="914" y="364"/>
                  </a:lnTo>
                  <a:lnTo>
                    <a:pt x="918" y="370"/>
                  </a:lnTo>
                  <a:lnTo>
                    <a:pt x="922" y="376"/>
                  </a:lnTo>
                  <a:lnTo>
                    <a:pt x="922" y="382"/>
                  </a:lnTo>
                  <a:lnTo>
                    <a:pt x="920" y="388"/>
                  </a:lnTo>
                  <a:lnTo>
                    <a:pt x="920" y="388"/>
                  </a:lnTo>
                  <a:lnTo>
                    <a:pt x="914" y="398"/>
                  </a:lnTo>
                  <a:lnTo>
                    <a:pt x="904" y="406"/>
                  </a:lnTo>
                  <a:lnTo>
                    <a:pt x="896" y="412"/>
                  </a:lnTo>
                  <a:lnTo>
                    <a:pt x="888" y="422"/>
                  </a:lnTo>
                  <a:lnTo>
                    <a:pt x="888" y="422"/>
                  </a:lnTo>
                  <a:lnTo>
                    <a:pt x="880" y="432"/>
                  </a:lnTo>
                  <a:lnTo>
                    <a:pt x="874" y="444"/>
                  </a:lnTo>
                  <a:lnTo>
                    <a:pt x="870" y="456"/>
                  </a:lnTo>
                  <a:lnTo>
                    <a:pt x="870" y="460"/>
                  </a:lnTo>
                  <a:lnTo>
                    <a:pt x="870" y="464"/>
                  </a:lnTo>
                  <a:lnTo>
                    <a:pt x="870" y="464"/>
                  </a:lnTo>
                  <a:lnTo>
                    <a:pt x="878" y="474"/>
                  </a:lnTo>
                  <a:lnTo>
                    <a:pt x="890" y="488"/>
                  </a:lnTo>
                  <a:lnTo>
                    <a:pt x="898" y="494"/>
                  </a:lnTo>
                  <a:lnTo>
                    <a:pt x="904" y="498"/>
                  </a:lnTo>
                  <a:lnTo>
                    <a:pt x="912" y="500"/>
                  </a:lnTo>
                  <a:lnTo>
                    <a:pt x="918" y="498"/>
                  </a:lnTo>
                  <a:lnTo>
                    <a:pt x="918" y="498"/>
                  </a:lnTo>
                  <a:lnTo>
                    <a:pt x="932" y="486"/>
                  </a:lnTo>
                  <a:lnTo>
                    <a:pt x="954" y="468"/>
                  </a:lnTo>
                  <a:lnTo>
                    <a:pt x="974" y="452"/>
                  </a:lnTo>
                  <a:lnTo>
                    <a:pt x="980" y="446"/>
                  </a:lnTo>
                  <a:lnTo>
                    <a:pt x="984" y="446"/>
                  </a:lnTo>
                  <a:lnTo>
                    <a:pt x="984" y="446"/>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301" name="Freeform 89"/>
            <p:cNvSpPr>
              <a:spLocks/>
            </p:cNvSpPr>
            <p:nvPr/>
          </p:nvSpPr>
          <p:spPr bwMode="auto">
            <a:xfrm>
              <a:off x="4302556" y="6213957"/>
              <a:ext cx="48776" cy="48776"/>
            </a:xfrm>
            <a:custGeom>
              <a:avLst/>
              <a:gdLst/>
              <a:ahLst/>
              <a:cxnLst>
                <a:cxn ang="0">
                  <a:pos x="0" y="10"/>
                </a:cxn>
                <a:cxn ang="0">
                  <a:pos x="0" y="10"/>
                </a:cxn>
                <a:cxn ang="0">
                  <a:pos x="0" y="18"/>
                </a:cxn>
                <a:cxn ang="0">
                  <a:pos x="2" y="28"/>
                </a:cxn>
                <a:cxn ang="0">
                  <a:pos x="6" y="36"/>
                </a:cxn>
                <a:cxn ang="0">
                  <a:pos x="12" y="42"/>
                </a:cxn>
                <a:cxn ang="0">
                  <a:pos x="26" y="54"/>
                </a:cxn>
                <a:cxn ang="0">
                  <a:pos x="38" y="60"/>
                </a:cxn>
                <a:cxn ang="0">
                  <a:pos x="38" y="60"/>
                </a:cxn>
                <a:cxn ang="0">
                  <a:pos x="48" y="62"/>
                </a:cxn>
                <a:cxn ang="0">
                  <a:pos x="56" y="64"/>
                </a:cxn>
                <a:cxn ang="0">
                  <a:pos x="60" y="64"/>
                </a:cxn>
                <a:cxn ang="0">
                  <a:pos x="62" y="62"/>
                </a:cxn>
                <a:cxn ang="0">
                  <a:pos x="64" y="60"/>
                </a:cxn>
                <a:cxn ang="0">
                  <a:pos x="64" y="56"/>
                </a:cxn>
                <a:cxn ang="0">
                  <a:pos x="64" y="56"/>
                </a:cxn>
                <a:cxn ang="0">
                  <a:pos x="64" y="44"/>
                </a:cxn>
                <a:cxn ang="0">
                  <a:pos x="62" y="38"/>
                </a:cxn>
                <a:cxn ang="0">
                  <a:pos x="54" y="26"/>
                </a:cxn>
                <a:cxn ang="0">
                  <a:pos x="54" y="26"/>
                </a:cxn>
                <a:cxn ang="0">
                  <a:pos x="48" y="18"/>
                </a:cxn>
                <a:cxn ang="0">
                  <a:pos x="40" y="12"/>
                </a:cxn>
                <a:cxn ang="0">
                  <a:pos x="32" y="6"/>
                </a:cxn>
                <a:cxn ang="0">
                  <a:pos x="24" y="2"/>
                </a:cxn>
                <a:cxn ang="0">
                  <a:pos x="16" y="0"/>
                </a:cxn>
                <a:cxn ang="0">
                  <a:pos x="8" y="0"/>
                </a:cxn>
                <a:cxn ang="0">
                  <a:pos x="4" y="4"/>
                </a:cxn>
                <a:cxn ang="0">
                  <a:pos x="0" y="10"/>
                </a:cxn>
                <a:cxn ang="0">
                  <a:pos x="0" y="10"/>
                </a:cxn>
              </a:cxnLst>
              <a:rect l="0" t="0" r="r" b="b"/>
              <a:pathLst>
                <a:path w="64" h="64">
                  <a:moveTo>
                    <a:pt x="0" y="10"/>
                  </a:moveTo>
                  <a:lnTo>
                    <a:pt x="0" y="10"/>
                  </a:lnTo>
                  <a:lnTo>
                    <a:pt x="0" y="18"/>
                  </a:lnTo>
                  <a:lnTo>
                    <a:pt x="2" y="28"/>
                  </a:lnTo>
                  <a:lnTo>
                    <a:pt x="6" y="36"/>
                  </a:lnTo>
                  <a:lnTo>
                    <a:pt x="12" y="42"/>
                  </a:lnTo>
                  <a:lnTo>
                    <a:pt x="26" y="54"/>
                  </a:lnTo>
                  <a:lnTo>
                    <a:pt x="38" y="60"/>
                  </a:lnTo>
                  <a:lnTo>
                    <a:pt x="38" y="60"/>
                  </a:lnTo>
                  <a:lnTo>
                    <a:pt x="48" y="62"/>
                  </a:lnTo>
                  <a:lnTo>
                    <a:pt x="56" y="64"/>
                  </a:lnTo>
                  <a:lnTo>
                    <a:pt x="60" y="64"/>
                  </a:lnTo>
                  <a:lnTo>
                    <a:pt x="62" y="62"/>
                  </a:lnTo>
                  <a:lnTo>
                    <a:pt x="64" y="60"/>
                  </a:lnTo>
                  <a:lnTo>
                    <a:pt x="64" y="56"/>
                  </a:lnTo>
                  <a:lnTo>
                    <a:pt x="64" y="56"/>
                  </a:lnTo>
                  <a:lnTo>
                    <a:pt x="64" y="44"/>
                  </a:lnTo>
                  <a:lnTo>
                    <a:pt x="62" y="38"/>
                  </a:lnTo>
                  <a:lnTo>
                    <a:pt x="54" y="26"/>
                  </a:lnTo>
                  <a:lnTo>
                    <a:pt x="54" y="26"/>
                  </a:lnTo>
                  <a:lnTo>
                    <a:pt x="48" y="18"/>
                  </a:lnTo>
                  <a:lnTo>
                    <a:pt x="40" y="12"/>
                  </a:lnTo>
                  <a:lnTo>
                    <a:pt x="32" y="6"/>
                  </a:lnTo>
                  <a:lnTo>
                    <a:pt x="24" y="2"/>
                  </a:lnTo>
                  <a:lnTo>
                    <a:pt x="16" y="0"/>
                  </a:lnTo>
                  <a:lnTo>
                    <a:pt x="8" y="0"/>
                  </a:lnTo>
                  <a:lnTo>
                    <a:pt x="4" y="4"/>
                  </a:lnTo>
                  <a:lnTo>
                    <a:pt x="0" y="10"/>
                  </a:lnTo>
                  <a:lnTo>
                    <a:pt x="0" y="10"/>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sp>
          <p:nvSpPr>
            <p:cNvPr id="302" name="Freeform 96"/>
            <p:cNvSpPr>
              <a:spLocks/>
            </p:cNvSpPr>
            <p:nvPr/>
          </p:nvSpPr>
          <p:spPr bwMode="auto">
            <a:xfrm>
              <a:off x="3595296" y="4384841"/>
              <a:ext cx="50301" cy="76213"/>
            </a:xfrm>
            <a:custGeom>
              <a:avLst/>
              <a:gdLst/>
              <a:ahLst/>
              <a:cxnLst>
                <a:cxn ang="0">
                  <a:pos x="60" y="0"/>
                </a:cxn>
                <a:cxn ang="0">
                  <a:pos x="60" y="0"/>
                </a:cxn>
                <a:cxn ang="0">
                  <a:pos x="58" y="20"/>
                </a:cxn>
                <a:cxn ang="0">
                  <a:pos x="58" y="20"/>
                </a:cxn>
                <a:cxn ang="0">
                  <a:pos x="58" y="28"/>
                </a:cxn>
                <a:cxn ang="0">
                  <a:pos x="62" y="38"/>
                </a:cxn>
                <a:cxn ang="0">
                  <a:pos x="64" y="46"/>
                </a:cxn>
                <a:cxn ang="0">
                  <a:pos x="66" y="54"/>
                </a:cxn>
                <a:cxn ang="0">
                  <a:pos x="66" y="54"/>
                </a:cxn>
                <a:cxn ang="0">
                  <a:pos x="64" y="66"/>
                </a:cxn>
                <a:cxn ang="0">
                  <a:pos x="58" y="80"/>
                </a:cxn>
                <a:cxn ang="0">
                  <a:pos x="48" y="92"/>
                </a:cxn>
                <a:cxn ang="0">
                  <a:pos x="44" y="98"/>
                </a:cxn>
                <a:cxn ang="0">
                  <a:pos x="40" y="100"/>
                </a:cxn>
                <a:cxn ang="0">
                  <a:pos x="40" y="100"/>
                </a:cxn>
                <a:cxn ang="0">
                  <a:pos x="30" y="90"/>
                </a:cxn>
                <a:cxn ang="0">
                  <a:pos x="22" y="82"/>
                </a:cxn>
                <a:cxn ang="0">
                  <a:pos x="16" y="78"/>
                </a:cxn>
                <a:cxn ang="0">
                  <a:pos x="2" y="46"/>
                </a:cxn>
                <a:cxn ang="0">
                  <a:pos x="2" y="46"/>
                </a:cxn>
                <a:cxn ang="0">
                  <a:pos x="0" y="42"/>
                </a:cxn>
                <a:cxn ang="0">
                  <a:pos x="2" y="34"/>
                </a:cxn>
                <a:cxn ang="0">
                  <a:pos x="4" y="30"/>
                </a:cxn>
                <a:cxn ang="0">
                  <a:pos x="6" y="26"/>
                </a:cxn>
                <a:cxn ang="0">
                  <a:pos x="12" y="22"/>
                </a:cxn>
                <a:cxn ang="0">
                  <a:pos x="18" y="18"/>
                </a:cxn>
                <a:cxn ang="0">
                  <a:pos x="18" y="18"/>
                </a:cxn>
                <a:cxn ang="0">
                  <a:pos x="60" y="0"/>
                </a:cxn>
                <a:cxn ang="0">
                  <a:pos x="60" y="0"/>
                </a:cxn>
              </a:cxnLst>
              <a:rect l="0" t="0" r="r" b="b"/>
              <a:pathLst>
                <a:path w="66" h="100">
                  <a:moveTo>
                    <a:pt x="60" y="0"/>
                  </a:moveTo>
                  <a:lnTo>
                    <a:pt x="60" y="0"/>
                  </a:lnTo>
                  <a:lnTo>
                    <a:pt x="58" y="20"/>
                  </a:lnTo>
                  <a:lnTo>
                    <a:pt x="58" y="20"/>
                  </a:lnTo>
                  <a:lnTo>
                    <a:pt x="58" y="28"/>
                  </a:lnTo>
                  <a:lnTo>
                    <a:pt x="62" y="38"/>
                  </a:lnTo>
                  <a:lnTo>
                    <a:pt x="64" y="46"/>
                  </a:lnTo>
                  <a:lnTo>
                    <a:pt x="66" y="54"/>
                  </a:lnTo>
                  <a:lnTo>
                    <a:pt x="66" y="54"/>
                  </a:lnTo>
                  <a:lnTo>
                    <a:pt x="64" y="66"/>
                  </a:lnTo>
                  <a:lnTo>
                    <a:pt x="58" y="80"/>
                  </a:lnTo>
                  <a:lnTo>
                    <a:pt x="48" y="92"/>
                  </a:lnTo>
                  <a:lnTo>
                    <a:pt x="44" y="98"/>
                  </a:lnTo>
                  <a:lnTo>
                    <a:pt x="40" y="100"/>
                  </a:lnTo>
                  <a:lnTo>
                    <a:pt x="40" y="100"/>
                  </a:lnTo>
                  <a:lnTo>
                    <a:pt x="30" y="90"/>
                  </a:lnTo>
                  <a:lnTo>
                    <a:pt x="22" y="82"/>
                  </a:lnTo>
                  <a:lnTo>
                    <a:pt x="16" y="78"/>
                  </a:lnTo>
                  <a:lnTo>
                    <a:pt x="2" y="46"/>
                  </a:lnTo>
                  <a:lnTo>
                    <a:pt x="2" y="46"/>
                  </a:lnTo>
                  <a:lnTo>
                    <a:pt x="0" y="42"/>
                  </a:lnTo>
                  <a:lnTo>
                    <a:pt x="2" y="34"/>
                  </a:lnTo>
                  <a:lnTo>
                    <a:pt x="4" y="30"/>
                  </a:lnTo>
                  <a:lnTo>
                    <a:pt x="6" y="26"/>
                  </a:lnTo>
                  <a:lnTo>
                    <a:pt x="12" y="22"/>
                  </a:lnTo>
                  <a:lnTo>
                    <a:pt x="18" y="18"/>
                  </a:lnTo>
                  <a:lnTo>
                    <a:pt x="18" y="18"/>
                  </a:lnTo>
                  <a:lnTo>
                    <a:pt x="60" y="0"/>
                  </a:lnTo>
                  <a:lnTo>
                    <a:pt x="60" y="0"/>
                  </a:lnTo>
                  <a:close/>
                </a:path>
              </a:pathLst>
            </a:custGeom>
            <a:solidFill>
              <a:schemeClr val="accent1">
                <a:lumMod val="75000"/>
              </a:schemeClr>
            </a:solidFill>
            <a:ln w="6350" cap="rnd" cmpd="sng">
              <a:solidFill>
                <a:srgbClr val="FFFFFF"/>
              </a:solidFill>
              <a:prstDash val="solid"/>
              <a:round/>
              <a:headEnd type="none" w="sm" len="sm"/>
              <a:tailEnd type="none" w="sm" len="sm"/>
            </a:ln>
            <a:effectLst/>
          </p:spPr>
          <p:txBody>
            <a:bodyPr/>
            <a:lstStyle/>
            <a:p>
              <a:pPr algn="ctr" fontAlgn="base">
                <a:spcBef>
                  <a:spcPct val="0"/>
                </a:spcBef>
                <a:spcAft>
                  <a:spcPct val="0"/>
                </a:spcAft>
              </a:pPr>
              <a:endParaRPr lang="en-US" sz="1600">
                <a:solidFill>
                  <a:srgbClr val="646464"/>
                </a:solidFill>
              </a:endParaRPr>
            </a:p>
          </p:txBody>
        </p:sp>
      </p:grpSp>
    </p:spTree>
    <p:extLst>
      <p:ext uri="{BB962C8B-B14F-4D97-AF65-F5344CB8AC3E}">
        <p14:creationId xmlns:p14="http://schemas.microsoft.com/office/powerpoint/2010/main" val="83348280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Standard Content Slide">
    <p:spTree>
      <p:nvGrpSpPr>
        <p:cNvPr id="1" name=""/>
        <p:cNvGrpSpPr/>
        <p:nvPr/>
      </p:nvGrpSpPr>
      <p:grpSpPr>
        <a:xfrm>
          <a:off x="0" y="0"/>
          <a:ext cx="0" cy="0"/>
          <a:chOff x="0" y="0"/>
          <a:chExt cx="0" cy="0"/>
        </a:xfrm>
      </p:grpSpPr>
      <p:sp>
        <p:nvSpPr>
          <p:cNvPr id="2" name="Titre 1"/>
          <p:cNvSpPr>
            <a:spLocks noGrp="1"/>
          </p:cNvSpPr>
          <p:nvPr>
            <p:ph type="title"/>
          </p:nvPr>
        </p:nvSpPr>
        <p:spPr>
          <a:xfrm>
            <a:off x="587374" y="276299"/>
            <a:ext cx="7200000" cy="540000"/>
          </a:xfrm>
        </p:spPr>
        <p:txBody>
          <a:bodyPr>
            <a:normAutofit/>
          </a:bodyPr>
          <a:lstStyle>
            <a:lvl1pPr>
              <a:defRPr sz="2400">
                <a:latin typeface="+mn-lt"/>
              </a:defRPr>
            </a:lvl1pPr>
          </a:lstStyle>
          <a:p>
            <a:r>
              <a:rPr lang="fr-FR"/>
              <a:t>Modifiez le style du titre</a:t>
            </a:r>
          </a:p>
        </p:txBody>
      </p:sp>
      <p:sp>
        <p:nvSpPr>
          <p:cNvPr id="3" name="Espace réservé du contenu 2"/>
          <p:cNvSpPr>
            <a:spLocks noGrp="1"/>
          </p:cNvSpPr>
          <p:nvPr>
            <p:ph idx="1"/>
          </p:nvPr>
        </p:nvSpPr>
        <p:spPr>
          <a:xfrm>
            <a:off x="587375" y="1160463"/>
            <a:ext cx="11017249" cy="4968875"/>
          </a:xfrm>
          <a:prstGeom prst="rect">
            <a:avLst/>
          </a:prstGeom>
        </p:spPr>
        <p:txBody>
          <a:bodyPr/>
          <a:lstStyle>
            <a:lvl1pPr>
              <a:defRPr sz="1600"/>
            </a:lvl1pPr>
            <a:lvl2pPr>
              <a:defRPr sz="1400"/>
            </a:lvl2pPr>
            <a:lvl3pPr>
              <a:defRPr sz="1200"/>
            </a:lvl3pPr>
            <a:lvl4pPr>
              <a:defRPr sz="1100"/>
            </a:lvl4pPr>
            <a:lvl5pPr>
              <a:defRPr sz="10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TextBox 6"/>
          <p:cNvSpPr txBox="1"/>
          <p:nvPr userDrawn="1"/>
        </p:nvSpPr>
        <p:spPr>
          <a:xfrm>
            <a:off x="8200464" y="223152"/>
            <a:ext cx="3368144" cy="461665"/>
          </a:xfrm>
          <a:prstGeom prst="rect">
            <a:avLst/>
          </a:prstGeom>
          <a:noFill/>
        </p:spPr>
        <p:txBody>
          <a:bodyPr wrap="square" rtlCol="0">
            <a:spAutoFit/>
          </a:bodyPr>
          <a:lstStyle/>
          <a:p>
            <a:pPr algn="r">
              <a:spcBef>
                <a:spcPts val="1800"/>
              </a:spcBef>
            </a:pPr>
            <a:r>
              <a:rPr lang="en-US" sz="2400" i="1" spc="60" dirty="0">
                <a:solidFill>
                  <a:srgbClr val="1F497D"/>
                </a:solidFill>
                <a:latin typeface="Tw Cen MT Condensed" panose="020B0606020104020203" pitchFamily="34" charset="-18"/>
                <a:cs typeface="Calibri" panose="020F0502020204030204" pitchFamily="34" charset="0"/>
              </a:rPr>
              <a:t>MARI </a:t>
            </a:r>
            <a:endParaRPr lang="cs-CZ" sz="2400" i="1" spc="60" dirty="0">
              <a:solidFill>
                <a:srgbClr val="1F497D"/>
              </a:solidFill>
              <a:latin typeface="Tw Cen MT Condensed" panose="020B0606020104020203" pitchFamily="34" charset="-18"/>
              <a:cs typeface="Calibri" panose="020F0502020204030204" pitchFamily="34" charset="0"/>
            </a:endParaRPr>
          </a:p>
        </p:txBody>
      </p:sp>
    </p:spTree>
    <p:extLst>
      <p:ext uri="{BB962C8B-B14F-4D97-AF65-F5344CB8AC3E}">
        <p14:creationId xmlns:p14="http://schemas.microsoft.com/office/powerpoint/2010/main" val="447957510"/>
      </p:ext>
    </p:extLst>
  </p:cSld>
  <p:clrMapOvr>
    <a:masterClrMapping/>
  </p:clrMapOvr>
  <p:extLst mod="1">
    <p:ext uri="{DCECCB84-F9BA-43D5-87BE-67443E8EF086}">
      <p15:sldGuideLst xmlns:p15="http://schemas.microsoft.com/office/powerpoint/2012/main">
        <p15:guide id="1" orient="horz" pos="3861">
          <p15:clr>
            <a:srgbClr val="FBAE40"/>
          </p15:clr>
        </p15:guide>
        <p15:guide id="2" pos="370">
          <p15:clr>
            <a:srgbClr val="FBAE40"/>
          </p15:clr>
        </p15:guide>
        <p15:guide id="3" pos="3840">
          <p15:clr>
            <a:srgbClr val="FBAE40"/>
          </p15:clr>
        </p15:guide>
        <p15:guide id="4" pos="7310">
          <p15:clr>
            <a:srgbClr val="FBAE40"/>
          </p15:clr>
        </p15:guide>
        <p15:guide id="5" orient="horz" pos="73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age with logo and page nb">
    <p:spTree>
      <p:nvGrpSpPr>
        <p:cNvPr id="1" name=""/>
        <p:cNvGrpSpPr/>
        <p:nvPr/>
      </p:nvGrpSpPr>
      <p:grpSpPr>
        <a:xfrm>
          <a:off x="0" y="0"/>
          <a:ext cx="0" cy="0"/>
          <a:chOff x="0" y="0"/>
          <a:chExt cx="0" cy="0"/>
        </a:xfrm>
      </p:grpSpPr>
      <p:sp>
        <p:nvSpPr>
          <p:cNvPr id="5" name="Text Placeholder 4"/>
          <p:cNvSpPr>
            <a:spLocks noGrp="1"/>
          </p:cNvSpPr>
          <p:nvPr>
            <p:ph type="body" sz="quarter" idx="11" hasCustomPrompt="1"/>
          </p:nvPr>
        </p:nvSpPr>
        <p:spPr>
          <a:xfrm>
            <a:off x="414337" y="456139"/>
            <a:ext cx="11160125" cy="708025"/>
          </a:xfrm>
        </p:spPr>
        <p:txBody>
          <a:bodyPr>
            <a:normAutofit/>
          </a:bodyPr>
          <a:lstStyle>
            <a:lvl1pPr marL="0" indent="0">
              <a:buNone/>
              <a:defRPr sz="4000" b="1">
                <a:latin typeface="Century Gothic" panose="020B0502020202020204" pitchFamily="34" charset="0"/>
              </a:defRPr>
            </a:lvl1pPr>
          </a:lstStyle>
          <a:p>
            <a:pPr lvl="0"/>
            <a:r>
              <a:rPr lang="en-US" dirty="0"/>
              <a:t>CLICK TO EDIT MASTER TEXT STYLE</a:t>
            </a:r>
          </a:p>
        </p:txBody>
      </p:sp>
      <p:sp>
        <p:nvSpPr>
          <p:cNvPr id="4" name="Slide Number Placeholder 2">
            <a:extLst>
              <a:ext uri="{FF2B5EF4-FFF2-40B4-BE49-F238E27FC236}">
                <a16:creationId xmlns:a16="http://schemas.microsoft.com/office/drawing/2014/main" id="{AB58EA1C-68C2-4E54-B5B6-2ECC035ED2C7}"/>
              </a:ext>
            </a:extLst>
          </p:cNvPr>
          <p:cNvSpPr>
            <a:spLocks noGrp="1"/>
          </p:cNvSpPr>
          <p:nvPr>
            <p:ph type="sldNum" sz="quarter" idx="10"/>
          </p:nvPr>
        </p:nvSpPr>
        <p:spPr>
          <a:xfrm>
            <a:off x="11676063" y="6322523"/>
            <a:ext cx="445028" cy="322706"/>
          </a:xfrm>
        </p:spPr>
        <p:txBody>
          <a:bodyPr/>
          <a:lstStyle/>
          <a:p>
            <a:fld id="{D4E6D71C-ACD7-49D2-9689-F9C4024FAC38}" type="slidenum">
              <a:rPr lang="en-US" smtClean="0"/>
              <a:t>‹#›</a:t>
            </a:fld>
            <a:endParaRPr lang="en-US" dirty="0"/>
          </a:p>
        </p:txBody>
      </p:sp>
      <p:pic>
        <p:nvPicPr>
          <p:cNvPr id="8" name="Picture 7">
            <a:extLst>
              <a:ext uri="{FF2B5EF4-FFF2-40B4-BE49-F238E27FC236}">
                <a16:creationId xmlns:a16="http://schemas.microsoft.com/office/drawing/2014/main" id="{CBA59366-CF9D-46BD-B251-1F2B2C163A2B}"/>
              </a:ext>
            </a:extLst>
          </p:cNvPr>
          <p:cNvPicPr/>
          <p:nvPr userDrawn="1"/>
        </p:nvPicPr>
        <p:blipFill>
          <a:blip r:embed="rId2"/>
          <a:stretch>
            <a:fillRect/>
          </a:stretch>
        </p:blipFill>
        <p:spPr>
          <a:xfrm>
            <a:off x="10187649" y="6308725"/>
            <a:ext cx="1488414" cy="399548"/>
          </a:xfrm>
          <a:prstGeom prst="rect">
            <a:avLst/>
          </a:prstGeom>
        </p:spPr>
      </p:pic>
    </p:spTree>
    <p:extLst>
      <p:ext uri="{BB962C8B-B14F-4D97-AF65-F5344CB8AC3E}">
        <p14:creationId xmlns:p14="http://schemas.microsoft.com/office/powerpoint/2010/main" val="20550775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opic Title Sli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87374" y="3102064"/>
            <a:ext cx="7200000" cy="540000"/>
          </a:xfrm>
        </p:spPr>
        <p:txBody>
          <a:bodyPr/>
          <a:lstStyle>
            <a:lvl1pPr>
              <a:defRPr b="1" baseline="0">
                <a:latin typeface="+mn-lt"/>
              </a:defRPr>
            </a:lvl1pPr>
          </a:lstStyle>
          <a:p>
            <a:r>
              <a:rPr lang="sk-SK"/>
              <a:t>TOPIC TITLE (TOP X. xxx)</a:t>
            </a:r>
            <a:endParaRPr lang="fr-FR"/>
          </a:p>
        </p:txBody>
      </p:sp>
      <p:sp>
        <p:nvSpPr>
          <p:cNvPr id="6" name="TextBox 5"/>
          <p:cNvSpPr txBox="1"/>
          <p:nvPr userDrawn="1"/>
        </p:nvSpPr>
        <p:spPr>
          <a:xfrm>
            <a:off x="8200464" y="223152"/>
            <a:ext cx="3368144" cy="461665"/>
          </a:xfrm>
          <a:prstGeom prst="rect">
            <a:avLst/>
          </a:prstGeom>
          <a:noFill/>
        </p:spPr>
        <p:txBody>
          <a:bodyPr wrap="square" rtlCol="0">
            <a:spAutoFit/>
          </a:bodyPr>
          <a:lstStyle/>
          <a:p>
            <a:pPr algn="r">
              <a:spcBef>
                <a:spcPts val="1800"/>
              </a:spcBef>
            </a:pPr>
            <a:r>
              <a:rPr lang="en-US" sz="2400" i="1" spc="60" dirty="0">
                <a:solidFill>
                  <a:srgbClr val="1F497D"/>
                </a:solidFill>
                <a:latin typeface="Tw Cen MT Condensed" panose="020B0606020104020203" pitchFamily="34" charset="-18"/>
                <a:cs typeface="Calibri" panose="020F0502020204030204" pitchFamily="34" charset="0"/>
              </a:rPr>
              <a:t>MARI </a:t>
            </a:r>
            <a:endParaRPr lang="cs-CZ" sz="2400" i="1" spc="60" dirty="0">
              <a:solidFill>
                <a:srgbClr val="1F497D"/>
              </a:solidFill>
              <a:latin typeface="Tw Cen MT Condensed" panose="020B0606020104020203" pitchFamily="34" charset="-18"/>
              <a:cs typeface="Calibri" panose="020F0502020204030204" pitchFamily="34" charset="0"/>
            </a:endParaRPr>
          </a:p>
        </p:txBody>
      </p:sp>
    </p:spTree>
    <p:extLst>
      <p:ext uri="{BB962C8B-B14F-4D97-AF65-F5344CB8AC3E}">
        <p14:creationId xmlns:p14="http://schemas.microsoft.com/office/powerpoint/2010/main" val="2835013996"/>
      </p:ext>
    </p:extLst>
  </p:cSld>
  <p:clrMapOvr>
    <a:masterClrMapping/>
  </p:clrMapOvr>
  <p:extLst mod="1">
    <p:ext uri="{DCECCB84-F9BA-43D5-87BE-67443E8EF086}">
      <p15:sldGuideLst xmlns:p15="http://schemas.microsoft.com/office/powerpoint/2012/main">
        <p15:guide id="1" orient="horz" pos="2160">
          <p15:clr>
            <a:srgbClr val="FBAE40"/>
          </p15:clr>
        </p15:guide>
        <p15:guide id="2" pos="393">
          <p15:clr>
            <a:srgbClr val="FBAE40"/>
          </p15:clr>
        </p15:guide>
        <p15:guide id="3" pos="3840">
          <p15:clr>
            <a:srgbClr val="FBAE40"/>
          </p15:clr>
        </p15:guide>
        <p15:guide id="4" pos="7310">
          <p15:clr>
            <a:srgbClr val="FBAE40"/>
          </p15:clr>
        </p15:guide>
        <p15:guide id="5" orient="horz" pos="18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Double Content Slide">
    <p:spTree>
      <p:nvGrpSpPr>
        <p:cNvPr id="1" name=""/>
        <p:cNvGrpSpPr/>
        <p:nvPr/>
      </p:nvGrpSpPr>
      <p:grpSpPr>
        <a:xfrm>
          <a:off x="0" y="0"/>
          <a:ext cx="0" cy="0"/>
          <a:chOff x="0" y="0"/>
          <a:chExt cx="0" cy="0"/>
        </a:xfrm>
      </p:grpSpPr>
      <p:sp>
        <p:nvSpPr>
          <p:cNvPr id="2" name="Titre 1"/>
          <p:cNvSpPr>
            <a:spLocks noGrp="1"/>
          </p:cNvSpPr>
          <p:nvPr>
            <p:ph type="title"/>
          </p:nvPr>
        </p:nvSpPr>
        <p:spPr>
          <a:xfrm>
            <a:off x="587375" y="282528"/>
            <a:ext cx="7200000" cy="540000"/>
          </a:xfrm>
        </p:spPr>
        <p:txBody>
          <a:bodyPr/>
          <a:lstStyle>
            <a:lvl1pPr>
              <a:defRPr>
                <a:latin typeface="+mn-lt"/>
              </a:defRPr>
            </a:lvl1pPr>
          </a:lstStyle>
          <a:p>
            <a:r>
              <a:rPr lang="fr-FR"/>
              <a:t>Modifiez le style du titre</a:t>
            </a:r>
          </a:p>
        </p:txBody>
      </p:sp>
      <p:sp>
        <p:nvSpPr>
          <p:cNvPr id="3" name="Espace réservé du contenu 2"/>
          <p:cNvSpPr>
            <a:spLocks noGrp="1"/>
          </p:cNvSpPr>
          <p:nvPr>
            <p:ph sz="half" idx="1"/>
          </p:nvPr>
        </p:nvSpPr>
        <p:spPr>
          <a:xfrm>
            <a:off x="590096" y="1171853"/>
            <a:ext cx="5397953" cy="4971774"/>
          </a:xfrm>
          <a:prstGeom prst="rect">
            <a:avLst/>
          </a:prstGeom>
        </p:spPr>
        <p:txBody>
          <a:bodyPr/>
          <a:lstStyle>
            <a:lvl1pPr>
              <a:defRPr sz="1400"/>
            </a:lvl1pPr>
            <a:lvl2pPr>
              <a:defRPr sz="1200"/>
            </a:lvl2pPr>
            <a:lvl3pPr>
              <a:defRPr sz="1100"/>
            </a:lvl3pPr>
            <a:lvl4pPr>
              <a:defRPr sz="1000"/>
            </a:lvl4pPr>
            <a:lvl5pPr>
              <a:defRPr sz="9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203951" y="1171852"/>
            <a:ext cx="5400674" cy="4957487"/>
          </a:xfrm>
          <a:prstGeom prst="rect">
            <a:avLst/>
          </a:prstGeom>
        </p:spPr>
        <p:txBody>
          <a:bodyPr/>
          <a:lstStyle>
            <a:lvl1pPr>
              <a:defRPr sz="1400"/>
            </a:lvl1pPr>
            <a:lvl2pPr>
              <a:defRPr sz="1200"/>
            </a:lvl2pPr>
            <a:lvl3pPr>
              <a:defRPr sz="1100"/>
            </a:lvl3pPr>
            <a:lvl4pPr>
              <a:defRPr sz="1000"/>
            </a:lvl4pPr>
            <a:lvl5pPr>
              <a:defRPr sz="9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1" name="TextBox 10"/>
          <p:cNvSpPr txBox="1"/>
          <p:nvPr userDrawn="1"/>
        </p:nvSpPr>
        <p:spPr>
          <a:xfrm>
            <a:off x="8200464" y="223152"/>
            <a:ext cx="3368144" cy="461665"/>
          </a:xfrm>
          <a:prstGeom prst="rect">
            <a:avLst/>
          </a:prstGeom>
          <a:noFill/>
        </p:spPr>
        <p:txBody>
          <a:bodyPr wrap="square" rtlCol="0">
            <a:spAutoFit/>
          </a:bodyPr>
          <a:lstStyle/>
          <a:p>
            <a:pPr algn="r">
              <a:spcBef>
                <a:spcPts val="1800"/>
              </a:spcBef>
            </a:pPr>
            <a:r>
              <a:rPr lang="en-US" sz="2400" i="1" spc="60" dirty="0">
                <a:solidFill>
                  <a:srgbClr val="1F497D"/>
                </a:solidFill>
                <a:latin typeface="Tw Cen MT Condensed" panose="020B0606020104020203" pitchFamily="34" charset="-18"/>
                <a:cs typeface="Calibri" panose="020F0502020204030204" pitchFamily="34" charset="0"/>
              </a:rPr>
              <a:t>MARI </a:t>
            </a:r>
            <a:endParaRPr lang="cs-CZ" sz="2400" i="1" spc="60" dirty="0">
              <a:solidFill>
                <a:srgbClr val="1F497D"/>
              </a:solidFill>
              <a:latin typeface="Tw Cen MT Condensed" panose="020B0606020104020203" pitchFamily="34" charset="-18"/>
              <a:cs typeface="Calibri" panose="020F0502020204030204" pitchFamily="34" charset="0"/>
            </a:endParaRPr>
          </a:p>
        </p:txBody>
      </p:sp>
    </p:spTree>
    <p:extLst>
      <p:ext uri="{BB962C8B-B14F-4D97-AF65-F5344CB8AC3E}">
        <p14:creationId xmlns:p14="http://schemas.microsoft.com/office/powerpoint/2010/main" val="3602426816"/>
      </p:ext>
    </p:extLst>
  </p:cSld>
  <p:clrMapOvr>
    <a:masterClrMapping/>
  </p:clrMapOvr>
  <p:extLst mod="1">
    <p:ext uri="{DCECCB84-F9BA-43D5-87BE-67443E8EF086}">
      <p15:sldGuideLst xmlns:p15="http://schemas.microsoft.com/office/powerpoint/2012/main">
        <p15:guide id="1" pos="370">
          <p15:clr>
            <a:srgbClr val="FBAE40"/>
          </p15:clr>
        </p15:guide>
        <p15:guide id="2" pos="3772">
          <p15:clr>
            <a:srgbClr val="FBAE40"/>
          </p15:clr>
        </p15:guide>
        <p15:guide id="3" pos="3908">
          <p15:clr>
            <a:srgbClr val="FBAE40"/>
          </p15:clr>
        </p15:guide>
        <p15:guide id="4" pos="7310">
          <p15:clr>
            <a:srgbClr val="FBAE40"/>
          </p15:clr>
        </p15:guide>
        <p15:guide id="5" orient="horz" pos="731">
          <p15:clr>
            <a:srgbClr val="FBAE40"/>
          </p15:clr>
        </p15:guide>
        <p15:guide id="6" orient="horz" pos="386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Content Slide">
    <p:spTree>
      <p:nvGrpSpPr>
        <p:cNvPr id="1" name=""/>
        <p:cNvGrpSpPr/>
        <p:nvPr/>
      </p:nvGrpSpPr>
      <p:grpSpPr>
        <a:xfrm>
          <a:off x="0" y="0"/>
          <a:ext cx="0" cy="0"/>
          <a:chOff x="0" y="0"/>
          <a:chExt cx="0" cy="0"/>
        </a:xfrm>
      </p:grpSpPr>
      <p:sp>
        <p:nvSpPr>
          <p:cNvPr id="2" name="Titre 1"/>
          <p:cNvSpPr>
            <a:spLocks noGrp="1"/>
          </p:cNvSpPr>
          <p:nvPr>
            <p:ph type="title"/>
          </p:nvPr>
        </p:nvSpPr>
        <p:spPr>
          <a:xfrm>
            <a:off x="600785" y="286176"/>
            <a:ext cx="7219545" cy="540000"/>
          </a:xfrm>
        </p:spPr>
        <p:txBody>
          <a:bodyPr/>
          <a:lstStyle>
            <a:lvl1pPr>
              <a:defRPr>
                <a:latin typeface="+mn-lt"/>
              </a:defRPr>
            </a:lvl1pPr>
          </a:lstStyle>
          <a:p>
            <a:r>
              <a:rPr lang="fr-FR"/>
              <a:t>Modifiez le style du titre</a:t>
            </a:r>
          </a:p>
        </p:txBody>
      </p:sp>
      <p:sp>
        <p:nvSpPr>
          <p:cNvPr id="3" name="Espace réservé du texte 2"/>
          <p:cNvSpPr>
            <a:spLocks noGrp="1"/>
          </p:cNvSpPr>
          <p:nvPr>
            <p:ph type="body" idx="1"/>
          </p:nvPr>
        </p:nvSpPr>
        <p:spPr>
          <a:xfrm>
            <a:off x="600785" y="1160463"/>
            <a:ext cx="5396409" cy="592135"/>
          </a:xfrm>
          <a:prstGeom prst="rect">
            <a:avLst/>
          </a:prstGeom>
        </p:spPr>
        <p:txBody>
          <a:bodyPr anchor="b"/>
          <a:lstStyle>
            <a:lvl1pPr marL="0" indent="0">
              <a:buNone/>
              <a:defRPr sz="16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Modifiez les styles du texte du masque</a:t>
            </a:r>
          </a:p>
        </p:txBody>
      </p:sp>
      <p:sp>
        <p:nvSpPr>
          <p:cNvPr id="4" name="Espace réservé du contenu 3"/>
          <p:cNvSpPr>
            <a:spLocks noGrp="1"/>
          </p:cNvSpPr>
          <p:nvPr>
            <p:ph sz="half" idx="2"/>
          </p:nvPr>
        </p:nvSpPr>
        <p:spPr>
          <a:xfrm>
            <a:off x="593230" y="2086885"/>
            <a:ext cx="5394819" cy="4042453"/>
          </a:xfrm>
          <a:prstGeom prst="rect">
            <a:avLst/>
          </a:prstGeom>
        </p:spPr>
        <p:txBody>
          <a:bodyPr/>
          <a:lstStyle>
            <a:lvl1pPr>
              <a:defRPr sz="1400"/>
            </a:lvl1pPr>
            <a:lvl2pPr>
              <a:defRPr sz="1200"/>
            </a:lvl2pPr>
            <a:lvl3pPr>
              <a:defRPr sz="1100"/>
            </a:lvl3pPr>
            <a:lvl4pPr>
              <a:defRPr sz="1000"/>
            </a:lvl4pPr>
            <a:lvl5pPr>
              <a:defRPr sz="9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203948" y="1162464"/>
            <a:ext cx="5400675" cy="596899"/>
          </a:xfrm>
          <a:prstGeom prst="rect">
            <a:avLst/>
          </a:prstGeom>
        </p:spPr>
        <p:txBody>
          <a:bodyPr anchor="b"/>
          <a:lstStyle>
            <a:lvl1pPr marL="0" indent="0">
              <a:buNone/>
              <a:defRPr sz="16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Modifiez les styles du texte du masque</a:t>
            </a:r>
          </a:p>
        </p:txBody>
      </p:sp>
      <p:sp>
        <p:nvSpPr>
          <p:cNvPr id="6" name="Espace réservé du contenu 5"/>
          <p:cNvSpPr>
            <a:spLocks noGrp="1"/>
          </p:cNvSpPr>
          <p:nvPr>
            <p:ph sz="quarter" idx="4"/>
          </p:nvPr>
        </p:nvSpPr>
        <p:spPr>
          <a:xfrm>
            <a:off x="6203949" y="2086885"/>
            <a:ext cx="5400675" cy="4042453"/>
          </a:xfrm>
          <a:prstGeom prst="rect">
            <a:avLst/>
          </a:prstGeom>
        </p:spPr>
        <p:txBody>
          <a:bodyPr/>
          <a:lstStyle>
            <a:lvl1pPr>
              <a:defRPr sz="1400"/>
            </a:lvl1pPr>
            <a:lvl2pPr>
              <a:defRPr sz="1200"/>
            </a:lvl2pPr>
            <a:lvl3pPr>
              <a:defRPr sz="1100"/>
            </a:lvl3pPr>
            <a:lvl4pPr>
              <a:defRPr sz="1000"/>
            </a:lvl4pPr>
            <a:lvl5pPr>
              <a:defRPr sz="900"/>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3" name="TextBox 12"/>
          <p:cNvSpPr txBox="1"/>
          <p:nvPr userDrawn="1"/>
        </p:nvSpPr>
        <p:spPr>
          <a:xfrm>
            <a:off x="8200464" y="223152"/>
            <a:ext cx="3368144" cy="461665"/>
          </a:xfrm>
          <a:prstGeom prst="rect">
            <a:avLst/>
          </a:prstGeom>
          <a:noFill/>
        </p:spPr>
        <p:txBody>
          <a:bodyPr wrap="square" rtlCol="0">
            <a:spAutoFit/>
          </a:bodyPr>
          <a:lstStyle/>
          <a:p>
            <a:pPr algn="r">
              <a:spcBef>
                <a:spcPts val="1800"/>
              </a:spcBef>
            </a:pPr>
            <a:r>
              <a:rPr lang="en-US" sz="2400" i="1" spc="60" dirty="0">
                <a:solidFill>
                  <a:srgbClr val="1F497D"/>
                </a:solidFill>
                <a:latin typeface="Tw Cen MT Condensed" panose="020B0606020104020203" pitchFamily="34" charset="-18"/>
                <a:cs typeface="Calibri" panose="020F0502020204030204" pitchFamily="34" charset="0"/>
              </a:rPr>
              <a:t>MARI </a:t>
            </a:r>
            <a:endParaRPr lang="cs-CZ" sz="2400" i="1" spc="60" dirty="0">
              <a:solidFill>
                <a:srgbClr val="1F497D"/>
              </a:solidFill>
              <a:latin typeface="Tw Cen MT Condensed" panose="020B0606020104020203" pitchFamily="34" charset="-18"/>
              <a:cs typeface="Calibri" panose="020F0502020204030204" pitchFamily="34" charset="0"/>
            </a:endParaRPr>
          </a:p>
        </p:txBody>
      </p:sp>
    </p:spTree>
    <p:extLst>
      <p:ext uri="{BB962C8B-B14F-4D97-AF65-F5344CB8AC3E}">
        <p14:creationId xmlns:p14="http://schemas.microsoft.com/office/powerpoint/2010/main" val="3157237225"/>
      </p:ext>
    </p:extLst>
  </p:cSld>
  <p:clrMapOvr>
    <a:masterClrMapping/>
  </p:clrMapOvr>
  <p:extLst mod="1">
    <p:ext uri="{DCECCB84-F9BA-43D5-87BE-67443E8EF086}">
      <p15:sldGuideLst xmlns:p15="http://schemas.microsoft.com/office/powerpoint/2012/main">
        <p15:guide id="1" pos="370">
          <p15:clr>
            <a:srgbClr val="FBAE40"/>
          </p15:clr>
        </p15:guide>
        <p15:guide id="2" pos="3772">
          <p15:clr>
            <a:srgbClr val="FBAE40"/>
          </p15:clr>
        </p15:guide>
        <p15:guide id="3" pos="3908">
          <p15:clr>
            <a:srgbClr val="FBAE40"/>
          </p15:clr>
        </p15:guide>
        <p15:guide id="4" orient="horz" pos="731">
          <p15:clr>
            <a:srgbClr val="FBAE40"/>
          </p15:clr>
        </p15:guide>
        <p15:guide id="5" orient="horz" pos="3861">
          <p15:clr>
            <a:srgbClr val="FBAE40"/>
          </p15:clr>
        </p15:guide>
        <p15:guide id="6" pos="731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slid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4E6D71C-ACD7-49D2-9689-F9C4024FAC38}" type="slidenum">
              <a:rPr lang="en-US" smtClean="0"/>
              <a:t>‹#›</a:t>
            </a:fld>
            <a:endParaRPr lang="en-US" dirty="0"/>
          </a:p>
        </p:txBody>
      </p:sp>
      <p:sp>
        <p:nvSpPr>
          <p:cNvPr id="20" name="Rectangle 19"/>
          <p:cNvSpPr/>
          <p:nvPr userDrawn="1"/>
        </p:nvSpPr>
        <p:spPr>
          <a:xfrm>
            <a:off x="0" y="0"/>
            <a:ext cx="12186148" cy="685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itle 36"/>
          <p:cNvSpPr>
            <a:spLocks noGrp="1"/>
          </p:cNvSpPr>
          <p:nvPr>
            <p:ph type="title" hasCustomPrompt="1"/>
          </p:nvPr>
        </p:nvSpPr>
        <p:spPr>
          <a:xfrm>
            <a:off x="406320" y="297663"/>
            <a:ext cx="10874986" cy="946280"/>
          </a:xfrm>
        </p:spPr>
        <p:txBody>
          <a:bodyPr/>
          <a:lstStyle>
            <a:lvl1pPr>
              <a:defRPr sz="4000" baseline="0">
                <a:solidFill>
                  <a:schemeClr val="bg1"/>
                </a:solidFill>
                <a:latin typeface="Century Gothic" panose="020B0502020202020204" pitchFamily="34" charset="0"/>
              </a:defRPr>
            </a:lvl1pPr>
          </a:lstStyle>
          <a:p>
            <a:r>
              <a:rPr lang="en-US" dirty="0"/>
              <a:t>INSERT TITLE HERE FOR KEY SLIDE</a:t>
            </a:r>
          </a:p>
        </p:txBody>
      </p:sp>
      <p:sp>
        <p:nvSpPr>
          <p:cNvPr id="37" name="Text Placeholder 3"/>
          <p:cNvSpPr>
            <a:spLocks noGrp="1"/>
          </p:cNvSpPr>
          <p:nvPr>
            <p:ph type="body" sz="quarter" idx="13" hasCustomPrompt="1"/>
          </p:nvPr>
        </p:nvSpPr>
        <p:spPr>
          <a:xfrm>
            <a:off x="5985873" y="2695575"/>
            <a:ext cx="5439365" cy="3433763"/>
          </a:xfrm>
        </p:spPr>
        <p:txBody>
          <a:bodyPr>
            <a:noAutofit/>
          </a:bodyPr>
          <a:lstStyle>
            <a:lvl1pPr marL="0" marR="0" indent="0" algn="l" defTabSz="914400" rtl="0" eaLnBrk="1" fontAlgn="auto" latinLnBrk="0" hangingPunct="1">
              <a:lnSpc>
                <a:spcPct val="150000"/>
              </a:lnSpc>
              <a:spcBef>
                <a:spcPts val="0"/>
              </a:spcBef>
              <a:spcAft>
                <a:spcPts val="0"/>
              </a:spcAft>
              <a:buClrTx/>
              <a:buSzTx/>
              <a:buFontTx/>
              <a:buNone/>
              <a:tabLst/>
              <a:defRPr sz="1800" b="1">
                <a:solidFill>
                  <a:schemeClr val="bg1"/>
                </a:solidFill>
              </a:defRPr>
            </a:lvl1pPr>
          </a:lstStyle>
          <a:p>
            <a:pPr marL="285750" lvl="0" indent="-285750">
              <a:lnSpc>
                <a:spcPct val="150000"/>
              </a:lnSpc>
            </a:pPr>
            <a:r>
              <a:rPr lang="en-US" dirty="0">
                <a:latin typeface="Arial" panose="020B0604020202020204" pitchFamily="34" charset="0"/>
                <a:cs typeface="Arial" panose="020B0604020202020204" pitchFamily="34" charset="0"/>
              </a:rPr>
              <a:t>Use bullet points here</a:t>
            </a:r>
          </a:p>
          <a:p>
            <a:pPr marL="285750" lvl="0" indent="-285750">
              <a:lnSpc>
                <a:spcPct val="150000"/>
              </a:lnSpc>
            </a:pPr>
            <a:r>
              <a:rPr lang="en-US" dirty="0">
                <a:latin typeface="Arial" panose="020B0604020202020204" pitchFamily="34" charset="0"/>
                <a:cs typeface="Arial" panose="020B0604020202020204" pitchFamily="34" charset="0"/>
              </a:rPr>
              <a:t>Use bullet points here</a:t>
            </a:r>
          </a:p>
          <a:p>
            <a:pPr marL="285750" lvl="0" indent="-285750">
              <a:lnSpc>
                <a:spcPct val="150000"/>
              </a:lnSpc>
            </a:pPr>
            <a:r>
              <a:rPr lang="en-US" dirty="0">
                <a:latin typeface="Arial" panose="020B0604020202020204" pitchFamily="34" charset="0"/>
                <a:cs typeface="Arial" panose="020B0604020202020204" pitchFamily="34" charset="0"/>
              </a:rPr>
              <a:t>Use bullet points here</a:t>
            </a:r>
          </a:p>
          <a:p>
            <a:pPr marL="285750" lvl="0" indent="-285750">
              <a:lnSpc>
                <a:spcPct val="150000"/>
              </a:lnSpc>
            </a:pPr>
            <a:r>
              <a:rPr lang="en-US" dirty="0">
                <a:latin typeface="Arial" panose="020B0604020202020204" pitchFamily="34" charset="0"/>
                <a:cs typeface="Arial" panose="020B0604020202020204" pitchFamily="34" charset="0"/>
              </a:rPr>
              <a:t>Use bullet points here</a:t>
            </a:r>
          </a:p>
          <a:p>
            <a:pPr marL="285750" lvl="0" indent="-285750">
              <a:lnSpc>
                <a:spcPct val="150000"/>
              </a:lnSpc>
            </a:pPr>
            <a:r>
              <a:rPr lang="en-US" dirty="0">
                <a:latin typeface="Arial" panose="020B0604020202020204" pitchFamily="34" charset="0"/>
                <a:cs typeface="Arial" panose="020B0604020202020204" pitchFamily="34" charset="0"/>
              </a:rPr>
              <a:t>Use bullet points here</a:t>
            </a:r>
          </a:p>
          <a:p>
            <a:pPr marL="285750" lvl="0" indent="-285750">
              <a:lnSpc>
                <a:spcPct val="150000"/>
              </a:lnSpc>
            </a:pPr>
            <a:r>
              <a:rPr lang="en-US" dirty="0">
                <a:latin typeface="Arial" panose="020B0604020202020204" pitchFamily="34" charset="0"/>
                <a:cs typeface="Arial" panose="020B0604020202020204" pitchFamily="34" charset="0"/>
              </a:rPr>
              <a:t>Use bullet points here</a:t>
            </a:r>
          </a:p>
          <a:p>
            <a:pPr marL="285750" lvl="0" indent="-285750">
              <a:lnSpc>
                <a:spcPct val="150000"/>
              </a:lnSpc>
              <a:buFont typeface="Arial" panose="020B0604020202020204" pitchFamily="34" charset="0"/>
              <a:buChar char="•"/>
            </a:pP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565732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yramide 3 items">
    <p:spTree>
      <p:nvGrpSpPr>
        <p:cNvPr id="1" name=""/>
        <p:cNvGrpSpPr/>
        <p:nvPr/>
      </p:nvGrpSpPr>
      <p:grpSpPr>
        <a:xfrm>
          <a:off x="0" y="0"/>
          <a:ext cx="0" cy="0"/>
          <a:chOff x="0" y="0"/>
          <a:chExt cx="0" cy="0"/>
        </a:xfrm>
      </p:grpSpPr>
      <p:sp>
        <p:nvSpPr>
          <p:cNvPr id="14" name="Content Placeholder 5"/>
          <p:cNvSpPr>
            <a:spLocks noGrp="1"/>
          </p:cNvSpPr>
          <p:nvPr>
            <p:ph sz="quarter" idx="25" hasCustomPrompt="1"/>
          </p:nvPr>
        </p:nvSpPr>
        <p:spPr>
          <a:xfrm>
            <a:off x="3953278" y="549276"/>
            <a:ext cx="4285444" cy="1772920"/>
          </a:xfrm>
          <a:prstGeom prst="trapezoid">
            <a:avLst>
              <a:gd name="adj" fmla="val 24983"/>
            </a:avLst>
          </a:prstGeom>
          <a:solidFill>
            <a:srgbClr val="397099"/>
          </a:solidFill>
        </p:spPr>
        <p:txBody>
          <a:bodyPr lIns="432000" tIns="144000" rIns="432000" bIns="144000">
            <a:noAutofit/>
          </a:bodyPr>
          <a:lstStyle>
            <a:lvl1pPr marL="0" indent="0">
              <a:buNone/>
              <a:defRPr sz="1800" b="0">
                <a:solidFill>
                  <a:schemeClr val="bg1"/>
                </a:solidFill>
              </a:defRPr>
            </a:lvl1pPr>
          </a:lstStyle>
          <a:p>
            <a:r>
              <a:rPr lang="en-US" b="1" dirty="0">
                <a:latin typeface="Arial" panose="020B0604020202020204" pitchFamily="34" charset="0"/>
                <a:cs typeface="Arial" panose="020B0604020202020204" pitchFamily="34" charset="0"/>
              </a:rPr>
              <a:t>Lorem ipsum </a:t>
            </a:r>
            <a:r>
              <a:rPr lang="en-US" dirty="0">
                <a:latin typeface="Arial" panose="020B0604020202020204" pitchFamily="34" charset="0"/>
                <a:cs typeface="Arial" panose="020B0604020202020204" pitchFamily="34" charset="0"/>
              </a:rPr>
              <a:t>dolor sit </a:t>
            </a:r>
            <a:r>
              <a:rPr lang="en-US" dirty="0" err="1">
                <a:latin typeface="Arial" panose="020B0604020202020204" pitchFamily="34" charset="0"/>
                <a:cs typeface="Arial" panose="020B0604020202020204" pitchFamily="34" charset="0"/>
              </a:rPr>
              <a:t>ame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onsectetur</a:t>
            </a:r>
            <a:r>
              <a:rPr lang="en-US"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adipiscing</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li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ed</a:t>
            </a:r>
            <a:r>
              <a:rPr lang="en-US" dirty="0">
                <a:latin typeface="Arial" panose="020B0604020202020204" pitchFamily="34" charset="0"/>
                <a:cs typeface="Arial" panose="020B0604020202020204" pitchFamily="34" charset="0"/>
              </a:rPr>
              <a:t> do </a:t>
            </a:r>
            <a:r>
              <a:rPr lang="en-US" dirty="0" err="1">
                <a:latin typeface="Arial" panose="020B0604020202020204" pitchFamily="34" charset="0"/>
                <a:cs typeface="Arial" panose="020B0604020202020204" pitchFamily="34" charset="0"/>
              </a:rPr>
              <a:t>eiusmod</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empor</a:t>
            </a:r>
            <a:endParaRPr lang="en-US" dirty="0">
              <a:latin typeface="Arial" panose="020B0604020202020204" pitchFamily="34" charset="0"/>
              <a:cs typeface="Arial" panose="020B0604020202020204" pitchFamily="34" charset="0"/>
            </a:endParaRPr>
          </a:p>
        </p:txBody>
      </p:sp>
      <p:sp>
        <p:nvSpPr>
          <p:cNvPr id="15" name="Content Placeholder 5"/>
          <p:cNvSpPr>
            <a:spLocks noGrp="1"/>
          </p:cNvSpPr>
          <p:nvPr>
            <p:ph sz="quarter" idx="24" hasCustomPrompt="1"/>
          </p:nvPr>
        </p:nvSpPr>
        <p:spPr>
          <a:xfrm>
            <a:off x="3390900" y="2528888"/>
            <a:ext cx="5372100" cy="1728787"/>
          </a:xfrm>
          <a:prstGeom prst="trapezoid">
            <a:avLst>
              <a:gd name="adj" fmla="val 26525"/>
            </a:avLst>
          </a:prstGeom>
          <a:solidFill>
            <a:srgbClr val="815576"/>
          </a:solidFill>
        </p:spPr>
        <p:txBody>
          <a:bodyPr lIns="432000" tIns="144000" rIns="432000" bIns="144000">
            <a:noAutofit/>
          </a:bodyPr>
          <a:lstStyle>
            <a:lvl1pPr marL="0" indent="0">
              <a:buNone/>
              <a:defRPr sz="1800" b="0" i="0">
                <a:solidFill>
                  <a:schemeClr val="bg1"/>
                </a:solidFill>
              </a:defRPr>
            </a:lvl1pPr>
          </a:lstStyle>
          <a:p>
            <a:r>
              <a:rPr lang="en-US" b="1" dirty="0">
                <a:latin typeface="Arial" panose="020B0604020202020204" pitchFamily="34" charset="0"/>
                <a:cs typeface="Arial" panose="020B0604020202020204" pitchFamily="34" charset="0"/>
              </a:rPr>
              <a:t>Lorem ipsum </a:t>
            </a:r>
            <a:r>
              <a:rPr lang="en-US" dirty="0">
                <a:latin typeface="Arial" panose="020B0604020202020204" pitchFamily="34" charset="0"/>
                <a:cs typeface="Arial" panose="020B0604020202020204" pitchFamily="34" charset="0"/>
              </a:rPr>
              <a:t>dolor sit </a:t>
            </a:r>
            <a:r>
              <a:rPr lang="en-US" dirty="0" err="1">
                <a:latin typeface="Arial" panose="020B0604020202020204" pitchFamily="34" charset="0"/>
                <a:cs typeface="Arial" panose="020B0604020202020204" pitchFamily="34" charset="0"/>
              </a:rPr>
              <a:t>ame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onsectetur</a:t>
            </a:r>
            <a:r>
              <a:rPr lang="en-US"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adipiscing</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li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ed</a:t>
            </a:r>
            <a:r>
              <a:rPr lang="en-US" dirty="0">
                <a:latin typeface="Arial" panose="020B0604020202020204" pitchFamily="34" charset="0"/>
                <a:cs typeface="Arial" panose="020B0604020202020204" pitchFamily="34" charset="0"/>
              </a:rPr>
              <a:t> do </a:t>
            </a:r>
            <a:r>
              <a:rPr lang="en-US" dirty="0" err="1">
                <a:latin typeface="Arial" panose="020B0604020202020204" pitchFamily="34" charset="0"/>
                <a:cs typeface="Arial" panose="020B0604020202020204" pitchFamily="34" charset="0"/>
              </a:rPr>
              <a:t>eiusmod</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empo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ncididun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u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bore</a:t>
            </a:r>
            <a:r>
              <a:rPr lang="en-US" dirty="0">
                <a:latin typeface="Arial" panose="020B0604020202020204" pitchFamily="34" charset="0"/>
                <a:cs typeface="Arial" panose="020B0604020202020204" pitchFamily="34" charset="0"/>
              </a:rPr>
              <a:t> et </a:t>
            </a:r>
            <a:r>
              <a:rPr lang="en-US" dirty="0" err="1">
                <a:latin typeface="Arial" panose="020B0604020202020204" pitchFamily="34" charset="0"/>
                <a:cs typeface="Arial" panose="020B0604020202020204" pitchFamily="34" charset="0"/>
              </a:rPr>
              <a:t>dolore</a:t>
            </a:r>
            <a:r>
              <a:rPr lang="en-US" dirty="0">
                <a:latin typeface="Arial" panose="020B0604020202020204" pitchFamily="34" charset="0"/>
                <a:cs typeface="Arial" panose="020B0604020202020204" pitchFamily="34" charset="0"/>
              </a:rPr>
              <a:t> magna </a:t>
            </a:r>
            <a:r>
              <a:rPr lang="en-US" dirty="0" err="1">
                <a:latin typeface="Arial" panose="020B0604020202020204" pitchFamily="34" charset="0"/>
                <a:cs typeface="Arial" panose="020B0604020202020204" pitchFamily="34" charset="0"/>
              </a:rPr>
              <a:t>aliqua</a:t>
            </a:r>
            <a:r>
              <a:rPr lang="en-US" dirty="0">
                <a:latin typeface="Arial" panose="020B0604020202020204" pitchFamily="34" charset="0"/>
                <a:cs typeface="Arial" panose="020B0604020202020204" pitchFamily="34" charset="0"/>
              </a:rPr>
              <a:t>. </a:t>
            </a:r>
          </a:p>
        </p:txBody>
      </p:sp>
      <p:sp>
        <p:nvSpPr>
          <p:cNvPr id="17" name="Content Placeholder 5"/>
          <p:cNvSpPr>
            <a:spLocks noGrp="1"/>
          </p:cNvSpPr>
          <p:nvPr>
            <p:ph sz="quarter" idx="26" hasCustomPrompt="1"/>
          </p:nvPr>
        </p:nvSpPr>
        <p:spPr>
          <a:xfrm>
            <a:off x="2846867" y="4508500"/>
            <a:ext cx="6524625" cy="1800225"/>
          </a:xfrm>
          <a:prstGeom prst="trapezoid">
            <a:avLst>
              <a:gd name="adj" fmla="val 25409"/>
            </a:avLst>
          </a:prstGeom>
          <a:solidFill>
            <a:srgbClr val="F08339"/>
          </a:solidFill>
        </p:spPr>
        <p:txBody>
          <a:bodyPr wrap="square" lIns="432000" tIns="144000" rIns="432000" bIns="216000">
            <a:noAutofit/>
          </a:bodyPr>
          <a:lstStyle>
            <a:lvl1pPr marL="0" indent="0">
              <a:buNone/>
              <a:defRPr sz="1800" b="0">
                <a:solidFill>
                  <a:schemeClr val="bg1"/>
                </a:solidFill>
              </a:defRPr>
            </a:lvl1pPr>
          </a:lstStyle>
          <a:p>
            <a:r>
              <a:rPr lang="en-US" b="1" dirty="0">
                <a:latin typeface="Arial" panose="020B0604020202020204" pitchFamily="34" charset="0"/>
                <a:cs typeface="Arial" panose="020B0604020202020204" pitchFamily="34" charset="0"/>
              </a:rPr>
              <a:t>Lorem ipsum </a:t>
            </a:r>
            <a:r>
              <a:rPr lang="en-US" dirty="0">
                <a:latin typeface="Arial" panose="020B0604020202020204" pitchFamily="34" charset="0"/>
                <a:cs typeface="Arial" panose="020B0604020202020204" pitchFamily="34" charset="0"/>
              </a:rPr>
              <a:t>dolor sit </a:t>
            </a:r>
            <a:r>
              <a:rPr lang="en-US" dirty="0" err="1">
                <a:latin typeface="Arial" panose="020B0604020202020204" pitchFamily="34" charset="0"/>
                <a:cs typeface="Arial" panose="020B0604020202020204" pitchFamily="34" charset="0"/>
              </a:rPr>
              <a:t>ame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onsectetur</a:t>
            </a:r>
            <a:r>
              <a:rPr lang="en-US"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adipiscing</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li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ed</a:t>
            </a:r>
            <a:r>
              <a:rPr lang="en-US" dirty="0">
                <a:latin typeface="Arial" panose="020B0604020202020204" pitchFamily="34" charset="0"/>
                <a:cs typeface="Arial" panose="020B0604020202020204" pitchFamily="34" charset="0"/>
              </a:rPr>
              <a:t> do </a:t>
            </a:r>
            <a:r>
              <a:rPr lang="en-US" dirty="0" err="1">
                <a:latin typeface="Arial" panose="020B0604020202020204" pitchFamily="34" charset="0"/>
                <a:cs typeface="Arial" panose="020B0604020202020204" pitchFamily="34" charset="0"/>
              </a:rPr>
              <a:t>eiusmod</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empo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ncididun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u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bore</a:t>
            </a:r>
            <a:r>
              <a:rPr lang="en-US" dirty="0">
                <a:latin typeface="Arial" panose="020B0604020202020204" pitchFamily="34" charset="0"/>
                <a:cs typeface="Arial" panose="020B0604020202020204" pitchFamily="34" charset="0"/>
              </a:rPr>
              <a:t> et </a:t>
            </a:r>
            <a:r>
              <a:rPr lang="en-US" dirty="0" err="1">
                <a:latin typeface="Arial" panose="020B0604020202020204" pitchFamily="34" charset="0"/>
                <a:cs typeface="Arial" panose="020B0604020202020204" pitchFamily="34" charset="0"/>
              </a:rPr>
              <a:t>dolore</a:t>
            </a:r>
            <a:r>
              <a:rPr lang="en-US" dirty="0">
                <a:latin typeface="Arial" panose="020B0604020202020204" pitchFamily="34" charset="0"/>
                <a:cs typeface="Arial" panose="020B0604020202020204" pitchFamily="34" charset="0"/>
              </a:rPr>
              <a:t> magna </a:t>
            </a:r>
            <a:r>
              <a:rPr lang="en-US" dirty="0" err="1">
                <a:latin typeface="Arial" panose="020B0604020202020204" pitchFamily="34" charset="0"/>
                <a:cs typeface="Arial" panose="020B0604020202020204" pitchFamily="34" charset="0"/>
              </a:rPr>
              <a:t>aliqua</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ncididun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u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bore</a:t>
            </a:r>
            <a:r>
              <a:rPr lang="en-US" dirty="0">
                <a:latin typeface="Arial" panose="020B0604020202020204" pitchFamily="34" charset="0"/>
                <a:cs typeface="Arial" panose="020B0604020202020204" pitchFamily="34" charset="0"/>
              </a:rPr>
              <a:t> et </a:t>
            </a:r>
            <a:r>
              <a:rPr lang="en-US" dirty="0" err="1">
                <a:latin typeface="Arial" panose="020B0604020202020204" pitchFamily="34" charset="0"/>
                <a:cs typeface="Arial" panose="020B0604020202020204" pitchFamily="34" charset="0"/>
              </a:rPr>
              <a:t>dolore</a:t>
            </a:r>
            <a:r>
              <a:rPr lang="en-US" dirty="0">
                <a:latin typeface="Arial" panose="020B0604020202020204" pitchFamily="34" charset="0"/>
                <a:cs typeface="Arial" panose="020B0604020202020204" pitchFamily="34" charset="0"/>
              </a:rPr>
              <a:t> magna </a:t>
            </a:r>
            <a:r>
              <a:rPr lang="en-US" dirty="0" err="1">
                <a:latin typeface="Arial" panose="020B0604020202020204" pitchFamily="34" charset="0"/>
                <a:cs typeface="Arial" panose="020B0604020202020204" pitchFamily="34" charset="0"/>
              </a:rPr>
              <a:t>aliqua</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ncididun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u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bore</a:t>
            </a:r>
            <a:r>
              <a:rPr lang="en-US" dirty="0">
                <a:latin typeface="Arial" panose="020B0604020202020204" pitchFamily="34" charset="0"/>
                <a:cs typeface="Arial" panose="020B0604020202020204" pitchFamily="34" charset="0"/>
              </a:rPr>
              <a:t> et </a:t>
            </a:r>
            <a:r>
              <a:rPr lang="en-US" dirty="0" err="1">
                <a:latin typeface="Arial" panose="020B0604020202020204" pitchFamily="34" charset="0"/>
                <a:cs typeface="Arial" panose="020B0604020202020204" pitchFamily="34" charset="0"/>
              </a:rPr>
              <a:t>dolore</a:t>
            </a:r>
            <a:r>
              <a:rPr lang="en-US" dirty="0">
                <a:latin typeface="Arial" panose="020B0604020202020204" pitchFamily="34" charset="0"/>
                <a:cs typeface="Arial" panose="020B0604020202020204" pitchFamily="34" charset="0"/>
              </a:rPr>
              <a:t> magna </a:t>
            </a:r>
            <a:r>
              <a:rPr lang="en-US" dirty="0" err="1">
                <a:latin typeface="Arial" panose="020B0604020202020204" pitchFamily="34" charset="0"/>
                <a:cs typeface="Arial" panose="020B0604020202020204" pitchFamily="34" charset="0"/>
              </a:rPr>
              <a:t>aliqua</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ncididun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u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bore</a:t>
            </a:r>
            <a:r>
              <a:rPr lang="en-US" dirty="0">
                <a:latin typeface="Arial" panose="020B0604020202020204" pitchFamily="34" charset="0"/>
                <a:cs typeface="Arial" panose="020B0604020202020204" pitchFamily="34" charset="0"/>
              </a:rPr>
              <a:t> et </a:t>
            </a:r>
            <a:r>
              <a:rPr lang="en-US" dirty="0" err="1">
                <a:latin typeface="Arial" panose="020B0604020202020204" pitchFamily="34" charset="0"/>
                <a:cs typeface="Arial" panose="020B0604020202020204" pitchFamily="34" charset="0"/>
              </a:rPr>
              <a:t>dolore</a:t>
            </a:r>
            <a:r>
              <a:rPr lang="en-US" dirty="0">
                <a:latin typeface="Arial" panose="020B0604020202020204" pitchFamily="34" charset="0"/>
                <a:cs typeface="Arial" panose="020B0604020202020204" pitchFamily="34" charset="0"/>
              </a:rPr>
              <a:t> magna </a:t>
            </a:r>
            <a:r>
              <a:rPr lang="en-US" dirty="0" err="1">
                <a:latin typeface="Arial" panose="020B0604020202020204" pitchFamily="34" charset="0"/>
                <a:cs typeface="Arial" panose="020B0604020202020204" pitchFamily="34" charset="0"/>
              </a:rPr>
              <a:t>aliqua</a:t>
            </a:r>
            <a:r>
              <a:rPr lang="en-US" dirty="0">
                <a:latin typeface="Arial" panose="020B0604020202020204" pitchFamily="34" charset="0"/>
                <a:cs typeface="Arial" panose="020B0604020202020204" pitchFamily="34" charset="0"/>
              </a:rPr>
              <a:t>.</a:t>
            </a:r>
          </a:p>
        </p:txBody>
      </p:sp>
      <p:sp>
        <p:nvSpPr>
          <p:cNvPr id="6" name="Slide Number Placeholder 2">
            <a:extLst>
              <a:ext uri="{FF2B5EF4-FFF2-40B4-BE49-F238E27FC236}">
                <a16:creationId xmlns:a16="http://schemas.microsoft.com/office/drawing/2014/main" id="{C3ED9302-61F2-49A3-BABA-137B0B6F75DD}"/>
              </a:ext>
            </a:extLst>
          </p:cNvPr>
          <p:cNvSpPr>
            <a:spLocks noGrp="1"/>
          </p:cNvSpPr>
          <p:nvPr>
            <p:ph type="sldNum" sz="quarter" idx="10"/>
          </p:nvPr>
        </p:nvSpPr>
        <p:spPr>
          <a:xfrm>
            <a:off x="11676063" y="6322523"/>
            <a:ext cx="445028" cy="322706"/>
          </a:xfrm>
        </p:spPr>
        <p:txBody>
          <a:bodyPr/>
          <a:lstStyle/>
          <a:p>
            <a:fld id="{D4E6D71C-ACD7-49D2-9689-F9C4024FAC38}" type="slidenum">
              <a:rPr lang="en-US" smtClean="0"/>
              <a:t>‹#›</a:t>
            </a:fld>
            <a:endParaRPr lang="en-US" dirty="0"/>
          </a:p>
        </p:txBody>
      </p:sp>
      <p:pic>
        <p:nvPicPr>
          <p:cNvPr id="7" name="Picture 6">
            <a:extLst>
              <a:ext uri="{FF2B5EF4-FFF2-40B4-BE49-F238E27FC236}">
                <a16:creationId xmlns:a16="http://schemas.microsoft.com/office/drawing/2014/main" id="{E186AC7B-A771-4DF3-8E52-220F77A7A63C}"/>
              </a:ext>
            </a:extLst>
          </p:cNvPr>
          <p:cNvPicPr/>
          <p:nvPr userDrawn="1"/>
        </p:nvPicPr>
        <p:blipFill>
          <a:blip r:embed="rId2"/>
          <a:stretch>
            <a:fillRect/>
          </a:stretch>
        </p:blipFill>
        <p:spPr>
          <a:xfrm>
            <a:off x="10187649" y="6337275"/>
            <a:ext cx="1488414" cy="399548"/>
          </a:xfrm>
          <a:prstGeom prst="rect">
            <a:avLst/>
          </a:prstGeom>
        </p:spPr>
      </p:pic>
    </p:spTree>
    <p:extLst>
      <p:ext uri="{BB962C8B-B14F-4D97-AF65-F5344CB8AC3E}">
        <p14:creationId xmlns:p14="http://schemas.microsoft.com/office/powerpoint/2010/main" val="40691511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 argum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6320" y="291352"/>
            <a:ext cx="10693400" cy="962025"/>
          </a:xfrm>
        </p:spPr>
        <p:txBody>
          <a:bodyPr/>
          <a:lstStyle>
            <a:lvl1pPr>
              <a:defRPr sz="4000">
                <a:latin typeface="Century Gothic" panose="020B0502020202020204" pitchFamily="34" charset="0"/>
              </a:defRPr>
            </a:lvl1pPr>
          </a:lstStyle>
          <a:p>
            <a:r>
              <a:rPr lang="en-US" dirty="0"/>
              <a:t>INSERT TITLE HERE</a:t>
            </a:r>
          </a:p>
        </p:txBody>
      </p:sp>
      <p:sp>
        <p:nvSpPr>
          <p:cNvPr id="3" name="Slide Number Placeholder 2"/>
          <p:cNvSpPr>
            <a:spLocks noGrp="1"/>
          </p:cNvSpPr>
          <p:nvPr>
            <p:ph type="sldNum" sz="quarter" idx="10"/>
          </p:nvPr>
        </p:nvSpPr>
        <p:spPr/>
        <p:txBody>
          <a:bodyPr/>
          <a:lstStyle/>
          <a:p>
            <a:fld id="{D4E6D71C-ACD7-49D2-9689-F9C4024FAC38}" type="slidenum">
              <a:rPr lang="en-US" smtClean="0"/>
              <a:pPr/>
              <a:t>‹#›</a:t>
            </a:fld>
            <a:endParaRPr lang="en-US" dirty="0"/>
          </a:p>
        </p:txBody>
      </p:sp>
      <p:sp>
        <p:nvSpPr>
          <p:cNvPr id="10" name="Content Placeholder 5"/>
          <p:cNvSpPr>
            <a:spLocks noGrp="1"/>
          </p:cNvSpPr>
          <p:nvPr>
            <p:ph sz="quarter" idx="22" hasCustomPrompt="1"/>
          </p:nvPr>
        </p:nvSpPr>
        <p:spPr>
          <a:xfrm>
            <a:off x="1504950" y="1497880"/>
            <a:ext cx="10171112" cy="805070"/>
          </a:xfrm>
        </p:spPr>
        <p:txBody>
          <a:bodyPr>
            <a:noAutofit/>
          </a:bodyPr>
          <a:lstStyle>
            <a:lvl1pPr marL="0" indent="0">
              <a:buNone/>
              <a:defRPr sz="1800" b="0">
                <a:solidFill>
                  <a:schemeClr val="tx1"/>
                </a:solidFill>
              </a:defRPr>
            </a:lvl1pPr>
          </a:lstStyle>
          <a:p>
            <a:r>
              <a:rPr lang="en-US" b="1" dirty="0">
                <a:latin typeface="Arial" panose="020B0604020202020204" pitchFamily="34" charset="0"/>
                <a:cs typeface="Arial" panose="020B0604020202020204" pitchFamily="34" charset="0"/>
              </a:rPr>
              <a:t>Lorem ipsum </a:t>
            </a:r>
            <a:r>
              <a:rPr lang="en-US" dirty="0">
                <a:latin typeface="Arial" panose="020B0604020202020204" pitchFamily="34" charset="0"/>
                <a:cs typeface="Arial" panose="020B0604020202020204" pitchFamily="34" charset="0"/>
              </a:rPr>
              <a:t>dolor sit </a:t>
            </a:r>
            <a:r>
              <a:rPr lang="en-US" dirty="0" err="1">
                <a:latin typeface="Arial" panose="020B0604020202020204" pitchFamily="34" charset="0"/>
                <a:cs typeface="Arial" panose="020B0604020202020204" pitchFamily="34" charset="0"/>
              </a:rPr>
              <a:t>ame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onsectetur</a:t>
            </a:r>
            <a:r>
              <a:rPr lang="en-US"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adipiscing</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li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ed</a:t>
            </a:r>
            <a:r>
              <a:rPr lang="en-US" dirty="0">
                <a:latin typeface="Arial" panose="020B0604020202020204" pitchFamily="34" charset="0"/>
                <a:cs typeface="Arial" panose="020B0604020202020204" pitchFamily="34" charset="0"/>
              </a:rPr>
              <a:t> do </a:t>
            </a:r>
            <a:r>
              <a:rPr lang="en-US" dirty="0" err="1">
                <a:latin typeface="Arial" panose="020B0604020202020204" pitchFamily="34" charset="0"/>
                <a:cs typeface="Arial" panose="020B0604020202020204" pitchFamily="34" charset="0"/>
              </a:rPr>
              <a:t>eiusmod</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empo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ncididun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u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bore</a:t>
            </a:r>
            <a:r>
              <a:rPr lang="en-US" dirty="0">
                <a:latin typeface="Arial" panose="020B0604020202020204" pitchFamily="34" charset="0"/>
                <a:cs typeface="Arial" panose="020B0604020202020204" pitchFamily="34" charset="0"/>
              </a:rPr>
              <a:t> et </a:t>
            </a:r>
            <a:r>
              <a:rPr lang="en-US" dirty="0" err="1">
                <a:latin typeface="Arial" panose="020B0604020202020204" pitchFamily="34" charset="0"/>
                <a:cs typeface="Arial" panose="020B0604020202020204" pitchFamily="34" charset="0"/>
              </a:rPr>
              <a:t>dolore</a:t>
            </a:r>
            <a:r>
              <a:rPr lang="en-US" dirty="0">
                <a:latin typeface="Arial" panose="020B0604020202020204" pitchFamily="34" charset="0"/>
                <a:cs typeface="Arial" panose="020B0604020202020204" pitchFamily="34" charset="0"/>
              </a:rPr>
              <a:t> magna </a:t>
            </a:r>
            <a:r>
              <a:rPr lang="en-US" dirty="0" err="1">
                <a:latin typeface="Arial" panose="020B0604020202020204" pitchFamily="34" charset="0"/>
                <a:cs typeface="Arial" panose="020B0604020202020204" pitchFamily="34" charset="0"/>
              </a:rPr>
              <a:t>aliqua</a:t>
            </a:r>
            <a:r>
              <a:rPr lang="en-US" dirty="0">
                <a:latin typeface="Arial" panose="020B0604020202020204" pitchFamily="34" charset="0"/>
                <a:cs typeface="Arial" panose="020B0604020202020204" pitchFamily="34" charset="0"/>
              </a:rPr>
              <a:t>. </a:t>
            </a:r>
          </a:p>
        </p:txBody>
      </p:sp>
      <p:sp>
        <p:nvSpPr>
          <p:cNvPr id="11" name="Content Placeholder 5"/>
          <p:cNvSpPr>
            <a:spLocks noGrp="1"/>
          </p:cNvSpPr>
          <p:nvPr>
            <p:ph sz="quarter" idx="23" hasCustomPrompt="1"/>
          </p:nvPr>
        </p:nvSpPr>
        <p:spPr>
          <a:xfrm>
            <a:off x="3113909" y="4157591"/>
            <a:ext cx="8562153" cy="805070"/>
          </a:xfrm>
        </p:spPr>
        <p:txBody>
          <a:bodyPr>
            <a:noAutofit/>
          </a:bodyPr>
          <a:lstStyle>
            <a:lvl1pPr marL="0" indent="0">
              <a:buNone/>
              <a:defRPr sz="1800" b="0">
                <a:solidFill>
                  <a:schemeClr val="tx1"/>
                </a:solidFill>
              </a:defRPr>
            </a:lvl1pPr>
          </a:lstStyle>
          <a:p>
            <a:r>
              <a:rPr lang="en-US" b="1" dirty="0">
                <a:latin typeface="Arial" panose="020B0604020202020204" pitchFamily="34" charset="0"/>
                <a:cs typeface="Arial" panose="020B0604020202020204" pitchFamily="34" charset="0"/>
              </a:rPr>
              <a:t>Lorem ipsum </a:t>
            </a:r>
            <a:r>
              <a:rPr lang="en-US" dirty="0">
                <a:latin typeface="Arial" panose="020B0604020202020204" pitchFamily="34" charset="0"/>
                <a:cs typeface="Arial" panose="020B0604020202020204" pitchFamily="34" charset="0"/>
              </a:rPr>
              <a:t>dolor sit </a:t>
            </a:r>
            <a:r>
              <a:rPr lang="en-US" dirty="0" err="1">
                <a:latin typeface="Arial" panose="020B0604020202020204" pitchFamily="34" charset="0"/>
                <a:cs typeface="Arial" panose="020B0604020202020204" pitchFamily="34" charset="0"/>
              </a:rPr>
              <a:t>ame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onsectetur</a:t>
            </a:r>
            <a:r>
              <a:rPr lang="en-US"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adipiscing</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li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ed</a:t>
            </a:r>
            <a:r>
              <a:rPr lang="en-US" dirty="0">
                <a:latin typeface="Arial" panose="020B0604020202020204" pitchFamily="34" charset="0"/>
                <a:cs typeface="Arial" panose="020B0604020202020204" pitchFamily="34" charset="0"/>
              </a:rPr>
              <a:t> do </a:t>
            </a:r>
            <a:r>
              <a:rPr lang="en-US" dirty="0" err="1">
                <a:latin typeface="Arial" panose="020B0604020202020204" pitchFamily="34" charset="0"/>
                <a:cs typeface="Arial" panose="020B0604020202020204" pitchFamily="34" charset="0"/>
              </a:rPr>
              <a:t>eiusmod</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empo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ncididun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u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bore</a:t>
            </a:r>
            <a:r>
              <a:rPr lang="en-US" dirty="0">
                <a:latin typeface="Arial" panose="020B0604020202020204" pitchFamily="34" charset="0"/>
                <a:cs typeface="Arial" panose="020B0604020202020204" pitchFamily="34" charset="0"/>
              </a:rPr>
              <a:t> et </a:t>
            </a:r>
            <a:r>
              <a:rPr lang="en-US" dirty="0" err="1">
                <a:latin typeface="Arial" panose="020B0604020202020204" pitchFamily="34" charset="0"/>
                <a:cs typeface="Arial" panose="020B0604020202020204" pitchFamily="34" charset="0"/>
              </a:rPr>
              <a:t>dolore</a:t>
            </a:r>
            <a:r>
              <a:rPr lang="en-US" dirty="0">
                <a:latin typeface="Arial" panose="020B0604020202020204" pitchFamily="34" charset="0"/>
                <a:cs typeface="Arial" panose="020B0604020202020204" pitchFamily="34" charset="0"/>
              </a:rPr>
              <a:t> magna </a:t>
            </a:r>
            <a:r>
              <a:rPr lang="en-US" dirty="0" err="1">
                <a:latin typeface="Arial" panose="020B0604020202020204" pitchFamily="34" charset="0"/>
                <a:cs typeface="Arial" panose="020B0604020202020204" pitchFamily="34" charset="0"/>
              </a:rPr>
              <a:t>aliqua</a:t>
            </a:r>
            <a:r>
              <a:rPr lang="en-US" dirty="0">
                <a:latin typeface="Arial" panose="020B0604020202020204" pitchFamily="34" charset="0"/>
                <a:cs typeface="Arial" panose="020B0604020202020204" pitchFamily="34" charset="0"/>
              </a:rPr>
              <a:t>. </a:t>
            </a:r>
          </a:p>
        </p:txBody>
      </p:sp>
      <p:sp>
        <p:nvSpPr>
          <p:cNvPr id="12" name="Content Placeholder 5"/>
          <p:cNvSpPr>
            <a:spLocks noGrp="1"/>
          </p:cNvSpPr>
          <p:nvPr>
            <p:ph sz="quarter" idx="24" hasCustomPrompt="1"/>
          </p:nvPr>
        </p:nvSpPr>
        <p:spPr>
          <a:xfrm>
            <a:off x="2289921" y="2813213"/>
            <a:ext cx="9386141" cy="805070"/>
          </a:xfrm>
        </p:spPr>
        <p:txBody>
          <a:bodyPr>
            <a:noAutofit/>
          </a:bodyPr>
          <a:lstStyle>
            <a:lvl1pPr marL="0" indent="0">
              <a:buNone/>
              <a:defRPr sz="1800" b="0">
                <a:solidFill>
                  <a:schemeClr val="tx1"/>
                </a:solidFill>
              </a:defRPr>
            </a:lvl1pPr>
          </a:lstStyle>
          <a:p>
            <a:r>
              <a:rPr lang="en-US" b="1" dirty="0">
                <a:latin typeface="Arial" panose="020B0604020202020204" pitchFamily="34" charset="0"/>
                <a:cs typeface="Arial" panose="020B0604020202020204" pitchFamily="34" charset="0"/>
              </a:rPr>
              <a:t>Lorem ipsum </a:t>
            </a:r>
            <a:r>
              <a:rPr lang="en-US" dirty="0">
                <a:latin typeface="Arial" panose="020B0604020202020204" pitchFamily="34" charset="0"/>
                <a:cs typeface="Arial" panose="020B0604020202020204" pitchFamily="34" charset="0"/>
              </a:rPr>
              <a:t>dolor sit </a:t>
            </a:r>
            <a:r>
              <a:rPr lang="en-US" dirty="0" err="1">
                <a:latin typeface="Arial" panose="020B0604020202020204" pitchFamily="34" charset="0"/>
                <a:cs typeface="Arial" panose="020B0604020202020204" pitchFamily="34" charset="0"/>
              </a:rPr>
              <a:t>ame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onsectetur</a:t>
            </a:r>
            <a:r>
              <a:rPr lang="en-US"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adipiscing</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li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ed</a:t>
            </a:r>
            <a:r>
              <a:rPr lang="en-US" dirty="0">
                <a:latin typeface="Arial" panose="020B0604020202020204" pitchFamily="34" charset="0"/>
                <a:cs typeface="Arial" panose="020B0604020202020204" pitchFamily="34" charset="0"/>
              </a:rPr>
              <a:t> do </a:t>
            </a:r>
            <a:r>
              <a:rPr lang="en-US" dirty="0" err="1">
                <a:latin typeface="Arial" panose="020B0604020202020204" pitchFamily="34" charset="0"/>
                <a:cs typeface="Arial" panose="020B0604020202020204" pitchFamily="34" charset="0"/>
              </a:rPr>
              <a:t>eiusmod</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empo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ncididun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u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bore</a:t>
            </a:r>
            <a:r>
              <a:rPr lang="en-US" dirty="0">
                <a:latin typeface="Arial" panose="020B0604020202020204" pitchFamily="34" charset="0"/>
                <a:cs typeface="Arial" panose="020B0604020202020204" pitchFamily="34" charset="0"/>
              </a:rPr>
              <a:t> et </a:t>
            </a:r>
            <a:r>
              <a:rPr lang="en-US" dirty="0" err="1">
                <a:latin typeface="Arial" panose="020B0604020202020204" pitchFamily="34" charset="0"/>
                <a:cs typeface="Arial" panose="020B0604020202020204" pitchFamily="34" charset="0"/>
              </a:rPr>
              <a:t>dolore</a:t>
            </a:r>
            <a:r>
              <a:rPr lang="en-US" dirty="0">
                <a:latin typeface="Arial" panose="020B0604020202020204" pitchFamily="34" charset="0"/>
                <a:cs typeface="Arial" panose="020B0604020202020204" pitchFamily="34" charset="0"/>
              </a:rPr>
              <a:t> magna </a:t>
            </a:r>
            <a:r>
              <a:rPr lang="en-US" dirty="0" err="1">
                <a:latin typeface="Arial" panose="020B0604020202020204" pitchFamily="34" charset="0"/>
                <a:cs typeface="Arial" panose="020B0604020202020204" pitchFamily="34" charset="0"/>
              </a:rPr>
              <a:t>aliqua</a:t>
            </a:r>
            <a:r>
              <a:rPr lang="en-US" dirty="0">
                <a:latin typeface="Arial" panose="020B0604020202020204" pitchFamily="34" charset="0"/>
                <a:cs typeface="Arial" panose="020B0604020202020204" pitchFamily="34" charset="0"/>
              </a:rPr>
              <a:t>. </a:t>
            </a:r>
          </a:p>
        </p:txBody>
      </p:sp>
      <p:sp>
        <p:nvSpPr>
          <p:cNvPr id="13" name="Content Placeholder 5"/>
          <p:cNvSpPr>
            <a:spLocks noGrp="1"/>
          </p:cNvSpPr>
          <p:nvPr>
            <p:ph sz="quarter" idx="25" hasCustomPrompt="1"/>
          </p:nvPr>
        </p:nvSpPr>
        <p:spPr>
          <a:xfrm>
            <a:off x="3936824" y="5501969"/>
            <a:ext cx="7739240" cy="805070"/>
          </a:xfrm>
        </p:spPr>
        <p:txBody>
          <a:bodyPr>
            <a:noAutofit/>
          </a:bodyPr>
          <a:lstStyle>
            <a:lvl1pPr marL="0" indent="0">
              <a:buNone/>
              <a:defRPr sz="1800" b="0">
                <a:solidFill>
                  <a:schemeClr val="tx1"/>
                </a:solidFill>
              </a:defRPr>
            </a:lvl1pPr>
          </a:lstStyle>
          <a:p>
            <a:r>
              <a:rPr lang="en-US" b="1" dirty="0">
                <a:latin typeface="Arial" panose="020B0604020202020204" pitchFamily="34" charset="0"/>
                <a:cs typeface="Arial" panose="020B0604020202020204" pitchFamily="34" charset="0"/>
              </a:rPr>
              <a:t>Lorem ipsum </a:t>
            </a:r>
            <a:r>
              <a:rPr lang="en-US" dirty="0">
                <a:latin typeface="Arial" panose="020B0604020202020204" pitchFamily="34" charset="0"/>
                <a:cs typeface="Arial" panose="020B0604020202020204" pitchFamily="34" charset="0"/>
              </a:rPr>
              <a:t>dolor sit </a:t>
            </a:r>
            <a:r>
              <a:rPr lang="en-US" dirty="0" err="1">
                <a:latin typeface="Arial" panose="020B0604020202020204" pitchFamily="34" charset="0"/>
                <a:cs typeface="Arial" panose="020B0604020202020204" pitchFamily="34" charset="0"/>
              </a:rPr>
              <a:t>ame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onsectetur</a:t>
            </a:r>
            <a:r>
              <a:rPr lang="en-US"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adipiscing</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eli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ed</a:t>
            </a:r>
            <a:r>
              <a:rPr lang="en-US" dirty="0">
                <a:latin typeface="Arial" panose="020B0604020202020204" pitchFamily="34" charset="0"/>
                <a:cs typeface="Arial" panose="020B0604020202020204" pitchFamily="34" charset="0"/>
              </a:rPr>
              <a:t> do </a:t>
            </a:r>
            <a:r>
              <a:rPr lang="en-US" dirty="0" err="1">
                <a:latin typeface="Arial" panose="020B0604020202020204" pitchFamily="34" charset="0"/>
                <a:cs typeface="Arial" panose="020B0604020202020204" pitchFamily="34" charset="0"/>
              </a:rPr>
              <a:t>eiusmod</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empor</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incididun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u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abore</a:t>
            </a:r>
            <a:r>
              <a:rPr lang="en-US" dirty="0">
                <a:latin typeface="Arial" panose="020B0604020202020204" pitchFamily="34" charset="0"/>
                <a:cs typeface="Arial" panose="020B0604020202020204" pitchFamily="34" charset="0"/>
              </a:rPr>
              <a:t> et </a:t>
            </a:r>
            <a:r>
              <a:rPr lang="en-US" dirty="0" err="1">
                <a:latin typeface="Arial" panose="020B0604020202020204" pitchFamily="34" charset="0"/>
                <a:cs typeface="Arial" panose="020B0604020202020204" pitchFamily="34" charset="0"/>
              </a:rPr>
              <a:t>dolore</a:t>
            </a:r>
            <a:r>
              <a:rPr lang="en-US" dirty="0">
                <a:latin typeface="Arial" panose="020B0604020202020204" pitchFamily="34" charset="0"/>
                <a:cs typeface="Arial" panose="020B0604020202020204" pitchFamily="34" charset="0"/>
              </a:rPr>
              <a:t> magna </a:t>
            </a:r>
            <a:r>
              <a:rPr lang="en-US" dirty="0" err="1">
                <a:latin typeface="Arial" panose="020B0604020202020204" pitchFamily="34" charset="0"/>
                <a:cs typeface="Arial" panose="020B0604020202020204" pitchFamily="34" charset="0"/>
              </a:rPr>
              <a:t>aliqua</a:t>
            </a:r>
            <a:r>
              <a:rPr lang="en-US" dirty="0">
                <a:latin typeface="Arial" panose="020B0604020202020204" pitchFamily="34" charset="0"/>
                <a:cs typeface="Arial" panose="020B0604020202020204" pitchFamily="34" charset="0"/>
              </a:rPr>
              <a:t>. </a:t>
            </a:r>
          </a:p>
        </p:txBody>
      </p:sp>
      <p:sp>
        <p:nvSpPr>
          <p:cNvPr id="23" name="Text Placeholder 8"/>
          <p:cNvSpPr>
            <a:spLocks noGrp="1"/>
          </p:cNvSpPr>
          <p:nvPr>
            <p:ph type="body" sz="quarter" idx="31" hasCustomPrompt="1"/>
          </p:nvPr>
        </p:nvSpPr>
        <p:spPr>
          <a:xfrm>
            <a:off x="1252538" y="2718283"/>
            <a:ext cx="900000" cy="900000"/>
          </a:xfrm>
          <a:prstGeom prst="ellipse">
            <a:avLst/>
          </a:prstGeom>
          <a:solidFill>
            <a:srgbClr val="397099"/>
          </a:solidFill>
        </p:spPr>
        <p:txBody>
          <a:bodyPr lIns="0" tIns="0" rIns="0" bIns="0" anchor="ctr" anchorCtr="1">
            <a:noAutofit/>
          </a:bodyPr>
          <a:lstStyle>
            <a:lvl1pPr marL="0" algn="ctr">
              <a:spcBef>
                <a:spcPts val="0"/>
              </a:spcBef>
              <a:defRPr sz="4800" b="1">
                <a:solidFill>
                  <a:schemeClr val="bg1"/>
                </a:solidFill>
                <a:latin typeface="+mn-lt"/>
              </a:defRPr>
            </a:lvl1pPr>
          </a:lstStyle>
          <a:p>
            <a:pPr lvl="0"/>
            <a:r>
              <a:rPr lang="en-US" dirty="0"/>
              <a:t>1</a:t>
            </a:r>
          </a:p>
        </p:txBody>
      </p:sp>
      <p:sp>
        <p:nvSpPr>
          <p:cNvPr id="24" name="Text Placeholder 8"/>
          <p:cNvSpPr>
            <a:spLocks noGrp="1"/>
          </p:cNvSpPr>
          <p:nvPr>
            <p:ph type="body" sz="quarter" idx="32" hasCustomPrompt="1"/>
          </p:nvPr>
        </p:nvSpPr>
        <p:spPr>
          <a:xfrm>
            <a:off x="2183224" y="4062661"/>
            <a:ext cx="900000" cy="900000"/>
          </a:xfrm>
          <a:prstGeom prst="ellipse">
            <a:avLst/>
          </a:prstGeom>
          <a:solidFill>
            <a:srgbClr val="397099"/>
          </a:solidFill>
        </p:spPr>
        <p:txBody>
          <a:bodyPr lIns="0" tIns="0" rIns="0" bIns="0" anchor="ctr" anchorCtr="1">
            <a:noAutofit/>
          </a:bodyPr>
          <a:lstStyle>
            <a:lvl1pPr marL="0" algn="ctr">
              <a:spcBef>
                <a:spcPts val="0"/>
              </a:spcBef>
              <a:defRPr sz="4800" b="1">
                <a:solidFill>
                  <a:schemeClr val="bg1"/>
                </a:solidFill>
                <a:latin typeface="+mn-lt"/>
              </a:defRPr>
            </a:lvl1pPr>
          </a:lstStyle>
          <a:p>
            <a:pPr lvl="0"/>
            <a:r>
              <a:rPr lang="en-US" dirty="0"/>
              <a:t>1</a:t>
            </a:r>
          </a:p>
        </p:txBody>
      </p:sp>
      <p:sp>
        <p:nvSpPr>
          <p:cNvPr id="25" name="Text Placeholder 8"/>
          <p:cNvSpPr>
            <a:spLocks noGrp="1"/>
          </p:cNvSpPr>
          <p:nvPr>
            <p:ph type="body" sz="quarter" idx="33" hasCustomPrompt="1"/>
          </p:nvPr>
        </p:nvSpPr>
        <p:spPr>
          <a:xfrm>
            <a:off x="2914538" y="5422523"/>
            <a:ext cx="900000" cy="900000"/>
          </a:xfrm>
          <a:prstGeom prst="ellipse">
            <a:avLst/>
          </a:prstGeom>
          <a:solidFill>
            <a:srgbClr val="397099"/>
          </a:solidFill>
        </p:spPr>
        <p:txBody>
          <a:bodyPr lIns="0" tIns="0" rIns="0" bIns="0" anchor="ctr" anchorCtr="1">
            <a:noAutofit/>
          </a:bodyPr>
          <a:lstStyle>
            <a:lvl1pPr marL="0" algn="ctr">
              <a:spcBef>
                <a:spcPts val="0"/>
              </a:spcBef>
              <a:defRPr sz="4800" b="1">
                <a:solidFill>
                  <a:schemeClr val="bg1"/>
                </a:solidFill>
                <a:latin typeface="+mn-lt"/>
              </a:defRPr>
            </a:lvl1pPr>
          </a:lstStyle>
          <a:p>
            <a:pPr lvl="0"/>
            <a:r>
              <a:rPr lang="en-US" dirty="0"/>
              <a:t>1</a:t>
            </a:r>
          </a:p>
        </p:txBody>
      </p:sp>
      <p:sp>
        <p:nvSpPr>
          <p:cNvPr id="26" name="Text Placeholder 8"/>
          <p:cNvSpPr>
            <a:spLocks noGrp="1"/>
          </p:cNvSpPr>
          <p:nvPr>
            <p:ph type="body" sz="quarter" idx="30" hasCustomPrompt="1"/>
          </p:nvPr>
        </p:nvSpPr>
        <p:spPr>
          <a:xfrm>
            <a:off x="465138" y="1373905"/>
            <a:ext cx="900000" cy="900000"/>
          </a:xfrm>
          <a:prstGeom prst="ellipse">
            <a:avLst/>
          </a:prstGeom>
          <a:solidFill>
            <a:srgbClr val="397099"/>
          </a:solidFill>
        </p:spPr>
        <p:txBody>
          <a:bodyPr lIns="0" tIns="0" rIns="0" bIns="0" anchor="ctr" anchorCtr="1">
            <a:noAutofit/>
          </a:bodyPr>
          <a:lstStyle>
            <a:lvl1pPr marL="0" algn="ctr">
              <a:spcBef>
                <a:spcPts val="0"/>
              </a:spcBef>
              <a:defRPr sz="4800" b="1">
                <a:solidFill>
                  <a:schemeClr val="bg1"/>
                </a:solidFill>
                <a:latin typeface="+mn-lt"/>
              </a:defRPr>
            </a:lvl1pPr>
          </a:lstStyle>
          <a:p>
            <a:pPr lvl="0"/>
            <a:r>
              <a:rPr lang="en-US" dirty="0"/>
              <a:t>1</a:t>
            </a:r>
          </a:p>
        </p:txBody>
      </p:sp>
      <p:pic>
        <p:nvPicPr>
          <p:cNvPr id="14" name="Picture 13">
            <a:extLst>
              <a:ext uri="{FF2B5EF4-FFF2-40B4-BE49-F238E27FC236}">
                <a16:creationId xmlns:a16="http://schemas.microsoft.com/office/drawing/2014/main" id="{DFC9BBCC-0788-4A01-B844-7BE96C05926E}"/>
              </a:ext>
            </a:extLst>
          </p:cNvPr>
          <p:cNvPicPr/>
          <p:nvPr userDrawn="1"/>
        </p:nvPicPr>
        <p:blipFill>
          <a:blip r:embed="rId2"/>
          <a:stretch>
            <a:fillRect/>
          </a:stretch>
        </p:blipFill>
        <p:spPr>
          <a:xfrm>
            <a:off x="10187649" y="6337275"/>
            <a:ext cx="1488414" cy="399548"/>
          </a:xfrm>
          <a:prstGeom prst="rect">
            <a:avLst/>
          </a:prstGeom>
        </p:spPr>
      </p:pic>
    </p:spTree>
    <p:extLst>
      <p:ext uri="{BB962C8B-B14F-4D97-AF65-F5344CB8AC3E}">
        <p14:creationId xmlns:p14="http://schemas.microsoft.com/office/powerpoint/2010/main" val="40442740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5370" y="287518"/>
            <a:ext cx="10693400" cy="962025"/>
          </a:xfrm>
        </p:spPr>
        <p:txBody>
          <a:bodyPr/>
          <a:lstStyle>
            <a:lvl1pPr>
              <a:defRPr sz="4000">
                <a:latin typeface="Century Gothic" panose="020B0502020202020204"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4E6D71C-ACD7-49D2-9689-F9C4024FAC38}" type="slidenum">
              <a:rPr lang="en-US" smtClean="0"/>
              <a:pPr/>
              <a:t>‹#›</a:t>
            </a:fld>
            <a:endParaRPr lang="en-US" dirty="0"/>
          </a:p>
        </p:txBody>
      </p:sp>
      <p:sp>
        <p:nvSpPr>
          <p:cNvPr id="28" name="Content Placeholder 4"/>
          <p:cNvSpPr>
            <a:spLocks noGrp="1"/>
          </p:cNvSpPr>
          <p:nvPr>
            <p:ph sz="quarter" idx="12" hasCustomPrompt="1"/>
          </p:nvPr>
        </p:nvSpPr>
        <p:spPr>
          <a:xfrm>
            <a:off x="515936" y="1727983"/>
            <a:ext cx="4412870" cy="939525"/>
          </a:xfrm>
          <a:custGeom>
            <a:avLst/>
            <a:gdLst>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0 w 2809455"/>
              <a:gd name="connsiteY5" fmla="*/ 0 h 1439862"/>
              <a:gd name="connsiteX0" fmla="*/ 353064 w 3162519"/>
              <a:gd name="connsiteY0" fmla="*/ 0 h 1439862"/>
              <a:gd name="connsiteX1" fmla="*/ 2937886 w 3162519"/>
              <a:gd name="connsiteY1" fmla="*/ 0 h 1439862"/>
              <a:gd name="connsiteX2" fmla="*/ 3162519 w 3162519"/>
              <a:gd name="connsiteY2" fmla="*/ 719931 h 1439862"/>
              <a:gd name="connsiteX3" fmla="*/ 2937886 w 3162519"/>
              <a:gd name="connsiteY3" fmla="*/ 1439862 h 1439862"/>
              <a:gd name="connsiteX4" fmla="*/ 353064 w 3162519"/>
              <a:gd name="connsiteY4" fmla="*/ 1439862 h 1439862"/>
              <a:gd name="connsiteX5" fmla="*/ 1 w 3162519"/>
              <a:gd name="connsiteY5" fmla="*/ 734578 h 1439862"/>
              <a:gd name="connsiteX6" fmla="*/ 353064 w 3162519"/>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67637 w 2809455"/>
              <a:gd name="connsiteY5" fmla="*/ 6329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42237 w 2809455"/>
              <a:gd name="connsiteY5" fmla="*/ 9631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93037 w 2809455"/>
              <a:gd name="connsiteY5" fmla="*/ 7218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83537 w 2809455"/>
              <a:gd name="connsiteY5" fmla="*/ 6583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0 w 2809455"/>
              <a:gd name="connsiteY0" fmla="*/ 0 h 1439862"/>
              <a:gd name="connsiteX1" fmla="*/ 2658391 w 2809455"/>
              <a:gd name="connsiteY1" fmla="*/ 7699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0 w 2809455"/>
              <a:gd name="connsiteY0" fmla="*/ 0 h 1439862"/>
              <a:gd name="connsiteX1" fmla="*/ 2658391 w 2809455"/>
              <a:gd name="connsiteY1" fmla="*/ 7699 h 1439862"/>
              <a:gd name="connsiteX2" fmla="*/ 2809455 w 2809455"/>
              <a:gd name="connsiteY2" fmla="*/ 719931 h 1439862"/>
              <a:gd name="connsiteX3" fmla="*/ 2655191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332098 w 3141553"/>
              <a:gd name="connsiteY0" fmla="*/ 0 h 1439862"/>
              <a:gd name="connsiteX1" fmla="*/ 2990489 w 3141553"/>
              <a:gd name="connsiteY1" fmla="*/ 7699 h 1439862"/>
              <a:gd name="connsiteX2" fmla="*/ 3141553 w 3141553"/>
              <a:gd name="connsiteY2" fmla="*/ 719931 h 1439862"/>
              <a:gd name="connsiteX3" fmla="*/ 2987289 w 3141553"/>
              <a:gd name="connsiteY3" fmla="*/ 1439862 h 1439862"/>
              <a:gd name="connsiteX4" fmla="*/ 332098 w 3141553"/>
              <a:gd name="connsiteY4" fmla="*/ 1439862 h 1439862"/>
              <a:gd name="connsiteX5" fmla="*/ 332098 w 3141553"/>
              <a:gd name="connsiteY5" fmla="*/ 0 h 1439862"/>
              <a:gd name="connsiteX0" fmla="*/ 355040 w 3164495"/>
              <a:gd name="connsiteY0" fmla="*/ 2 h 1439864"/>
              <a:gd name="connsiteX1" fmla="*/ 3013431 w 3164495"/>
              <a:gd name="connsiteY1" fmla="*/ 7701 h 1439864"/>
              <a:gd name="connsiteX2" fmla="*/ 3164495 w 3164495"/>
              <a:gd name="connsiteY2" fmla="*/ 719933 h 1439864"/>
              <a:gd name="connsiteX3" fmla="*/ 3010231 w 3164495"/>
              <a:gd name="connsiteY3" fmla="*/ 1439864 h 1439864"/>
              <a:gd name="connsiteX4" fmla="*/ 355040 w 3164495"/>
              <a:gd name="connsiteY4" fmla="*/ 1439864 h 1439864"/>
              <a:gd name="connsiteX5" fmla="*/ 355040 w 3164495"/>
              <a:gd name="connsiteY5" fmla="*/ 2 h 1439864"/>
              <a:gd name="connsiteX0" fmla="*/ 222507 w 3031962"/>
              <a:gd name="connsiteY0" fmla="*/ 2 h 1439864"/>
              <a:gd name="connsiteX1" fmla="*/ 2880898 w 3031962"/>
              <a:gd name="connsiteY1" fmla="*/ 7701 h 1439864"/>
              <a:gd name="connsiteX2" fmla="*/ 3031962 w 3031962"/>
              <a:gd name="connsiteY2" fmla="*/ 719933 h 1439864"/>
              <a:gd name="connsiteX3" fmla="*/ 2877698 w 3031962"/>
              <a:gd name="connsiteY3" fmla="*/ 1439864 h 1439864"/>
              <a:gd name="connsiteX4" fmla="*/ 222507 w 3031962"/>
              <a:gd name="connsiteY4" fmla="*/ 1439864 h 1439864"/>
              <a:gd name="connsiteX5" fmla="*/ 222507 w 3031962"/>
              <a:gd name="connsiteY5" fmla="*/ 2 h 1439864"/>
              <a:gd name="connsiteX0" fmla="*/ 0 w 2809455"/>
              <a:gd name="connsiteY0" fmla="*/ 0 h 1439862"/>
              <a:gd name="connsiteX1" fmla="*/ 2658391 w 2809455"/>
              <a:gd name="connsiteY1" fmla="*/ 7699 h 1439862"/>
              <a:gd name="connsiteX2" fmla="*/ 2809455 w 2809455"/>
              <a:gd name="connsiteY2" fmla="*/ 719931 h 1439862"/>
              <a:gd name="connsiteX3" fmla="*/ 2655191 w 2809455"/>
              <a:gd name="connsiteY3" fmla="*/ 1439862 h 1439862"/>
              <a:gd name="connsiteX4" fmla="*/ 0 w 2809455"/>
              <a:gd name="connsiteY4" fmla="*/ 1439862 h 1439862"/>
              <a:gd name="connsiteX5" fmla="*/ 0 w 2809455"/>
              <a:gd name="connsiteY5" fmla="*/ 0 h 143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9455" h="1439862">
                <a:moveTo>
                  <a:pt x="0" y="0"/>
                </a:moveTo>
                <a:lnTo>
                  <a:pt x="2658391" y="7699"/>
                </a:lnTo>
                <a:lnTo>
                  <a:pt x="2809455" y="719931"/>
                </a:lnTo>
                <a:lnTo>
                  <a:pt x="2655191" y="1439862"/>
                </a:lnTo>
                <a:lnTo>
                  <a:pt x="0" y="1439862"/>
                </a:lnTo>
                <a:cubicBezTo>
                  <a:pt x="5278" y="884196"/>
                  <a:pt x="5315" y="576027"/>
                  <a:pt x="0" y="0"/>
                </a:cubicBezTo>
                <a:close/>
              </a:path>
            </a:pathLst>
          </a:custGeom>
          <a:solidFill>
            <a:srgbClr val="23618E"/>
          </a:solidFill>
        </p:spPr>
        <p:txBody>
          <a:bodyPr lIns="360000" rIns="360000" anchor="ctr" anchorCtr="1">
            <a:noAutofit/>
          </a:bodyPr>
          <a:lstStyle>
            <a:lvl1pPr algn="ctr">
              <a:defRPr b="1">
                <a:solidFill>
                  <a:schemeClr val="bg1"/>
                </a:solidFill>
                <a:latin typeface="+mj-lt"/>
              </a:defRPr>
            </a:lvl1pPr>
          </a:lstStyle>
          <a:p>
            <a:pPr lvl="0"/>
            <a:r>
              <a:rPr lang="en-US" dirty="0"/>
              <a:t>ITEM</a:t>
            </a:r>
          </a:p>
        </p:txBody>
      </p:sp>
      <p:sp>
        <p:nvSpPr>
          <p:cNvPr id="29" name="Content Placeholder 4"/>
          <p:cNvSpPr>
            <a:spLocks noGrp="1"/>
          </p:cNvSpPr>
          <p:nvPr>
            <p:ph sz="quarter" idx="11" hasCustomPrompt="1"/>
          </p:nvPr>
        </p:nvSpPr>
        <p:spPr>
          <a:xfrm>
            <a:off x="4843081" y="1722442"/>
            <a:ext cx="6832982" cy="950608"/>
          </a:xfrm>
          <a:custGeom>
            <a:avLst/>
            <a:gdLst>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0 w 2809455"/>
              <a:gd name="connsiteY5" fmla="*/ 0 h 1439862"/>
              <a:gd name="connsiteX0" fmla="*/ 353064 w 3162519"/>
              <a:gd name="connsiteY0" fmla="*/ 0 h 1439862"/>
              <a:gd name="connsiteX1" fmla="*/ 2937886 w 3162519"/>
              <a:gd name="connsiteY1" fmla="*/ 0 h 1439862"/>
              <a:gd name="connsiteX2" fmla="*/ 3162519 w 3162519"/>
              <a:gd name="connsiteY2" fmla="*/ 719931 h 1439862"/>
              <a:gd name="connsiteX3" fmla="*/ 2937886 w 3162519"/>
              <a:gd name="connsiteY3" fmla="*/ 1439862 h 1439862"/>
              <a:gd name="connsiteX4" fmla="*/ 353064 w 3162519"/>
              <a:gd name="connsiteY4" fmla="*/ 1439862 h 1439862"/>
              <a:gd name="connsiteX5" fmla="*/ 1 w 3162519"/>
              <a:gd name="connsiteY5" fmla="*/ 734578 h 1439862"/>
              <a:gd name="connsiteX6" fmla="*/ 353064 w 3162519"/>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67637 w 2809455"/>
              <a:gd name="connsiteY5" fmla="*/ 6329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42237 w 2809455"/>
              <a:gd name="connsiteY5" fmla="*/ 9631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93037 w 2809455"/>
              <a:gd name="connsiteY5" fmla="*/ 7218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83537 w 2809455"/>
              <a:gd name="connsiteY5" fmla="*/ 6583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0 w 2809455"/>
              <a:gd name="connsiteY0" fmla="*/ 8492 h 1448354"/>
              <a:gd name="connsiteX1" fmla="*/ 2707866 w 2809455"/>
              <a:gd name="connsiteY1" fmla="*/ 0 h 1448354"/>
              <a:gd name="connsiteX2" fmla="*/ 2809455 w 2809455"/>
              <a:gd name="connsiteY2" fmla="*/ 728423 h 1448354"/>
              <a:gd name="connsiteX3" fmla="*/ 2584822 w 2809455"/>
              <a:gd name="connsiteY3" fmla="*/ 1448354 h 1448354"/>
              <a:gd name="connsiteX4" fmla="*/ 0 w 2809455"/>
              <a:gd name="connsiteY4" fmla="*/ 1448354 h 1448354"/>
              <a:gd name="connsiteX5" fmla="*/ 252055 w 2809455"/>
              <a:gd name="connsiteY5" fmla="*/ 708705 h 1448354"/>
              <a:gd name="connsiteX6" fmla="*/ 0 w 2809455"/>
              <a:gd name="connsiteY6" fmla="*/ 8492 h 1448354"/>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252055 w 2809455"/>
              <a:gd name="connsiteY5" fmla="*/ 708705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9455" h="1456847">
                <a:moveTo>
                  <a:pt x="0" y="8492"/>
                </a:moveTo>
                <a:lnTo>
                  <a:pt x="2707866" y="0"/>
                </a:lnTo>
                <a:lnTo>
                  <a:pt x="2809455" y="728423"/>
                </a:lnTo>
                <a:lnTo>
                  <a:pt x="2707865" y="1456847"/>
                </a:lnTo>
                <a:lnTo>
                  <a:pt x="0" y="1448354"/>
                </a:lnTo>
                <a:cubicBezTo>
                  <a:pt x="58726" y="1036955"/>
                  <a:pt x="49188" y="1080453"/>
                  <a:pt x="103948" y="708704"/>
                </a:cubicBezTo>
                <a:cubicBezTo>
                  <a:pt x="53994" y="416070"/>
                  <a:pt x="31610" y="241896"/>
                  <a:pt x="0" y="8492"/>
                </a:cubicBezTo>
                <a:close/>
              </a:path>
            </a:pathLst>
          </a:custGeom>
          <a:solidFill>
            <a:srgbClr val="D68008"/>
          </a:solidFill>
        </p:spPr>
        <p:txBody>
          <a:bodyPr lIns="360000" rIns="360000" anchor="ctr" anchorCtr="1">
            <a:noAutofit/>
          </a:bodyPr>
          <a:lstStyle>
            <a:lvl1pPr algn="ctr">
              <a:defRPr b="1">
                <a:solidFill>
                  <a:schemeClr val="bg1"/>
                </a:solidFill>
                <a:latin typeface="+mj-lt"/>
              </a:defRPr>
            </a:lvl1pPr>
          </a:lstStyle>
          <a:p>
            <a:pPr lvl="0"/>
            <a:r>
              <a:rPr lang="en-US" dirty="0"/>
              <a:t>ITEM</a:t>
            </a:r>
          </a:p>
        </p:txBody>
      </p:sp>
      <p:sp>
        <p:nvSpPr>
          <p:cNvPr id="32" name="Content Placeholder 4"/>
          <p:cNvSpPr>
            <a:spLocks noGrp="1"/>
          </p:cNvSpPr>
          <p:nvPr>
            <p:ph sz="quarter" idx="13" hasCustomPrompt="1"/>
          </p:nvPr>
        </p:nvSpPr>
        <p:spPr>
          <a:xfrm>
            <a:off x="515936" y="2802515"/>
            <a:ext cx="4412870" cy="939525"/>
          </a:xfrm>
          <a:custGeom>
            <a:avLst/>
            <a:gdLst>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0 w 2809455"/>
              <a:gd name="connsiteY5" fmla="*/ 0 h 1439862"/>
              <a:gd name="connsiteX0" fmla="*/ 353064 w 3162519"/>
              <a:gd name="connsiteY0" fmla="*/ 0 h 1439862"/>
              <a:gd name="connsiteX1" fmla="*/ 2937886 w 3162519"/>
              <a:gd name="connsiteY1" fmla="*/ 0 h 1439862"/>
              <a:gd name="connsiteX2" fmla="*/ 3162519 w 3162519"/>
              <a:gd name="connsiteY2" fmla="*/ 719931 h 1439862"/>
              <a:gd name="connsiteX3" fmla="*/ 2937886 w 3162519"/>
              <a:gd name="connsiteY3" fmla="*/ 1439862 h 1439862"/>
              <a:gd name="connsiteX4" fmla="*/ 353064 w 3162519"/>
              <a:gd name="connsiteY4" fmla="*/ 1439862 h 1439862"/>
              <a:gd name="connsiteX5" fmla="*/ 1 w 3162519"/>
              <a:gd name="connsiteY5" fmla="*/ 734578 h 1439862"/>
              <a:gd name="connsiteX6" fmla="*/ 353064 w 3162519"/>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67637 w 2809455"/>
              <a:gd name="connsiteY5" fmla="*/ 6329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42237 w 2809455"/>
              <a:gd name="connsiteY5" fmla="*/ 9631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93037 w 2809455"/>
              <a:gd name="connsiteY5" fmla="*/ 7218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83537 w 2809455"/>
              <a:gd name="connsiteY5" fmla="*/ 6583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0 w 2809455"/>
              <a:gd name="connsiteY0" fmla="*/ 0 h 1439862"/>
              <a:gd name="connsiteX1" fmla="*/ 2658391 w 2809455"/>
              <a:gd name="connsiteY1" fmla="*/ 7699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0 w 2809455"/>
              <a:gd name="connsiteY0" fmla="*/ 0 h 1439862"/>
              <a:gd name="connsiteX1" fmla="*/ 2658391 w 2809455"/>
              <a:gd name="connsiteY1" fmla="*/ 7699 h 1439862"/>
              <a:gd name="connsiteX2" fmla="*/ 2809455 w 2809455"/>
              <a:gd name="connsiteY2" fmla="*/ 719931 h 1439862"/>
              <a:gd name="connsiteX3" fmla="*/ 2655191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332098 w 3141553"/>
              <a:gd name="connsiteY0" fmla="*/ 0 h 1439862"/>
              <a:gd name="connsiteX1" fmla="*/ 2990489 w 3141553"/>
              <a:gd name="connsiteY1" fmla="*/ 7699 h 1439862"/>
              <a:gd name="connsiteX2" fmla="*/ 3141553 w 3141553"/>
              <a:gd name="connsiteY2" fmla="*/ 719931 h 1439862"/>
              <a:gd name="connsiteX3" fmla="*/ 2987289 w 3141553"/>
              <a:gd name="connsiteY3" fmla="*/ 1439862 h 1439862"/>
              <a:gd name="connsiteX4" fmla="*/ 332098 w 3141553"/>
              <a:gd name="connsiteY4" fmla="*/ 1439862 h 1439862"/>
              <a:gd name="connsiteX5" fmla="*/ 332098 w 3141553"/>
              <a:gd name="connsiteY5" fmla="*/ 0 h 1439862"/>
              <a:gd name="connsiteX0" fmla="*/ 355040 w 3164495"/>
              <a:gd name="connsiteY0" fmla="*/ 2 h 1439864"/>
              <a:gd name="connsiteX1" fmla="*/ 3013431 w 3164495"/>
              <a:gd name="connsiteY1" fmla="*/ 7701 h 1439864"/>
              <a:gd name="connsiteX2" fmla="*/ 3164495 w 3164495"/>
              <a:gd name="connsiteY2" fmla="*/ 719933 h 1439864"/>
              <a:gd name="connsiteX3" fmla="*/ 3010231 w 3164495"/>
              <a:gd name="connsiteY3" fmla="*/ 1439864 h 1439864"/>
              <a:gd name="connsiteX4" fmla="*/ 355040 w 3164495"/>
              <a:gd name="connsiteY4" fmla="*/ 1439864 h 1439864"/>
              <a:gd name="connsiteX5" fmla="*/ 355040 w 3164495"/>
              <a:gd name="connsiteY5" fmla="*/ 2 h 1439864"/>
              <a:gd name="connsiteX0" fmla="*/ 222507 w 3031962"/>
              <a:gd name="connsiteY0" fmla="*/ 2 h 1439864"/>
              <a:gd name="connsiteX1" fmla="*/ 2880898 w 3031962"/>
              <a:gd name="connsiteY1" fmla="*/ 7701 h 1439864"/>
              <a:gd name="connsiteX2" fmla="*/ 3031962 w 3031962"/>
              <a:gd name="connsiteY2" fmla="*/ 719933 h 1439864"/>
              <a:gd name="connsiteX3" fmla="*/ 2877698 w 3031962"/>
              <a:gd name="connsiteY3" fmla="*/ 1439864 h 1439864"/>
              <a:gd name="connsiteX4" fmla="*/ 222507 w 3031962"/>
              <a:gd name="connsiteY4" fmla="*/ 1439864 h 1439864"/>
              <a:gd name="connsiteX5" fmla="*/ 222507 w 3031962"/>
              <a:gd name="connsiteY5" fmla="*/ 2 h 1439864"/>
              <a:gd name="connsiteX0" fmla="*/ 0 w 2809455"/>
              <a:gd name="connsiteY0" fmla="*/ 0 h 1439862"/>
              <a:gd name="connsiteX1" fmla="*/ 2658391 w 2809455"/>
              <a:gd name="connsiteY1" fmla="*/ 7699 h 1439862"/>
              <a:gd name="connsiteX2" fmla="*/ 2809455 w 2809455"/>
              <a:gd name="connsiteY2" fmla="*/ 719931 h 1439862"/>
              <a:gd name="connsiteX3" fmla="*/ 2655191 w 2809455"/>
              <a:gd name="connsiteY3" fmla="*/ 1439862 h 1439862"/>
              <a:gd name="connsiteX4" fmla="*/ 0 w 2809455"/>
              <a:gd name="connsiteY4" fmla="*/ 1439862 h 1439862"/>
              <a:gd name="connsiteX5" fmla="*/ 0 w 2809455"/>
              <a:gd name="connsiteY5" fmla="*/ 0 h 143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9455" h="1439862">
                <a:moveTo>
                  <a:pt x="0" y="0"/>
                </a:moveTo>
                <a:lnTo>
                  <a:pt x="2658391" y="7699"/>
                </a:lnTo>
                <a:lnTo>
                  <a:pt x="2809455" y="719931"/>
                </a:lnTo>
                <a:lnTo>
                  <a:pt x="2655191" y="1439862"/>
                </a:lnTo>
                <a:lnTo>
                  <a:pt x="0" y="1439862"/>
                </a:lnTo>
                <a:cubicBezTo>
                  <a:pt x="5278" y="884196"/>
                  <a:pt x="5315" y="576027"/>
                  <a:pt x="0" y="0"/>
                </a:cubicBezTo>
                <a:close/>
              </a:path>
            </a:pathLst>
          </a:custGeom>
          <a:solidFill>
            <a:srgbClr val="23618E"/>
          </a:solidFill>
        </p:spPr>
        <p:txBody>
          <a:bodyPr lIns="360000" rIns="360000" anchor="ctr" anchorCtr="1">
            <a:noAutofit/>
          </a:bodyPr>
          <a:lstStyle>
            <a:lvl1pPr algn="ctr">
              <a:defRPr b="1">
                <a:solidFill>
                  <a:schemeClr val="bg1"/>
                </a:solidFill>
                <a:latin typeface="+mj-lt"/>
              </a:defRPr>
            </a:lvl1pPr>
          </a:lstStyle>
          <a:p>
            <a:pPr lvl="0"/>
            <a:r>
              <a:rPr lang="en-US" dirty="0"/>
              <a:t>ITEM</a:t>
            </a:r>
          </a:p>
        </p:txBody>
      </p:sp>
      <p:sp>
        <p:nvSpPr>
          <p:cNvPr id="33" name="Content Placeholder 4"/>
          <p:cNvSpPr>
            <a:spLocks noGrp="1"/>
          </p:cNvSpPr>
          <p:nvPr>
            <p:ph sz="quarter" idx="14" hasCustomPrompt="1"/>
          </p:nvPr>
        </p:nvSpPr>
        <p:spPr>
          <a:xfrm>
            <a:off x="4843081" y="2796974"/>
            <a:ext cx="6832982" cy="950608"/>
          </a:xfrm>
          <a:custGeom>
            <a:avLst/>
            <a:gdLst>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0 w 2809455"/>
              <a:gd name="connsiteY5" fmla="*/ 0 h 1439862"/>
              <a:gd name="connsiteX0" fmla="*/ 353064 w 3162519"/>
              <a:gd name="connsiteY0" fmla="*/ 0 h 1439862"/>
              <a:gd name="connsiteX1" fmla="*/ 2937886 w 3162519"/>
              <a:gd name="connsiteY1" fmla="*/ 0 h 1439862"/>
              <a:gd name="connsiteX2" fmla="*/ 3162519 w 3162519"/>
              <a:gd name="connsiteY2" fmla="*/ 719931 h 1439862"/>
              <a:gd name="connsiteX3" fmla="*/ 2937886 w 3162519"/>
              <a:gd name="connsiteY3" fmla="*/ 1439862 h 1439862"/>
              <a:gd name="connsiteX4" fmla="*/ 353064 w 3162519"/>
              <a:gd name="connsiteY4" fmla="*/ 1439862 h 1439862"/>
              <a:gd name="connsiteX5" fmla="*/ 1 w 3162519"/>
              <a:gd name="connsiteY5" fmla="*/ 734578 h 1439862"/>
              <a:gd name="connsiteX6" fmla="*/ 353064 w 3162519"/>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67637 w 2809455"/>
              <a:gd name="connsiteY5" fmla="*/ 6329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42237 w 2809455"/>
              <a:gd name="connsiteY5" fmla="*/ 9631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93037 w 2809455"/>
              <a:gd name="connsiteY5" fmla="*/ 7218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83537 w 2809455"/>
              <a:gd name="connsiteY5" fmla="*/ 6583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0 w 2809455"/>
              <a:gd name="connsiteY0" fmla="*/ 8492 h 1448354"/>
              <a:gd name="connsiteX1" fmla="*/ 2707866 w 2809455"/>
              <a:gd name="connsiteY1" fmla="*/ 0 h 1448354"/>
              <a:gd name="connsiteX2" fmla="*/ 2809455 w 2809455"/>
              <a:gd name="connsiteY2" fmla="*/ 728423 h 1448354"/>
              <a:gd name="connsiteX3" fmla="*/ 2584822 w 2809455"/>
              <a:gd name="connsiteY3" fmla="*/ 1448354 h 1448354"/>
              <a:gd name="connsiteX4" fmla="*/ 0 w 2809455"/>
              <a:gd name="connsiteY4" fmla="*/ 1448354 h 1448354"/>
              <a:gd name="connsiteX5" fmla="*/ 252055 w 2809455"/>
              <a:gd name="connsiteY5" fmla="*/ 708705 h 1448354"/>
              <a:gd name="connsiteX6" fmla="*/ 0 w 2809455"/>
              <a:gd name="connsiteY6" fmla="*/ 8492 h 1448354"/>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252055 w 2809455"/>
              <a:gd name="connsiteY5" fmla="*/ 708705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9455" h="1456847">
                <a:moveTo>
                  <a:pt x="0" y="8492"/>
                </a:moveTo>
                <a:lnTo>
                  <a:pt x="2707866" y="0"/>
                </a:lnTo>
                <a:lnTo>
                  <a:pt x="2809455" y="728423"/>
                </a:lnTo>
                <a:lnTo>
                  <a:pt x="2707865" y="1456847"/>
                </a:lnTo>
                <a:lnTo>
                  <a:pt x="0" y="1448354"/>
                </a:lnTo>
                <a:cubicBezTo>
                  <a:pt x="58726" y="1036955"/>
                  <a:pt x="49188" y="1080453"/>
                  <a:pt x="103948" y="708704"/>
                </a:cubicBezTo>
                <a:cubicBezTo>
                  <a:pt x="53994" y="416070"/>
                  <a:pt x="31610" y="241896"/>
                  <a:pt x="0" y="8492"/>
                </a:cubicBezTo>
                <a:close/>
              </a:path>
            </a:pathLst>
          </a:custGeom>
          <a:solidFill>
            <a:srgbClr val="D68008"/>
          </a:solidFill>
        </p:spPr>
        <p:txBody>
          <a:bodyPr lIns="360000" rIns="360000" anchor="ctr" anchorCtr="1">
            <a:noAutofit/>
          </a:bodyPr>
          <a:lstStyle>
            <a:lvl1pPr algn="ctr">
              <a:defRPr b="1">
                <a:solidFill>
                  <a:schemeClr val="bg1"/>
                </a:solidFill>
                <a:latin typeface="+mj-lt"/>
              </a:defRPr>
            </a:lvl1pPr>
          </a:lstStyle>
          <a:p>
            <a:pPr lvl="0"/>
            <a:r>
              <a:rPr lang="en-US" dirty="0"/>
              <a:t>ITEM</a:t>
            </a:r>
          </a:p>
        </p:txBody>
      </p:sp>
      <p:sp>
        <p:nvSpPr>
          <p:cNvPr id="34" name="Content Placeholder 4"/>
          <p:cNvSpPr>
            <a:spLocks noGrp="1"/>
          </p:cNvSpPr>
          <p:nvPr>
            <p:ph sz="quarter" idx="15" hasCustomPrompt="1"/>
          </p:nvPr>
        </p:nvSpPr>
        <p:spPr>
          <a:xfrm>
            <a:off x="515936" y="3888130"/>
            <a:ext cx="4412870" cy="939525"/>
          </a:xfrm>
          <a:custGeom>
            <a:avLst/>
            <a:gdLst>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0 w 2809455"/>
              <a:gd name="connsiteY5" fmla="*/ 0 h 1439862"/>
              <a:gd name="connsiteX0" fmla="*/ 353064 w 3162519"/>
              <a:gd name="connsiteY0" fmla="*/ 0 h 1439862"/>
              <a:gd name="connsiteX1" fmla="*/ 2937886 w 3162519"/>
              <a:gd name="connsiteY1" fmla="*/ 0 h 1439862"/>
              <a:gd name="connsiteX2" fmla="*/ 3162519 w 3162519"/>
              <a:gd name="connsiteY2" fmla="*/ 719931 h 1439862"/>
              <a:gd name="connsiteX3" fmla="*/ 2937886 w 3162519"/>
              <a:gd name="connsiteY3" fmla="*/ 1439862 h 1439862"/>
              <a:gd name="connsiteX4" fmla="*/ 353064 w 3162519"/>
              <a:gd name="connsiteY4" fmla="*/ 1439862 h 1439862"/>
              <a:gd name="connsiteX5" fmla="*/ 1 w 3162519"/>
              <a:gd name="connsiteY5" fmla="*/ 734578 h 1439862"/>
              <a:gd name="connsiteX6" fmla="*/ 353064 w 3162519"/>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67637 w 2809455"/>
              <a:gd name="connsiteY5" fmla="*/ 6329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42237 w 2809455"/>
              <a:gd name="connsiteY5" fmla="*/ 9631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93037 w 2809455"/>
              <a:gd name="connsiteY5" fmla="*/ 7218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83537 w 2809455"/>
              <a:gd name="connsiteY5" fmla="*/ 6583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0 w 2809455"/>
              <a:gd name="connsiteY0" fmla="*/ 0 h 1439862"/>
              <a:gd name="connsiteX1" fmla="*/ 2658391 w 2809455"/>
              <a:gd name="connsiteY1" fmla="*/ 7699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0 w 2809455"/>
              <a:gd name="connsiteY0" fmla="*/ 0 h 1439862"/>
              <a:gd name="connsiteX1" fmla="*/ 2658391 w 2809455"/>
              <a:gd name="connsiteY1" fmla="*/ 7699 h 1439862"/>
              <a:gd name="connsiteX2" fmla="*/ 2809455 w 2809455"/>
              <a:gd name="connsiteY2" fmla="*/ 719931 h 1439862"/>
              <a:gd name="connsiteX3" fmla="*/ 2655191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332098 w 3141553"/>
              <a:gd name="connsiteY0" fmla="*/ 0 h 1439862"/>
              <a:gd name="connsiteX1" fmla="*/ 2990489 w 3141553"/>
              <a:gd name="connsiteY1" fmla="*/ 7699 h 1439862"/>
              <a:gd name="connsiteX2" fmla="*/ 3141553 w 3141553"/>
              <a:gd name="connsiteY2" fmla="*/ 719931 h 1439862"/>
              <a:gd name="connsiteX3" fmla="*/ 2987289 w 3141553"/>
              <a:gd name="connsiteY3" fmla="*/ 1439862 h 1439862"/>
              <a:gd name="connsiteX4" fmla="*/ 332098 w 3141553"/>
              <a:gd name="connsiteY4" fmla="*/ 1439862 h 1439862"/>
              <a:gd name="connsiteX5" fmla="*/ 332098 w 3141553"/>
              <a:gd name="connsiteY5" fmla="*/ 0 h 1439862"/>
              <a:gd name="connsiteX0" fmla="*/ 355040 w 3164495"/>
              <a:gd name="connsiteY0" fmla="*/ 2 h 1439864"/>
              <a:gd name="connsiteX1" fmla="*/ 3013431 w 3164495"/>
              <a:gd name="connsiteY1" fmla="*/ 7701 h 1439864"/>
              <a:gd name="connsiteX2" fmla="*/ 3164495 w 3164495"/>
              <a:gd name="connsiteY2" fmla="*/ 719933 h 1439864"/>
              <a:gd name="connsiteX3" fmla="*/ 3010231 w 3164495"/>
              <a:gd name="connsiteY3" fmla="*/ 1439864 h 1439864"/>
              <a:gd name="connsiteX4" fmla="*/ 355040 w 3164495"/>
              <a:gd name="connsiteY4" fmla="*/ 1439864 h 1439864"/>
              <a:gd name="connsiteX5" fmla="*/ 355040 w 3164495"/>
              <a:gd name="connsiteY5" fmla="*/ 2 h 1439864"/>
              <a:gd name="connsiteX0" fmla="*/ 222507 w 3031962"/>
              <a:gd name="connsiteY0" fmla="*/ 2 h 1439864"/>
              <a:gd name="connsiteX1" fmla="*/ 2880898 w 3031962"/>
              <a:gd name="connsiteY1" fmla="*/ 7701 h 1439864"/>
              <a:gd name="connsiteX2" fmla="*/ 3031962 w 3031962"/>
              <a:gd name="connsiteY2" fmla="*/ 719933 h 1439864"/>
              <a:gd name="connsiteX3" fmla="*/ 2877698 w 3031962"/>
              <a:gd name="connsiteY3" fmla="*/ 1439864 h 1439864"/>
              <a:gd name="connsiteX4" fmla="*/ 222507 w 3031962"/>
              <a:gd name="connsiteY4" fmla="*/ 1439864 h 1439864"/>
              <a:gd name="connsiteX5" fmla="*/ 222507 w 3031962"/>
              <a:gd name="connsiteY5" fmla="*/ 2 h 1439864"/>
              <a:gd name="connsiteX0" fmla="*/ 0 w 2809455"/>
              <a:gd name="connsiteY0" fmla="*/ 0 h 1439862"/>
              <a:gd name="connsiteX1" fmla="*/ 2658391 w 2809455"/>
              <a:gd name="connsiteY1" fmla="*/ 7699 h 1439862"/>
              <a:gd name="connsiteX2" fmla="*/ 2809455 w 2809455"/>
              <a:gd name="connsiteY2" fmla="*/ 719931 h 1439862"/>
              <a:gd name="connsiteX3" fmla="*/ 2655191 w 2809455"/>
              <a:gd name="connsiteY3" fmla="*/ 1439862 h 1439862"/>
              <a:gd name="connsiteX4" fmla="*/ 0 w 2809455"/>
              <a:gd name="connsiteY4" fmla="*/ 1439862 h 1439862"/>
              <a:gd name="connsiteX5" fmla="*/ 0 w 2809455"/>
              <a:gd name="connsiteY5" fmla="*/ 0 h 143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9455" h="1439862">
                <a:moveTo>
                  <a:pt x="0" y="0"/>
                </a:moveTo>
                <a:lnTo>
                  <a:pt x="2658391" y="7699"/>
                </a:lnTo>
                <a:lnTo>
                  <a:pt x="2809455" y="719931"/>
                </a:lnTo>
                <a:lnTo>
                  <a:pt x="2655191" y="1439862"/>
                </a:lnTo>
                <a:lnTo>
                  <a:pt x="0" y="1439862"/>
                </a:lnTo>
                <a:cubicBezTo>
                  <a:pt x="5278" y="884196"/>
                  <a:pt x="5315" y="576027"/>
                  <a:pt x="0" y="0"/>
                </a:cubicBezTo>
                <a:close/>
              </a:path>
            </a:pathLst>
          </a:custGeom>
          <a:solidFill>
            <a:srgbClr val="23618E"/>
          </a:solidFill>
        </p:spPr>
        <p:txBody>
          <a:bodyPr lIns="360000" rIns="360000" anchor="ctr" anchorCtr="1">
            <a:noAutofit/>
          </a:bodyPr>
          <a:lstStyle>
            <a:lvl1pPr algn="ctr">
              <a:defRPr b="1">
                <a:solidFill>
                  <a:schemeClr val="bg1"/>
                </a:solidFill>
                <a:latin typeface="+mj-lt"/>
              </a:defRPr>
            </a:lvl1pPr>
          </a:lstStyle>
          <a:p>
            <a:pPr lvl="0"/>
            <a:r>
              <a:rPr lang="en-US" dirty="0"/>
              <a:t>ITEM</a:t>
            </a:r>
          </a:p>
        </p:txBody>
      </p:sp>
      <p:sp>
        <p:nvSpPr>
          <p:cNvPr id="35" name="Content Placeholder 4"/>
          <p:cNvSpPr>
            <a:spLocks noGrp="1"/>
          </p:cNvSpPr>
          <p:nvPr>
            <p:ph sz="quarter" idx="16" hasCustomPrompt="1"/>
          </p:nvPr>
        </p:nvSpPr>
        <p:spPr>
          <a:xfrm>
            <a:off x="4843081" y="3882589"/>
            <a:ext cx="6832982" cy="950608"/>
          </a:xfrm>
          <a:custGeom>
            <a:avLst/>
            <a:gdLst>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0 w 2809455"/>
              <a:gd name="connsiteY5" fmla="*/ 0 h 1439862"/>
              <a:gd name="connsiteX0" fmla="*/ 353064 w 3162519"/>
              <a:gd name="connsiteY0" fmla="*/ 0 h 1439862"/>
              <a:gd name="connsiteX1" fmla="*/ 2937886 w 3162519"/>
              <a:gd name="connsiteY1" fmla="*/ 0 h 1439862"/>
              <a:gd name="connsiteX2" fmla="*/ 3162519 w 3162519"/>
              <a:gd name="connsiteY2" fmla="*/ 719931 h 1439862"/>
              <a:gd name="connsiteX3" fmla="*/ 2937886 w 3162519"/>
              <a:gd name="connsiteY3" fmla="*/ 1439862 h 1439862"/>
              <a:gd name="connsiteX4" fmla="*/ 353064 w 3162519"/>
              <a:gd name="connsiteY4" fmla="*/ 1439862 h 1439862"/>
              <a:gd name="connsiteX5" fmla="*/ 1 w 3162519"/>
              <a:gd name="connsiteY5" fmla="*/ 734578 h 1439862"/>
              <a:gd name="connsiteX6" fmla="*/ 353064 w 3162519"/>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67637 w 2809455"/>
              <a:gd name="connsiteY5" fmla="*/ 6329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42237 w 2809455"/>
              <a:gd name="connsiteY5" fmla="*/ 9631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93037 w 2809455"/>
              <a:gd name="connsiteY5" fmla="*/ 7218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83537 w 2809455"/>
              <a:gd name="connsiteY5" fmla="*/ 6583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0 w 2809455"/>
              <a:gd name="connsiteY0" fmla="*/ 8492 h 1448354"/>
              <a:gd name="connsiteX1" fmla="*/ 2707866 w 2809455"/>
              <a:gd name="connsiteY1" fmla="*/ 0 h 1448354"/>
              <a:gd name="connsiteX2" fmla="*/ 2809455 w 2809455"/>
              <a:gd name="connsiteY2" fmla="*/ 728423 h 1448354"/>
              <a:gd name="connsiteX3" fmla="*/ 2584822 w 2809455"/>
              <a:gd name="connsiteY3" fmla="*/ 1448354 h 1448354"/>
              <a:gd name="connsiteX4" fmla="*/ 0 w 2809455"/>
              <a:gd name="connsiteY4" fmla="*/ 1448354 h 1448354"/>
              <a:gd name="connsiteX5" fmla="*/ 252055 w 2809455"/>
              <a:gd name="connsiteY5" fmla="*/ 708705 h 1448354"/>
              <a:gd name="connsiteX6" fmla="*/ 0 w 2809455"/>
              <a:gd name="connsiteY6" fmla="*/ 8492 h 1448354"/>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252055 w 2809455"/>
              <a:gd name="connsiteY5" fmla="*/ 708705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9455" h="1456847">
                <a:moveTo>
                  <a:pt x="0" y="8492"/>
                </a:moveTo>
                <a:lnTo>
                  <a:pt x="2707866" y="0"/>
                </a:lnTo>
                <a:lnTo>
                  <a:pt x="2809455" y="728423"/>
                </a:lnTo>
                <a:lnTo>
                  <a:pt x="2707865" y="1456847"/>
                </a:lnTo>
                <a:lnTo>
                  <a:pt x="0" y="1448354"/>
                </a:lnTo>
                <a:cubicBezTo>
                  <a:pt x="58726" y="1036955"/>
                  <a:pt x="49188" y="1080453"/>
                  <a:pt x="103948" y="708704"/>
                </a:cubicBezTo>
                <a:cubicBezTo>
                  <a:pt x="53994" y="416070"/>
                  <a:pt x="31610" y="241896"/>
                  <a:pt x="0" y="8492"/>
                </a:cubicBezTo>
                <a:close/>
              </a:path>
            </a:pathLst>
          </a:custGeom>
          <a:solidFill>
            <a:srgbClr val="D68008"/>
          </a:solidFill>
        </p:spPr>
        <p:txBody>
          <a:bodyPr lIns="360000" rIns="360000" anchor="ctr" anchorCtr="1">
            <a:noAutofit/>
          </a:bodyPr>
          <a:lstStyle>
            <a:lvl1pPr algn="ctr">
              <a:defRPr b="1">
                <a:solidFill>
                  <a:schemeClr val="bg1"/>
                </a:solidFill>
                <a:latin typeface="+mj-lt"/>
              </a:defRPr>
            </a:lvl1pPr>
          </a:lstStyle>
          <a:p>
            <a:pPr lvl="0"/>
            <a:r>
              <a:rPr lang="en-US" dirty="0"/>
              <a:t>ITEM</a:t>
            </a:r>
          </a:p>
        </p:txBody>
      </p:sp>
      <p:sp>
        <p:nvSpPr>
          <p:cNvPr id="36" name="Content Placeholder 4"/>
          <p:cNvSpPr>
            <a:spLocks noGrp="1"/>
          </p:cNvSpPr>
          <p:nvPr>
            <p:ph sz="quarter" idx="17" hasCustomPrompt="1"/>
          </p:nvPr>
        </p:nvSpPr>
        <p:spPr>
          <a:xfrm>
            <a:off x="515936" y="4973744"/>
            <a:ext cx="4412870" cy="939525"/>
          </a:xfrm>
          <a:custGeom>
            <a:avLst/>
            <a:gdLst>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0 w 2809455"/>
              <a:gd name="connsiteY5" fmla="*/ 0 h 1439862"/>
              <a:gd name="connsiteX0" fmla="*/ 353064 w 3162519"/>
              <a:gd name="connsiteY0" fmla="*/ 0 h 1439862"/>
              <a:gd name="connsiteX1" fmla="*/ 2937886 w 3162519"/>
              <a:gd name="connsiteY1" fmla="*/ 0 h 1439862"/>
              <a:gd name="connsiteX2" fmla="*/ 3162519 w 3162519"/>
              <a:gd name="connsiteY2" fmla="*/ 719931 h 1439862"/>
              <a:gd name="connsiteX3" fmla="*/ 2937886 w 3162519"/>
              <a:gd name="connsiteY3" fmla="*/ 1439862 h 1439862"/>
              <a:gd name="connsiteX4" fmla="*/ 353064 w 3162519"/>
              <a:gd name="connsiteY4" fmla="*/ 1439862 h 1439862"/>
              <a:gd name="connsiteX5" fmla="*/ 1 w 3162519"/>
              <a:gd name="connsiteY5" fmla="*/ 734578 h 1439862"/>
              <a:gd name="connsiteX6" fmla="*/ 353064 w 3162519"/>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67637 w 2809455"/>
              <a:gd name="connsiteY5" fmla="*/ 6329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42237 w 2809455"/>
              <a:gd name="connsiteY5" fmla="*/ 9631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93037 w 2809455"/>
              <a:gd name="connsiteY5" fmla="*/ 7218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83537 w 2809455"/>
              <a:gd name="connsiteY5" fmla="*/ 6583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0 w 2809455"/>
              <a:gd name="connsiteY0" fmla="*/ 0 h 1439862"/>
              <a:gd name="connsiteX1" fmla="*/ 2658391 w 2809455"/>
              <a:gd name="connsiteY1" fmla="*/ 7699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0 w 2809455"/>
              <a:gd name="connsiteY0" fmla="*/ 0 h 1439862"/>
              <a:gd name="connsiteX1" fmla="*/ 2658391 w 2809455"/>
              <a:gd name="connsiteY1" fmla="*/ 7699 h 1439862"/>
              <a:gd name="connsiteX2" fmla="*/ 2809455 w 2809455"/>
              <a:gd name="connsiteY2" fmla="*/ 719931 h 1439862"/>
              <a:gd name="connsiteX3" fmla="*/ 2655191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332098 w 3141553"/>
              <a:gd name="connsiteY0" fmla="*/ 0 h 1439862"/>
              <a:gd name="connsiteX1" fmla="*/ 2990489 w 3141553"/>
              <a:gd name="connsiteY1" fmla="*/ 7699 h 1439862"/>
              <a:gd name="connsiteX2" fmla="*/ 3141553 w 3141553"/>
              <a:gd name="connsiteY2" fmla="*/ 719931 h 1439862"/>
              <a:gd name="connsiteX3" fmla="*/ 2987289 w 3141553"/>
              <a:gd name="connsiteY3" fmla="*/ 1439862 h 1439862"/>
              <a:gd name="connsiteX4" fmla="*/ 332098 w 3141553"/>
              <a:gd name="connsiteY4" fmla="*/ 1439862 h 1439862"/>
              <a:gd name="connsiteX5" fmla="*/ 332098 w 3141553"/>
              <a:gd name="connsiteY5" fmla="*/ 0 h 1439862"/>
              <a:gd name="connsiteX0" fmla="*/ 355040 w 3164495"/>
              <a:gd name="connsiteY0" fmla="*/ 2 h 1439864"/>
              <a:gd name="connsiteX1" fmla="*/ 3013431 w 3164495"/>
              <a:gd name="connsiteY1" fmla="*/ 7701 h 1439864"/>
              <a:gd name="connsiteX2" fmla="*/ 3164495 w 3164495"/>
              <a:gd name="connsiteY2" fmla="*/ 719933 h 1439864"/>
              <a:gd name="connsiteX3" fmla="*/ 3010231 w 3164495"/>
              <a:gd name="connsiteY3" fmla="*/ 1439864 h 1439864"/>
              <a:gd name="connsiteX4" fmla="*/ 355040 w 3164495"/>
              <a:gd name="connsiteY4" fmla="*/ 1439864 h 1439864"/>
              <a:gd name="connsiteX5" fmla="*/ 355040 w 3164495"/>
              <a:gd name="connsiteY5" fmla="*/ 2 h 1439864"/>
              <a:gd name="connsiteX0" fmla="*/ 222507 w 3031962"/>
              <a:gd name="connsiteY0" fmla="*/ 2 h 1439864"/>
              <a:gd name="connsiteX1" fmla="*/ 2880898 w 3031962"/>
              <a:gd name="connsiteY1" fmla="*/ 7701 h 1439864"/>
              <a:gd name="connsiteX2" fmla="*/ 3031962 w 3031962"/>
              <a:gd name="connsiteY2" fmla="*/ 719933 h 1439864"/>
              <a:gd name="connsiteX3" fmla="*/ 2877698 w 3031962"/>
              <a:gd name="connsiteY3" fmla="*/ 1439864 h 1439864"/>
              <a:gd name="connsiteX4" fmla="*/ 222507 w 3031962"/>
              <a:gd name="connsiteY4" fmla="*/ 1439864 h 1439864"/>
              <a:gd name="connsiteX5" fmla="*/ 222507 w 3031962"/>
              <a:gd name="connsiteY5" fmla="*/ 2 h 1439864"/>
              <a:gd name="connsiteX0" fmla="*/ 0 w 2809455"/>
              <a:gd name="connsiteY0" fmla="*/ 0 h 1439862"/>
              <a:gd name="connsiteX1" fmla="*/ 2658391 w 2809455"/>
              <a:gd name="connsiteY1" fmla="*/ 7699 h 1439862"/>
              <a:gd name="connsiteX2" fmla="*/ 2809455 w 2809455"/>
              <a:gd name="connsiteY2" fmla="*/ 719931 h 1439862"/>
              <a:gd name="connsiteX3" fmla="*/ 2655191 w 2809455"/>
              <a:gd name="connsiteY3" fmla="*/ 1439862 h 1439862"/>
              <a:gd name="connsiteX4" fmla="*/ 0 w 2809455"/>
              <a:gd name="connsiteY4" fmla="*/ 1439862 h 1439862"/>
              <a:gd name="connsiteX5" fmla="*/ 0 w 2809455"/>
              <a:gd name="connsiteY5" fmla="*/ 0 h 1439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9455" h="1439862">
                <a:moveTo>
                  <a:pt x="0" y="0"/>
                </a:moveTo>
                <a:lnTo>
                  <a:pt x="2658391" y="7699"/>
                </a:lnTo>
                <a:lnTo>
                  <a:pt x="2809455" y="719931"/>
                </a:lnTo>
                <a:lnTo>
                  <a:pt x="2655191" y="1439862"/>
                </a:lnTo>
                <a:lnTo>
                  <a:pt x="0" y="1439862"/>
                </a:lnTo>
                <a:cubicBezTo>
                  <a:pt x="5278" y="884196"/>
                  <a:pt x="5315" y="576027"/>
                  <a:pt x="0" y="0"/>
                </a:cubicBezTo>
                <a:close/>
              </a:path>
            </a:pathLst>
          </a:custGeom>
          <a:solidFill>
            <a:srgbClr val="23618E"/>
          </a:solidFill>
        </p:spPr>
        <p:txBody>
          <a:bodyPr lIns="360000" rIns="360000" anchor="ctr" anchorCtr="1">
            <a:noAutofit/>
          </a:bodyPr>
          <a:lstStyle>
            <a:lvl1pPr algn="ctr">
              <a:defRPr b="1">
                <a:solidFill>
                  <a:schemeClr val="bg1"/>
                </a:solidFill>
                <a:latin typeface="+mj-lt"/>
              </a:defRPr>
            </a:lvl1pPr>
          </a:lstStyle>
          <a:p>
            <a:pPr lvl="0"/>
            <a:r>
              <a:rPr lang="en-US" dirty="0"/>
              <a:t>ITEM</a:t>
            </a:r>
          </a:p>
        </p:txBody>
      </p:sp>
      <p:sp>
        <p:nvSpPr>
          <p:cNvPr id="37" name="Content Placeholder 4"/>
          <p:cNvSpPr>
            <a:spLocks noGrp="1"/>
          </p:cNvSpPr>
          <p:nvPr>
            <p:ph sz="quarter" idx="18" hasCustomPrompt="1"/>
          </p:nvPr>
        </p:nvSpPr>
        <p:spPr>
          <a:xfrm>
            <a:off x="4843081" y="4968203"/>
            <a:ext cx="6832982" cy="950608"/>
          </a:xfrm>
          <a:custGeom>
            <a:avLst/>
            <a:gdLst>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0 w 2809455"/>
              <a:gd name="connsiteY5" fmla="*/ 0 h 1439862"/>
              <a:gd name="connsiteX0" fmla="*/ 353064 w 3162519"/>
              <a:gd name="connsiteY0" fmla="*/ 0 h 1439862"/>
              <a:gd name="connsiteX1" fmla="*/ 2937886 w 3162519"/>
              <a:gd name="connsiteY1" fmla="*/ 0 h 1439862"/>
              <a:gd name="connsiteX2" fmla="*/ 3162519 w 3162519"/>
              <a:gd name="connsiteY2" fmla="*/ 719931 h 1439862"/>
              <a:gd name="connsiteX3" fmla="*/ 2937886 w 3162519"/>
              <a:gd name="connsiteY3" fmla="*/ 1439862 h 1439862"/>
              <a:gd name="connsiteX4" fmla="*/ 353064 w 3162519"/>
              <a:gd name="connsiteY4" fmla="*/ 1439862 h 1439862"/>
              <a:gd name="connsiteX5" fmla="*/ 1 w 3162519"/>
              <a:gd name="connsiteY5" fmla="*/ 734578 h 1439862"/>
              <a:gd name="connsiteX6" fmla="*/ 353064 w 3162519"/>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67637 w 2809455"/>
              <a:gd name="connsiteY5" fmla="*/ 6329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42237 w 2809455"/>
              <a:gd name="connsiteY5" fmla="*/ 9631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193037 w 2809455"/>
              <a:gd name="connsiteY5" fmla="*/ 7218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83537 w 2809455"/>
              <a:gd name="connsiteY5" fmla="*/ 65837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395490 w 2809455"/>
              <a:gd name="connsiteY5" fmla="*/ 676308 h 1439862"/>
              <a:gd name="connsiteX6" fmla="*/ 0 w 2809455"/>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15740 w 2925195"/>
              <a:gd name="connsiteY0" fmla="*/ 0 h 1439862"/>
              <a:gd name="connsiteX1" fmla="*/ 2700562 w 2925195"/>
              <a:gd name="connsiteY1" fmla="*/ 0 h 1439862"/>
              <a:gd name="connsiteX2" fmla="*/ 2925195 w 2925195"/>
              <a:gd name="connsiteY2" fmla="*/ 719931 h 1439862"/>
              <a:gd name="connsiteX3" fmla="*/ 2700562 w 2925195"/>
              <a:gd name="connsiteY3" fmla="*/ 1439862 h 1439862"/>
              <a:gd name="connsiteX4" fmla="*/ 115740 w 2925195"/>
              <a:gd name="connsiteY4" fmla="*/ 1439862 h 1439862"/>
              <a:gd name="connsiteX5" fmla="*/ 367795 w 2925195"/>
              <a:gd name="connsiteY5" fmla="*/ 700213 h 1439862"/>
              <a:gd name="connsiteX6" fmla="*/ 115740 w 2925195"/>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131742 w 2941197"/>
              <a:gd name="connsiteY0" fmla="*/ 0 h 1439862"/>
              <a:gd name="connsiteX1" fmla="*/ 2716564 w 2941197"/>
              <a:gd name="connsiteY1" fmla="*/ 0 h 1439862"/>
              <a:gd name="connsiteX2" fmla="*/ 2941197 w 2941197"/>
              <a:gd name="connsiteY2" fmla="*/ 719931 h 1439862"/>
              <a:gd name="connsiteX3" fmla="*/ 2716564 w 2941197"/>
              <a:gd name="connsiteY3" fmla="*/ 1439862 h 1439862"/>
              <a:gd name="connsiteX4" fmla="*/ 131742 w 2941197"/>
              <a:gd name="connsiteY4" fmla="*/ 1439862 h 1439862"/>
              <a:gd name="connsiteX5" fmla="*/ 383797 w 2941197"/>
              <a:gd name="connsiteY5" fmla="*/ 700213 h 1439862"/>
              <a:gd name="connsiteX6" fmla="*/ 131742 w 2941197"/>
              <a:gd name="connsiteY6" fmla="*/ 0 h 1439862"/>
              <a:gd name="connsiteX0" fmla="*/ 0 w 2809455"/>
              <a:gd name="connsiteY0" fmla="*/ 0 h 1439862"/>
              <a:gd name="connsiteX1" fmla="*/ 2584822 w 2809455"/>
              <a:gd name="connsiteY1" fmla="*/ 0 h 1439862"/>
              <a:gd name="connsiteX2" fmla="*/ 2809455 w 2809455"/>
              <a:gd name="connsiteY2" fmla="*/ 719931 h 1439862"/>
              <a:gd name="connsiteX3" fmla="*/ 2584822 w 2809455"/>
              <a:gd name="connsiteY3" fmla="*/ 1439862 h 1439862"/>
              <a:gd name="connsiteX4" fmla="*/ 0 w 2809455"/>
              <a:gd name="connsiteY4" fmla="*/ 1439862 h 1439862"/>
              <a:gd name="connsiteX5" fmla="*/ 252055 w 2809455"/>
              <a:gd name="connsiteY5" fmla="*/ 700213 h 1439862"/>
              <a:gd name="connsiteX6" fmla="*/ 0 w 2809455"/>
              <a:gd name="connsiteY6" fmla="*/ 0 h 1439862"/>
              <a:gd name="connsiteX0" fmla="*/ 0 w 2809455"/>
              <a:gd name="connsiteY0" fmla="*/ 8492 h 1448354"/>
              <a:gd name="connsiteX1" fmla="*/ 2707866 w 2809455"/>
              <a:gd name="connsiteY1" fmla="*/ 0 h 1448354"/>
              <a:gd name="connsiteX2" fmla="*/ 2809455 w 2809455"/>
              <a:gd name="connsiteY2" fmla="*/ 728423 h 1448354"/>
              <a:gd name="connsiteX3" fmla="*/ 2584822 w 2809455"/>
              <a:gd name="connsiteY3" fmla="*/ 1448354 h 1448354"/>
              <a:gd name="connsiteX4" fmla="*/ 0 w 2809455"/>
              <a:gd name="connsiteY4" fmla="*/ 1448354 h 1448354"/>
              <a:gd name="connsiteX5" fmla="*/ 252055 w 2809455"/>
              <a:gd name="connsiteY5" fmla="*/ 708705 h 1448354"/>
              <a:gd name="connsiteX6" fmla="*/ 0 w 2809455"/>
              <a:gd name="connsiteY6" fmla="*/ 8492 h 1448354"/>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252055 w 2809455"/>
              <a:gd name="connsiteY5" fmla="*/ 708705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 name="connsiteX0" fmla="*/ 0 w 2809455"/>
              <a:gd name="connsiteY0" fmla="*/ 8492 h 1456847"/>
              <a:gd name="connsiteX1" fmla="*/ 2707866 w 2809455"/>
              <a:gd name="connsiteY1" fmla="*/ 0 h 1456847"/>
              <a:gd name="connsiteX2" fmla="*/ 2809455 w 2809455"/>
              <a:gd name="connsiteY2" fmla="*/ 728423 h 1456847"/>
              <a:gd name="connsiteX3" fmla="*/ 2707865 w 2809455"/>
              <a:gd name="connsiteY3" fmla="*/ 1456847 h 1456847"/>
              <a:gd name="connsiteX4" fmla="*/ 0 w 2809455"/>
              <a:gd name="connsiteY4" fmla="*/ 1448354 h 1456847"/>
              <a:gd name="connsiteX5" fmla="*/ 103948 w 2809455"/>
              <a:gd name="connsiteY5" fmla="*/ 708704 h 1456847"/>
              <a:gd name="connsiteX6" fmla="*/ 0 w 2809455"/>
              <a:gd name="connsiteY6" fmla="*/ 8492 h 1456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9455" h="1456847">
                <a:moveTo>
                  <a:pt x="0" y="8492"/>
                </a:moveTo>
                <a:lnTo>
                  <a:pt x="2707866" y="0"/>
                </a:lnTo>
                <a:lnTo>
                  <a:pt x="2809455" y="728423"/>
                </a:lnTo>
                <a:lnTo>
                  <a:pt x="2707865" y="1456847"/>
                </a:lnTo>
                <a:lnTo>
                  <a:pt x="0" y="1448354"/>
                </a:lnTo>
                <a:cubicBezTo>
                  <a:pt x="58726" y="1036955"/>
                  <a:pt x="49188" y="1080453"/>
                  <a:pt x="103948" y="708704"/>
                </a:cubicBezTo>
                <a:cubicBezTo>
                  <a:pt x="53994" y="416070"/>
                  <a:pt x="31610" y="241896"/>
                  <a:pt x="0" y="8492"/>
                </a:cubicBezTo>
                <a:close/>
              </a:path>
            </a:pathLst>
          </a:custGeom>
          <a:solidFill>
            <a:srgbClr val="D68008"/>
          </a:solidFill>
        </p:spPr>
        <p:txBody>
          <a:bodyPr lIns="360000" rIns="360000" anchor="ctr" anchorCtr="1">
            <a:noAutofit/>
          </a:bodyPr>
          <a:lstStyle>
            <a:lvl1pPr algn="ctr">
              <a:defRPr b="1">
                <a:solidFill>
                  <a:schemeClr val="bg1"/>
                </a:solidFill>
                <a:latin typeface="+mj-lt"/>
              </a:defRPr>
            </a:lvl1pPr>
          </a:lstStyle>
          <a:p>
            <a:pPr lvl="0"/>
            <a:r>
              <a:rPr lang="en-US" dirty="0"/>
              <a:t>ITEM</a:t>
            </a:r>
          </a:p>
        </p:txBody>
      </p:sp>
      <p:pic>
        <p:nvPicPr>
          <p:cNvPr id="12" name="Picture 11">
            <a:extLst>
              <a:ext uri="{FF2B5EF4-FFF2-40B4-BE49-F238E27FC236}">
                <a16:creationId xmlns:a16="http://schemas.microsoft.com/office/drawing/2014/main" id="{BF11D843-CC55-4C1F-938B-EEEF5B97AC6A}"/>
              </a:ext>
            </a:extLst>
          </p:cNvPr>
          <p:cNvPicPr/>
          <p:nvPr userDrawn="1"/>
        </p:nvPicPr>
        <p:blipFill>
          <a:blip r:embed="rId2"/>
          <a:stretch>
            <a:fillRect/>
          </a:stretch>
        </p:blipFill>
        <p:spPr>
          <a:xfrm>
            <a:off x="10187649" y="6337275"/>
            <a:ext cx="1488414" cy="399548"/>
          </a:xfrm>
          <a:prstGeom prst="rect">
            <a:avLst/>
          </a:prstGeom>
        </p:spPr>
      </p:pic>
    </p:spTree>
    <p:extLst>
      <p:ext uri="{BB962C8B-B14F-4D97-AF65-F5344CB8AC3E}">
        <p14:creationId xmlns:p14="http://schemas.microsoft.com/office/powerpoint/2010/main" val="42906301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rganize 5 item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4E6D71C-ACD7-49D2-9689-F9C4024FAC38}" type="slidenum">
              <a:rPr lang="en-US" smtClean="0"/>
              <a:pPr/>
              <a:t>‹#›</a:t>
            </a:fld>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67000" y="0"/>
            <a:ext cx="6858000" cy="6858000"/>
          </a:xfrm>
          <a:prstGeom prst="rect">
            <a:avLst/>
          </a:prstGeom>
        </p:spPr>
      </p:pic>
      <p:sp>
        <p:nvSpPr>
          <p:cNvPr id="6" name="Content Placeholder 5"/>
          <p:cNvSpPr>
            <a:spLocks noGrp="1"/>
          </p:cNvSpPr>
          <p:nvPr>
            <p:ph sz="quarter" idx="11" hasCustomPrompt="1"/>
          </p:nvPr>
        </p:nvSpPr>
        <p:spPr>
          <a:xfrm>
            <a:off x="5276850" y="1314451"/>
            <a:ext cx="1609725" cy="495300"/>
          </a:xfrm>
        </p:spPr>
        <p:txBody>
          <a:bodyPr>
            <a:normAutofit/>
          </a:bodyPr>
          <a:lstStyle>
            <a:lvl1pPr marL="0" indent="0" algn="ctr">
              <a:buNone/>
              <a:defRPr sz="2400" baseline="0">
                <a:solidFill>
                  <a:schemeClr val="tx1">
                    <a:lumMod val="75000"/>
                    <a:lumOff val="25000"/>
                  </a:schemeClr>
                </a:solidFill>
              </a:defRPr>
            </a:lvl1pPr>
          </a:lstStyle>
          <a:p>
            <a:pPr lvl="0"/>
            <a:r>
              <a:rPr lang="en-US" dirty="0"/>
              <a:t>Insert item</a:t>
            </a:r>
          </a:p>
        </p:txBody>
      </p:sp>
      <p:sp>
        <p:nvSpPr>
          <p:cNvPr id="7" name="Content Placeholder 5"/>
          <p:cNvSpPr>
            <a:spLocks noGrp="1"/>
          </p:cNvSpPr>
          <p:nvPr>
            <p:ph sz="quarter" idx="12" hasCustomPrompt="1"/>
          </p:nvPr>
        </p:nvSpPr>
        <p:spPr>
          <a:xfrm>
            <a:off x="6467475" y="4610101"/>
            <a:ext cx="1609725" cy="495300"/>
          </a:xfrm>
        </p:spPr>
        <p:txBody>
          <a:bodyPr>
            <a:normAutofit/>
          </a:bodyPr>
          <a:lstStyle>
            <a:lvl1pPr marL="0" indent="0" algn="ctr">
              <a:buNone/>
              <a:defRPr sz="2400" baseline="0">
                <a:solidFill>
                  <a:schemeClr val="tx1">
                    <a:lumMod val="75000"/>
                    <a:lumOff val="25000"/>
                  </a:schemeClr>
                </a:solidFill>
              </a:defRPr>
            </a:lvl1pPr>
          </a:lstStyle>
          <a:p>
            <a:pPr lvl="0"/>
            <a:r>
              <a:rPr lang="en-US" dirty="0"/>
              <a:t>Insert item</a:t>
            </a:r>
          </a:p>
        </p:txBody>
      </p:sp>
      <p:sp>
        <p:nvSpPr>
          <p:cNvPr id="8" name="Content Placeholder 5"/>
          <p:cNvSpPr>
            <a:spLocks noGrp="1"/>
          </p:cNvSpPr>
          <p:nvPr>
            <p:ph sz="quarter" idx="13" hasCustomPrompt="1"/>
          </p:nvPr>
        </p:nvSpPr>
        <p:spPr>
          <a:xfrm>
            <a:off x="7124700" y="2714626"/>
            <a:ext cx="1609725" cy="495300"/>
          </a:xfrm>
        </p:spPr>
        <p:txBody>
          <a:bodyPr>
            <a:normAutofit/>
          </a:bodyPr>
          <a:lstStyle>
            <a:lvl1pPr marL="0" indent="0" algn="ctr">
              <a:buNone/>
              <a:defRPr sz="2400" baseline="0">
                <a:solidFill>
                  <a:schemeClr val="tx1">
                    <a:lumMod val="75000"/>
                    <a:lumOff val="25000"/>
                  </a:schemeClr>
                </a:solidFill>
              </a:defRPr>
            </a:lvl1pPr>
          </a:lstStyle>
          <a:p>
            <a:pPr lvl="0"/>
            <a:r>
              <a:rPr lang="en-US" dirty="0"/>
              <a:t>Insert item</a:t>
            </a:r>
          </a:p>
        </p:txBody>
      </p:sp>
      <p:sp>
        <p:nvSpPr>
          <p:cNvPr id="9" name="Content Placeholder 5"/>
          <p:cNvSpPr>
            <a:spLocks noGrp="1"/>
          </p:cNvSpPr>
          <p:nvPr>
            <p:ph sz="quarter" idx="14" hasCustomPrompt="1"/>
          </p:nvPr>
        </p:nvSpPr>
        <p:spPr>
          <a:xfrm>
            <a:off x="4105275" y="4610102"/>
            <a:ext cx="1609725" cy="495300"/>
          </a:xfrm>
        </p:spPr>
        <p:txBody>
          <a:bodyPr>
            <a:normAutofit/>
          </a:bodyPr>
          <a:lstStyle>
            <a:lvl1pPr marL="0" indent="0" algn="ctr">
              <a:buNone/>
              <a:defRPr sz="2400" baseline="0">
                <a:solidFill>
                  <a:schemeClr val="tx1">
                    <a:lumMod val="75000"/>
                    <a:lumOff val="25000"/>
                  </a:schemeClr>
                </a:solidFill>
              </a:defRPr>
            </a:lvl1pPr>
          </a:lstStyle>
          <a:p>
            <a:pPr lvl="0"/>
            <a:r>
              <a:rPr lang="en-US" dirty="0"/>
              <a:t>Insert item</a:t>
            </a:r>
          </a:p>
        </p:txBody>
      </p:sp>
      <p:sp>
        <p:nvSpPr>
          <p:cNvPr id="10" name="Content Placeholder 5"/>
          <p:cNvSpPr>
            <a:spLocks noGrp="1"/>
          </p:cNvSpPr>
          <p:nvPr>
            <p:ph sz="quarter" idx="15" hasCustomPrompt="1"/>
          </p:nvPr>
        </p:nvSpPr>
        <p:spPr>
          <a:xfrm>
            <a:off x="3467100" y="2714626"/>
            <a:ext cx="1609725" cy="495300"/>
          </a:xfrm>
        </p:spPr>
        <p:txBody>
          <a:bodyPr>
            <a:normAutofit/>
          </a:bodyPr>
          <a:lstStyle>
            <a:lvl1pPr marL="0" indent="0" algn="ctr">
              <a:buNone/>
              <a:defRPr sz="2400" baseline="0">
                <a:solidFill>
                  <a:schemeClr val="tx1">
                    <a:lumMod val="75000"/>
                    <a:lumOff val="25000"/>
                  </a:schemeClr>
                </a:solidFill>
              </a:defRPr>
            </a:lvl1pPr>
          </a:lstStyle>
          <a:p>
            <a:pPr lvl="0"/>
            <a:r>
              <a:rPr lang="en-US" dirty="0"/>
              <a:t>Insert item</a:t>
            </a:r>
          </a:p>
        </p:txBody>
      </p:sp>
      <p:pic>
        <p:nvPicPr>
          <p:cNvPr id="11" name="Picture 10">
            <a:extLst>
              <a:ext uri="{FF2B5EF4-FFF2-40B4-BE49-F238E27FC236}">
                <a16:creationId xmlns:a16="http://schemas.microsoft.com/office/drawing/2014/main" id="{A85F03AC-890A-4A04-A5B7-218C5F4F7B63}"/>
              </a:ext>
            </a:extLst>
          </p:cNvPr>
          <p:cNvPicPr/>
          <p:nvPr userDrawn="1"/>
        </p:nvPicPr>
        <p:blipFill>
          <a:blip r:embed="rId3"/>
          <a:stretch>
            <a:fillRect/>
          </a:stretch>
        </p:blipFill>
        <p:spPr>
          <a:xfrm>
            <a:off x="10187649" y="6337275"/>
            <a:ext cx="1488414" cy="399548"/>
          </a:xfrm>
          <a:prstGeom prst="rect">
            <a:avLst/>
          </a:prstGeom>
        </p:spPr>
      </p:pic>
    </p:spTree>
    <p:extLst>
      <p:ext uri="{BB962C8B-B14F-4D97-AF65-F5344CB8AC3E}">
        <p14:creationId xmlns:p14="http://schemas.microsoft.com/office/powerpoint/2010/main" val="29363225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tress numbers">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p:cNvSpPr>
            <a:spLocks noGrp="1"/>
          </p:cNvSpPr>
          <p:nvPr>
            <p:ph type="sldNum" sz="quarter" idx="12"/>
          </p:nvPr>
        </p:nvSpPr>
        <p:spPr/>
        <p:txBody>
          <a:bodyPr/>
          <a:lstStyle/>
          <a:p>
            <a:fld id="{D4E6D71C-ACD7-49D2-9689-F9C4024FAC38}" type="slidenum">
              <a:rPr lang="en-US" smtClean="0"/>
              <a:t>‹#›</a:t>
            </a:fld>
            <a:endParaRPr lang="en-US" dirty="0"/>
          </a:p>
        </p:txBody>
      </p:sp>
      <p:sp>
        <p:nvSpPr>
          <p:cNvPr id="19" name="Content Placeholder 18"/>
          <p:cNvSpPr>
            <a:spLocks noGrp="1"/>
          </p:cNvSpPr>
          <p:nvPr>
            <p:ph sz="quarter" idx="16" hasCustomPrompt="1"/>
          </p:nvPr>
        </p:nvSpPr>
        <p:spPr>
          <a:xfrm>
            <a:off x="5476873" y="1089654"/>
            <a:ext cx="3995739" cy="1080928"/>
          </a:xfrm>
        </p:spPr>
        <p:txBody>
          <a:bodyPr/>
          <a:lstStyle>
            <a:lvl1pPr marL="0" indent="0">
              <a:buNone/>
              <a:defRPr b="1">
                <a:solidFill>
                  <a:schemeClr val="bg1"/>
                </a:solidFill>
              </a:defRPr>
            </a:lvl1pPr>
          </a:lstStyle>
          <a:p>
            <a:r>
              <a:rPr lang="en-US" dirty="0"/>
              <a:t>LOREM IPSUM DOLOR SIT AMET</a:t>
            </a:r>
          </a:p>
        </p:txBody>
      </p:sp>
      <p:sp>
        <p:nvSpPr>
          <p:cNvPr id="20" name="Content Placeholder 18"/>
          <p:cNvSpPr>
            <a:spLocks noGrp="1"/>
          </p:cNvSpPr>
          <p:nvPr>
            <p:ph sz="quarter" idx="17" hasCustomPrompt="1"/>
          </p:nvPr>
        </p:nvSpPr>
        <p:spPr>
          <a:xfrm>
            <a:off x="5476872" y="2916714"/>
            <a:ext cx="3995739" cy="1080928"/>
          </a:xfrm>
        </p:spPr>
        <p:txBody>
          <a:bodyPr/>
          <a:lstStyle>
            <a:lvl1pPr marL="0" indent="0">
              <a:buNone/>
              <a:defRPr b="1">
                <a:solidFill>
                  <a:schemeClr val="bg1"/>
                </a:solidFill>
              </a:defRPr>
            </a:lvl1pPr>
          </a:lstStyle>
          <a:p>
            <a:r>
              <a:rPr lang="en-US" dirty="0"/>
              <a:t>LOREM IPSUM DOLOR SIT AMET</a:t>
            </a:r>
          </a:p>
        </p:txBody>
      </p:sp>
      <p:sp>
        <p:nvSpPr>
          <p:cNvPr id="21" name="Content Placeholder 18"/>
          <p:cNvSpPr>
            <a:spLocks noGrp="1"/>
          </p:cNvSpPr>
          <p:nvPr>
            <p:ph sz="quarter" idx="18" hasCustomPrompt="1"/>
          </p:nvPr>
        </p:nvSpPr>
        <p:spPr>
          <a:xfrm>
            <a:off x="5476871" y="4672338"/>
            <a:ext cx="3995739" cy="1080928"/>
          </a:xfrm>
        </p:spPr>
        <p:txBody>
          <a:bodyPr/>
          <a:lstStyle>
            <a:lvl1pPr marL="0" indent="0">
              <a:buNone/>
              <a:defRPr b="1">
                <a:solidFill>
                  <a:schemeClr val="bg1"/>
                </a:solidFill>
              </a:defRPr>
            </a:lvl1pPr>
          </a:lstStyle>
          <a:p>
            <a:r>
              <a:rPr lang="en-US" dirty="0"/>
              <a:t>LOREM IPSUM DOLOR SIT AMET</a:t>
            </a:r>
          </a:p>
        </p:txBody>
      </p:sp>
      <p:sp>
        <p:nvSpPr>
          <p:cNvPr id="9" name="Content Placeholder 8"/>
          <p:cNvSpPr>
            <a:spLocks noGrp="1"/>
          </p:cNvSpPr>
          <p:nvPr>
            <p:ph sz="quarter" idx="19" hasCustomPrompt="1"/>
          </p:nvPr>
        </p:nvSpPr>
        <p:spPr>
          <a:xfrm>
            <a:off x="3298825" y="1089025"/>
            <a:ext cx="1957388" cy="1079500"/>
          </a:xfrm>
        </p:spPr>
        <p:txBody>
          <a:bodyPr>
            <a:noAutofit/>
          </a:bodyPr>
          <a:lstStyle>
            <a:lvl1pPr marL="0" indent="0" algn="ctr">
              <a:buNone/>
              <a:defRPr sz="8000" b="1">
                <a:solidFill>
                  <a:schemeClr val="bg1"/>
                </a:solidFill>
              </a:defRPr>
            </a:lvl1pPr>
          </a:lstStyle>
          <a:p>
            <a:pPr lvl="0"/>
            <a:r>
              <a:rPr lang="en-US" dirty="0"/>
              <a:t>111</a:t>
            </a:r>
          </a:p>
        </p:txBody>
      </p:sp>
      <p:sp>
        <p:nvSpPr>
          <p:cNvPr id="18" name="Content Placeholder 8"/>
          <p:cNvSpPr>
            <a:spLocks noGrp="1"/>
          </p:cNvSpPr>
          <p:nvPr>
            <p:ph sz="quarter" idx="20" hasCustomPrompt="1"/>
          </p:nvPr>
        </p:nvSpPr>
        <p:spPr>
          <a:xfrm>
            <a:off x="3298825" y="2918142"/>
            <a:ext cx="1957388" cy="1079500"/>
          </a:xfrm>
        </p:spPr>
        <p:txBody>
          <a:bodyPr>
            <a:noAutofit/>
          </a:bodyPr>
          <a:lstStyle>
            <a:lvl1pPr marL="0" indent="0" algn="ctr">
              <a:buNone/>
              <a:defRPr sz="8000" b="1">
                <a:solidFill>
                  <a:schemeClr val="bg1"/>
                </a:solidFill>
              </a:defRPr>
            </a:lvl1pPr>
          </a:lstStyle>
          <a:p>
            <a:pPr lvl="0"/>
            <a:r>
              <a:rPr lang="en-US" dirty="0"/>
              <a:t>111</a:t>
            </a:r>
          </a:p>
        </p:txBody>
      </p:sp>
      <p:sp>
        <p:nvSpPr>
          <p:cNvPr id="22" name="Content Placeholder 8"/>
          <p:cNvSpPr>
            <a:spLocks noGrp="1"/>
          </p:cNvSpPr>
          <p:nvPr>
            <p:ph sz="quarter" idx="21" hasCustomPrompt="1"/>
          </p:nvPr>
        </p:nvSpPr>
        <p:spPr>
          <a:xfrm>
            <a:off x="3298825" y="4672338"/>
            <a:ext cx="1957388" cy="1079500"/>
          </a:xfrm>
        </p:spPr>
        <p:txBody>
          <a:bodyPr>
            <a:noAutofit/>
          </a:bodyPr>
          <a:lstStyle>
            <a:lvl1pPr marL="0" indent="0" algn="ctr">
              <a:buNone/>
              <a:defRPr sz="8000" b="1">
                <a:solidFill>
                  <a:schemeClr val="bg1"/>
                </a:solidFill>
              </a:defRPr>
            </a:lvl1pPr>
          </a:lstStyle>
          <a:p>
            <a:pPr lvl="0"/>
            <a:r>
              <a:rPr lang="en-US" dirty="0"/>
              <a:t>111</a:t>
            </a:r>
          </a:p>
        </p:txBody>
      </p:sp>
    </p:spTree>
    <p:extLst>
      <p:ext uri="{BB962C8B-B14F-4D97-AF65-F5344CB8AC3E}">
        <p14:creationId xmlns:p14="http://schemas.microsoft.com/office/powerpoint/2010/main" val="940171369"/>
      </p:ext>
    </p:extLst>
  </p:cSld>
  <p:clrMapOvr>
    <a:masterClrMapping/>
  </p:clrMapOvr>
  <p:extLst mod="1">
    <p:ext uri="{DCECCB84-F9BA-43D5-87BE-67443E8EF086}">
      <p15:sldGuideLst xmlns:p15="http://schemas.microsoft.com/office/powerpoint/2012/main">
        <p15:guide id="1" pos="3318" userDrawn="1">
          <p15:clr>
            <a:srgbClr val="FBAE40"/>
          </p15:clr>
        </p15:guide>
        <p15:guide id="2" orient="horz" pos="136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26.xml"/><Relationship Id="rId7" Type="http://schemas.openxmlformats.org/officeDocument/2006/relationships/tags" Target="../tags/tag1.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vmlDrawing" Target="../drawings/vmlDrawing1.vml"/><Relationship Id="rId5" Type="http://schemas.openxmlformats.org/officeDocument/2006/relationships/theme" Target="../theme/theme2.xml"/><Relationship Id="rId10" Type="http://schemas.openxmlformats.org/officeDocument/2006/relationships/image" Target="../media/image9.jpg"/><Relationship Id="rId4" Type="http://schemas.openxmlformats.org/officeDocument/2006/relationships/slideLayout" Target="../slideLayouts/slideLayout27.xml"/><Relationship Id="rId9" Type="http://schemas.openxmlformats.org/officeDocument/2006/relationships/image" Target="../media/image8.emf"/></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0.xml"/><Relationship Id="rId7" Type="http://schemas.openxmlformats.org/officeDocument/2006/relationships/vmlDrawing" Target="../drawings/vmlDrawing3.v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heme" Target="../theme/theme3.xml"/><Relationship Id="rId11" Type="http://schemas.openxmlformats.org/officeDocument/2006/relationships/image" Target="../media/image20.emf"/><Relationship Id="rId5" Type="http://schemas.openxmlformats.org/officeDocument/2006/relationships/slideLayout" Target="../slideLayouts/slideLayout32.xml"/><Relationship Id="rId10" Type="http://schemas.openxmlformats.org/officeDocument/2006/relationships/oleObject" Target="../embeddings/oleObject3.bin"/><Relationship Id="rId4" Type="http://schemas.openxmlformats.org/officeDocument/2006/relationships/slideLayout" Target="../slideLayouts/slideLayout31.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3254" y="283937"/>
            <a:ext cx="10693400" cy="962025"/>
          </a:xfrm>
          <a:prstGeom prst="rect">
            <a:avLst/>
          </a:prstGeom>
        </p:spPr>
        <p:txBody>
          <a:bodyPr vert="horz" lIns="91440" tIns="45720" rIns="91440" bIns="45720" rtlCol="0" anchor="ctr">
            <a:noAutofit/>
          </a:bodyPr>
          <a:lstStyle/>
          <a:p>
            <a:r>
              <a:rPr lang="en-US"/>
              <a:t>Click to edit Master title style</a:t>
            </a:r>
            <a:endParaRPr lang="en-IE" dirty="0"/>
          </a:p>
        </p:txBody>
      </p:sp>
      <p:sp>
        <p:nvSpPr>
          <p:cNvPr id="3" name="Text Placeholder 2"/>
          <p:cNvSpPr>
            <a:spLocks noGrp="1"/>
          </p:cNvSpPr>
          <p:nvPr>
            <p:ph type="body" idx="1"/>
          </p:nvPr>
        </p:nvSpPr>
        <p:spPr>
          <a:xfrm>
            <a:off x="423253" y="1998481"/>
            <a:ext cx="11252809" cy="431024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E" dirty="0"/>
          </a:p>
        </p:txBody>
      </p:sp>
      <p:sp>
        <p:nvSpPr>
          <p:cNvPr id="6" name="Slide Number Placeholder 5"/>
          <p:cNvSpPr>
            <a:spLocks noGrp="1"/>
          </p:cNvSpPr>
          <p:nvPr>
            <p:ph type="sldNum" sz="quarter" idx="4"/>
          </p:nvPr>
        </p:nvSpPr>
        <p:spPr>
          <a:xfrm>
            <a:off x="11676063" y="6322523"/>
            <a:ext cx="445028" cy="322706"/>
          </a:xfrm>
          <a:prstGeom prst="rect">
            <a:avLst/>
          </a:prstGeom>
        </p:spPr>
        <p:txBody>
          <a:bodyPr vert="horz" lIns="91440" tIns="45720" rIns="91440" bIns="45720" rtlCol="0" anchor="ctr"/>
          <a:lstStyle>
            <a:lvl1pPr algn="l">
              <a:defRPr sz="1100" b="1">
                <a:solidFill>
                  <a:schemeClr val="tx1">
                    <a:lumMod val="75000"/>
                    <a:lumOff val="25000"/>
                  </a:schemeClr>
                </a:solidFill>
              </a:defRPr>
            </a:lvl1pPr>
          </a:lstStyle>
          <a:p>
            <a:fld id="{D4E6D71C-ACD7-49D2-9689-F9C4024FAC38}" type="slidenum">
              <a:rPr lang="en-IE" smtClean="0"/>
              <a:pPr/>
              <a:t>‹#›</a:t>
            </a:fld>
            <a:endParaRPr lang="en-IE" dirty="0"/>
          </a:p>
        </p:txBody>
      </p:sp>
    </p:spTree>
    <p:extLst>
      <p:ext uri="{BB962C8B-B14F-4D97-AF65-F5344CB8AC3E}">
        <p14:creationId xmlns:p14="http://schemas.microsoft.com/office/powerpoint/2010/main" val="538904863"/>
      </p:ext>
    </p:extLst>
  </p:cSld>
  <p:clrMap bg1="lt1" tx1="dk1" bg2="lt2" tx2="dk2" accent1="accent1" accent2="accent2" accent3="accent3" accent4="accent4" accent5="accent5" accent6="accent6" hlink="hlink" folHlink="folHlink"/>
  <p:sldLayoutIdLst>
    <p:sldLayoutId id="2147483658" r:id="rId1"/>
    <p:sldLayoutId id="2147483649" r:id="rId2"/>
    <p:sldLayoutId id="2147483672" r:id="rId3"/>
    <p:sldLayoutId id="2147483661" r:id="rId4"/>
    <p:sldLayoutId id="2147483670" r:id="rId5"/>
    <p:sldLayoutId id="2147483674" r:id="rId6"/>
    <p:sldLayoutId id="2147483677" r:id="rId7"/>
    <p:sldLayoutId id="2147483671" r:id="rId8"/>
    <p:sldLayoutId id="2147483651" r:id="rId9"/>
    <p:sldLayoutId id="2147483668" r:id="rId10"/>
    <p:sldLayoutId id="2147483678" r:id="rId11"/>
    <p:sldLayoutId id="2147483679" r:id="rId12"/>
    <p:sldLayoutId id="2147483654" r:id="rId13"/>
    <p:sldLayoutId id="2147483663" r:id="rId14"/>
    <p:sldLayoutId id="2147483675" r:id="rId15"/>
    <p:sldLayoutId id="2147483676" r:id="rId16"/>
    <p:sldLayoutId id="2147483657" r:id="rId17"/>
    <p:sldLayoutId id="2147483660" r:id="rId18"/>
    <p:sldLayoutId id="2147483680" r:id="rId19"/>
    <p:sldLayoutId id="2147483681" r:id="rId20"/>
    <p:sldLayoutId id="2147483682" r:id="rId21"/>
    <p:sldLayoutId id="2147483673" r:id="rId22"/>
    <p:sldLayoutId id="2147483665" r:id="rId23"/>
  </p:sldLayoutIdLst>
  <p:hf hdr="0" dt="0"/>
  <p:txStyles>
    <p:titleStyle>
      <a:lvl1pPr algn="l" defTabSz="914400" rtl="0" eaLnBrk="1" latinLnBrk="0" hangingPunct="1">
        <a:lnSpc>
          <a:spcPct val="90000"/>
        </a:lnSpc>
        <a:spcBef>
          <a:spcPct val="0"/>
        </a:spcBef>
        <a:buNone/>
        <a:defRPr sz="4000" b="1" kern="1200">
          <a:solidFill>
            <a:schemeClr val="tx1"/>
          </a:solidFill>
          <a:latin typeface="Century Gothic" panose="020B0502020202020204" pitchFamily="34" charset="0"/>
          <a:ea typeface="+mj-ea"/>
          <a:cs typeface="+mj-cs"/>
        </a:defRPr>
      </a:lvl1pPr>
    </p:titleStyle>
    <p:bodyStyle>
      <a:lvl1pPr marL="0" indent="0" algn="l" defTabSz="914400" rtl="0" eaLnBrk="1" latinLnBrk="0" hangingPunct="1">
        <a:lnSpc>
          <a:spcPct val="90000"/>
        </a:lnSpc>
        <a:spcBef>
          <a:spcPts val="1000"/>
        </a:spcBef>
        <a:buFontTx/>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46" userDrawn="1">
          <p15:clr>
            <a:srgbClr val="F26B43"/>
          </p15:clr>
        </p15:guide>
        <p15:guide id="2" pos="7355" userDrawn="1">
          <p15:clr>
            <a:srgbClr val="F26B43"/>
          </p15:clr>
        </p15:guide>
        <p15:guide id="3" pos="325" userDrawn="1">
          <p15:clr>
            <a:srgbClr val="F26B43"/>
          </p15:clr>
        </p15:guide>
        <p15:guide id="4" orient="horz" pos="397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7"/>
            </p:custDataLs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3089" name="think-cell Slide" r:id="rId8" imgW="270" imgH="270" progId="TCLayout.ActiveDocument.1">
                  <p:embed/>
                </p:oleObj>
              </mc:Choice>
              <mc:Fallback>
                <p:oleObj name="think-cell Slide" r:id="rId8" imgW="270" imgH="270" progId="TCLayout.ActiveDocument.1">
                  <p:embed/>
                  <p:pic>
                    <p:nvPicPr>
                      <p:cNvPr id="4" name="Object 3" hidden="1"/>
                      <p:cNvPicPr/>
                      <p:nvPr/>
                    </p:nvPicPr>
                    <p:blipFill>
                      <a:blip r:embed="rId9"/>
                      <a:stretch>
                        <a:fillRect/>
                      </a:stretch>
                    </p:blipFill>
                    <p:spPr>
                      <a:xfrm>
                        <a:off x="1955" y="1589"/>
                        <a:ext cx="1953" cy="1587"/>
                      </a:xfrm>
                      <a:prstGeom prst="rect">
                        <a:avLst/>
                      </a:prstGeom>
                    </p:spPr>
                  </p:pic>
                </p:oleObj>
              </mc:Fallback>
            </mc:AlternateContent>
          </a:graphicData>
        </a:graphic>
      </p:graphicFrame>
      <p:pic>
        <p:nvPicPr>
          <p:cNvPr id="46" name="Picture 45"/>
          <p:cNvPicPr>
            <a:picLocks noChangeAspect="1"/>
          </p:cNvPicPr>
          <p:nvPr userDrawn="1"/>
        </p:nvPicPr>
        <p:blipFill>
          <a:blip r:embed="rId10"/>
          <a:stretch>
            <a:fillRect/>
          </a:stretch>
        </p:blipFill>
        <p:spPr>
          <a:xfrm>
            <a:off x="0" y="1"/>
            <a:ext cx="12192000" cy="833755"/>
          </a:xfrm>
          <a:prstGeom prst="rect">
            <a:avLst/>
          </a:prstGeom>
        </p:spPr>
      </p:pic>
      <p:sp>
        <p:nvSpPr>
          <p:cNvPr id="2" name="Espace réservé du numéro de diapositive 1"/>
          <p:cNvSpPr>
            <a:spLocks noGrp="1"/>
          </p:cNvSpPr>
          <p:nvPr>
            <p:ph type="sldNum" sz="quarter" idx="4"/>
          </p:nvPr>
        </p:nvSpPr>
        <p:spPr>
          <a:xfrm>
            <a:off x="11260270" y="6553201"/>
            <a:ext cx="819105" cy="273089"/>
          </a:xfrm>
          <a:prstGeom prst="rect">
            <a:avLst/>
          </a:prstGeom>
        </p:spPr>
        <p:txBody>
          <a:bodyPr vert="horz" lIns="91440" tIns="45720" rIns="91440" bIns="45720" rtlCol="0" anchor="ctr"/>
          <a:lstStyle>
            <a:lvl1pPr algn="r">
              <a:defRPr sz="900" b="0">
                <a:solidFill>
                  <a:schemeClr val="bg1">
                    <a:lumMod val="50000"/>
                  </a:schemeClr>
                </a:solidFill>
                <a:latin typeface="+mn-lt"/>
                <a:ea typeface="Arial Unicode MS" panose="020B0604020202020204" pitchFamily="34" charset="-128"/>
                <a:cs typeface="Arial Unicode MS" panose="020B0604020202020204" pitchFamily="34" charset="-128"/>
              </a:defRPr>
            </a:lvl1pPr>
          </a:lstStyle>
          <a:p>
            <a:pPr fontAlgn="base">
              <a:spcBef>
                <a:spcPct val="0"/>
              </a:spcBef>
              <a:spcAft>
                <a:spcPct val="0"/>
              </a:spcAft>
            </a:pPr>
            <a:fld id="{F551322C-20B2-48C3-B63D-68158FEBF630}" type="slidenum">
              <a:rPr lang="en-US" smtClean="0">
                <a:solidFill>
                  <a:srgbClr val="FFFFFF">
                    <a:lumMod val="50000"/>
                  </a:srgbClr>
                </a:solidFill>
              </a:rPr>
              <a:pPr fontAlgn="base">
                <a:spcBef>
                  <a:spcPct val="0"/>
                </a:spcBef>
                <a:spcAft>
                  <a:spcPct val="0"/>
                </a:spcAft>
              </a:pPr>
              <a:t>‹#›</a:t>
            </a:fld>
            <a:endParaRPr lang="en-US" dirty="0">
              <a:solidFill>
                <a:srgbClr val="FFFFFF">
                  <a:lumMod val="50000"/>
                </a:srgbClr>
              </a:solidFill>
            </a:endParaRPr>
          </a:p>
        </p:txBody>
      </p:sp>
      <p:sp>
        <p:nvSpPr>
          <p:cNvPr id="5" name="Title Placeholder 4"/>
          <p:cNvSpPr>
            <a:spLocks noGrp="1"/>
          </p:cNvSpPr>
          <p:nvPr>
            <p:ph type="title"/>
          </p:nvPr>
        </p:nvSpPr>
        <p:spPr>
          <a:xfrm>
            <a:off x="664616" y="108000"/>
            <a:ext cx="10515600" cy="336550"/>
          </a:xfrm>
          <a:prstGeom prst="rect">
            <a:avLst/>
          </a:prstGeom>
        </p:spPr>
        <p:txBody>
          <a:bodyPr vert="horz" lIns="72000" tIns="36000" rIns="72000" bIns="36000" rtlCol="0" anchor="t">
            <a:noAutofit/>
          </a:bodyPr>
          <a:lstStyle/>
          <a:p>
            <a:pPr lvl="0"/>
            <a:r>
              <a:rPr lang="en-US" dirty="0"/>
              <a:t>Click to edit Master title style</a:t>
            </a:r>
            <a:endParaRPr lang="nl-NL" dirty="0"/>
          </a:p>
        </p:txBody>
      </p:sp>
      <p:sp>
        <p:nvSpPr>
          <p:cNvPr id="3" name="Text Placeholder 2"/>
          <p:cNvSpPr>
            <a:spLocks noGrp="1"/>
          </p:cNvSpPr>
          <p:nvPr>
            <p:ph type="body" idx="1"/>
          </p:nvPr>
        </p:nvSpPr>
        <p:spPr>
          <a:xfrm>
            <a:off x="664614" y="1080000"/>
            <a:ext cx="11076923" cy="4351338"/>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l-NL" dirty="0"/>
          </a:p>
        </p:txBody>
      </p:sp>
    </p:spTree>
    <p:extLst>
      <p:ext uri="{BB962C8B-B14F-4D97-AF65-F5344CB8AC3E}">
        <p14:creationId xmlns:p14="http://schemas.microsoft.com/office/powerpoint/2010/main" val="3437299421"/>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Lst>
  <p:hf hdr="0"/>
  <p:txStyles>
    <p:titleStyle>
      <a:lvl1pPr marL="0" indent="0" algn="l" rtl="0" eaLnBrk="1" fontAlgn="base" hangingPunct="1">
        <a:spcBef>
          <a:spcPct val="0"/>
        </a:spcBef>
        <a:spcAft>
          <a:spcPct val="0"/>
        </a:spcAft>
        <a:defRPr lang="en-US" sz="1600" b="1" dirty="0">
          <a:solidFill>
            <a:schemeClr val="accent3">
              <a:lumMod val="75000"/>
            </a:schemeClr>
          </a:solidFill>
          <a:latin typeface="+mj-lt"/>
          <a:ea typeface="Arial Unicode MS" panose="020B0604020202020204" pitchFamily="34" charset="-128"/>
          <a:cs typeface="Arial Unicode MS" panose="020B0604020202020204" pitchFamily="34" charset="-128"/>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84" algn="l" rtl="0" eaLnBrk="1" fontAlgn="base" hangingPunct="1">
        <a:spcBef>
          <a:spcPct val="0"/>
        </a:spcBef>
        <a:spcAft>
          <a:spcPct val="0"/>
        </a:spcAft>
        <a:defRPr sz="1600">
          <a:solidFill>
            <a:schemeClr val="bg2"/>
          </a:solidFill>
          <a:latin typeface="+mj-lt"/>
        </a:defRPr>
      </a:lvl6pPr>
      <a:lvl7pPr marL="880567" algn="ctr" rtl="0" eaLnBrk="1" fontAlgn="base" hangingPunct="1">
        <a:spcBef>
          <a:spcPct val="0"/>
        </a:spcBef>
        <a:spcAft>
          <a:spcPct val="0"/>
        </a:spcAft>
        <a:defRPr sz="1600">
          <a:solidFill>
            <a:schemeClr val="bg2"/>
          </a:solidFill>
          <a:latin typeface="+mj-lt"/>
        </a:defRPr>
      </a:lvl7pPr>
      <a:lvl8pPr marL="1320851" algn="ctr" rtl="0" eaLnBrk="1" fontAlgn="base" hangingPunct="1">
        <a:spcBef>
          <a:spcPct val="0"/>
        </a:spcBef>
        <a:spcAft>
          <a:spcPct val="0"/>
        </a:spcAft>
        <a:defRPr sz="1600">
          <a:solidFill>
            <a:schemeClr val="bg2"/>
          </a:solidFill>
          <a:latin typeface="+mj-lt"/>
        </a:defRPr>
      </a:lvl8pPr>
      <a:lvl9pPr marL="1761134"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
          <a:schemeClr val="bg1"/>
        </a:buClr>
        <a:buSzPct val="120000"/>
        <a:buFont typeface="Arial" panose="020B0604020202020204" pitchFamily="34" charset="0"/>
        <a:buNone/>
        <a:defRPr sz="1400" b="0">
          <a:solidFill>
            <a:schemeClr val="accent3">
              <a:lumMod val="75000"/>
            </a:schemeClr>
          </a:solidFill>
          <a:latin typeface="+mn-lt"/>
          <a:ea typeface="Arial Unicode MS" panose="020B0604020202020204" pitchFamily="34" charset="-128"/>
          <a:cs typeface="Arial Unicode MS" panose="020B0604020202020204" pitchFamily="34" charset="-128"/>
        </a:defRPr>
      </a:lvl1pPr>
      <a:lvl2pPr marL="285750" marR="0" indent="-285750" algn="l" defTabSz="914400" rtl="0" eaLnBrk="1" fontAlgn="base" latinLnBrk="0" hangingPunct="1">
        <a:lnSpc>
          <a:spcPct val="100000"/>
        </a:lnSpc>
        <a:spcBef>
          <a:spcPts val="400"/>
        </a:spcBef>
        <a:spcAft>
          <a:spcPct val="0"/>
        </a:spcAft>
        <a:buClr>
          <a:schemeClr val="accent3">
            <a:lumMod val="75000"/>
          </a:schemeClr>
        </a:buClr>
        <a:buSzPct val="70000"/>
        <a:buFont typeface="Wingdings" panose="05000000000000000000" pitchFamily="2" charset="2"/>
        <a:buChar char="l"/>
        <a:tabLst/>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3pPr>
      <a:lvl4pPr marL="806450" indent="-266700" algn="l" rtl="0" eaLnBrk="1" fontAlgn="base" hangingPunct="1">
        <a:spcBef>
          <a:spcPts val="400"/>
        </a:spcBef>
        <a:spcAft>
          <a:spcPct val="0"/>
        </a:spcAft>
        <a:buClrTx/>
        <a:buFont typeface="Courier New" panose="02070309020205020404" pitchFamily="49" charset="0"/>
        <a:buChar char="o"/>
        <a:defRPr sz="11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4pPr>
      <a:lvl5pPr marL="1111250" indent="-292100" algn="l" rtl="0" eaLnBrk="1" fontAlgn="base" hangingPunct="1">
        <a:spcBef>
          <a:spcPts val="400"/>
        </a:spcBef>
        <a:spcAft>
          <a:spcPct val="0"/>
        </a:spcAft>
        <a:buClrTx/>
        <a:buFont typeface="Courier New" panose="02070309020205020404" pitchFamily="49" charset="0"/>
        <a:buChar char="o"/>
        <a:defRPr sz="11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Courier New" panose="02070309020205020404" pitchFamily="49" charset="0"/>
        <a:buChar char="o"/>
        <a:defRPr sz="14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84" rtl="0" eaLnBrk="1" latinLnBrk="0" hangingPunct="1">
        <a:defRPr sz="1733" kern="1200">
          <a:solidFill>
            <a:schemeClr val="tx1"/>
          </a:solidFill>
          <a:latin typeface="+mn-lt"/>
          <a:ea typeface="+mn-ea"/>
          <a:cs typeface="+mn-cs"/>
        </a:defRPr>
      </a:lvl1pPr>
      <a:lvl2pPr marL="440284" algn="l" defTabSz="440284" rtl="0" eaLnBrk="1" latinLnBrk="0" hangingPunct="1">
        <a:defRPr sz="1733" kern="1200">
          <a:solidFill>
            <a:schemeClr val="tx1"/>
          </a:solidFill>
          <a:latin typeface="+mn-lt"/>
          <a:ea typeface="+mn-ea"/>
          <a:cs typeface="+mn-cs"/>
        </a:defRPr>
      </a:lvl2pPr>
      <a:lvl3pPr marL="880567" algn="l" defTabSz="440284" rtl="0" eaLnBrk="1" latinLnBrk="0" hangingPunct="1">
        <a:defRPr sz="1733" kern="1200">
          <a:solidFill>
            <a:schemeClr val="tx1"/>
          </a:solidFill>
          <a:latin typeface="+mn-lt"/>
          <a:ea typeface="+mn-ea"/>
          <a:cs typeface="+mn-cs"/>
        </a:defRPr>
      </a:lvl3pPr>
      <a:lvl4pPr marL="1320851" algn="l" defTabSz="440284" rtl="0" eaLnBrk="1" latinLnBrk="0" hangingPunct="1">
        <a:defRPr sz="1733" kern="1200">
          <a:solidFill>
            <a:schemeClr val="tx1"/>
          </a:solidFill>
          <a:latin typeface="+mn-lt"/>
          <a:ea typeface="+mn-ea"/>
          <a:cs typeface="+mn-cs"/>
        </a:defRPr>
      </a:lvl4pPr>
      <a:lvl5pPr marL="1761134" algn="l" defTabSz="440284" rtl="0" eaLnBrk="1" latinLnBrk="0" hangingPunct="1">
        <a:defRPr sz="1733" kern="1200">
          <a:solidFill>
            <a:schemeClr val="tx1"/>
          </a:solidFill>
          <a:latin typeface="+mn-lt"/>
          <a:ea typeface="+mn-ea"/>
          <a:cs typeface="+mn-cs"/>
        </a:defRPr>
      </a:lvl5pPr>
      <a:lvl6pPr marL="2201418" algn="l" defTabSz="440284" rtl="0" eaLnBrk="1" latinLnBrk="0" hangingPunct="1">
        <a:defRPr sz="1733" kern="1200">
          <a:solidFill>
            <a:schemeClr val="tx1"/>
          </a:solidFill>
          <a:latin typeface="+mn-lt"/>
          <a:ea typeface="+mn-ea"/>
          <a:cs typeface="+mn-cs"/>
        </a:defRPr>
      </a:lvl6pPr>
      <a:lvl7pPr marL="2641702" algn="l" defTabSz="440284" rtl="0" eaLnBrk="1" latinLnBrk="0" hangingPunct="1">
        <a:defRPr sz="1733" kern="1200">
          <a:solidFill>
            <a:schemeClr val="tx1"/>
          </a:solidFill>
          <a:latin typeface="+mn-lt"/>
          <a:ea typeface="+mn-ea"/>
          <a:cs typeface="+mn-cs"/>
        </a:defRPr>
      </a:lvl7pPr>
      <a:lvl8pPr marL="3081985" algn="l" defTabSz="440284" rtl="0" eaLnBrk="1" latinLnBrk="0" hangingPunct="1">
        <a:defRPr sz="1733" kern="1200">
          <a:solidFill>
            <a:schemeClr val="tx1"/>
          </a:solidFill>
          <a:latin typeface="+mn-lt"/>
          <a:ea typeface="+mn-ea"/>
          <a:cs typeface="+mn-cs"/>
        </a:defRPr>
      </a:lvl8pPr>
      <a:lvl9pPr marL="3522269" algn="l" defTabSz="440284" rtl="0" eaLnBrk="1" latinLnBrk="0" hangingPunct="1">
        <a:defRPr sz="173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31372" y="243398"/>
            <a:ext cx="10515600" cy="540000"/>
          </a:xfrm>
          <a:prstGeom prst="rect">
            <a:avLst/>
          </a:prstGeom>
        </p:spPr>
        <p:txBody>
          <a:bodyPr vert="horz" lIns="91440" tIns="45720" rIns="91440" bIns="45720" rtlCol="0" anchor="ctr">
            <a:normAutofit/>
          </a:bodyPr>
          <a:lstStyle/>
          <a:p>
            <a:r>
              <a:rPr lang="fr-FR"/>
              <a:t>Modifiez le style du titre</a:t>
            </a:r>
          </a:p>
        </p:txBody>
      </p:sp>
      <p:graphicFrame>
        <p:nvGraphicFramePr>
          <p:cNvPr id="7" name="Object 6" hidden="1"/>
          <p:cNvGraphicFramePr>
            <a:graphicFrameLocks noChangeAspect="1"/>
          </p:cNvGraphicFramePr>
          <p:nvPr userDrawn="1">
            <p:custDataLst>
              <p:tags r:id="rId8"/>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66" name="think-cell Slide" r:id="rId10" imgW="216" imgH="216" progId="TCLayout.ActiveDocument.1">
                  <p:embed/>
                </p:oleObj>
              </mc:Choice>
              <mc:Fallback>
                <p:oleObj name="think-cell Slide" r:id="rId10" imgW="216" imgH="216" progId="TCLayout.ActiveDocument.1">
                  <p:embed/>
                  <p:pic>
                    <p:nvPicPr>
                      <p:cNvPr id="7" name="Object 6" hidden="1"/>
                      <p:cNvPicPr/>
                      <p:nvPr/>
                    </p:nvPicPr>
                    <p:blipFill>
                      <a:blip r:embed="rId11"/>
                      <a:stretch>
                        <a:fillRect/>
                      </a:stretch>
                    </p:blipFill>
                    <p:spPr>
                      <a:xfrm>
                        <a:off x="2118" y="1589"/>
                        <a:ext cx="2116" cy="1587"/>
                      </a:xfrm>
                      <a:prstGeom prst="rect">
                        <a:avLst/>
                      </a:prstGeom>
                    </p:spPr>
                  </p:pic>
                </p:oleObj>
              </mc:Fallback>
            </mc:AlternateContent>
          </a:graphicData>
        </a:graphic>
      </p:graphicFrame>
      <p:cxnSp>
        <p:nvCxnSpPr>
          <p:cNvPr id="8" name="Straight Connector 7"/>
          <p:cNvCxnSpPr/>
          <p:nvPr userDrawn="1"/>
        </p:nvCxnSpPr>
        <p:spPr>
          <a:xfrm>
            <a:off x="631372" y="834998"/>
            <a:ext cx="10979102" cy="0"/>
          </a:xfrm>
          <a:prstGeom prst="line">
            <a:avLst/>
          </a:prstGeom>
          <a:noFill/>
          <a:ln w="19050" cap="flat" cmpd="sng" algn="ctr">
            <a:gradFill flip="none" rotWithShape="1">
              <a:gsLst>
                <a:gs pos="0">
                  <a:srgbClr val="1F497D"/>
                </a:gs>
                <a:gs pos="100000">
                  <a:srgbClr val="FFFFFF">
                    <a:lumMod val="45000"/>
                    <a:lumOff val="55000"/>
                  </a:srgbClr>
                </a:gs>
                <a:gs pos="100000">
                  <a:srgbClr val="FFFFFF">
                    <a:lumMod val="30000"/>
                    <a:lumOff val="70000"/>
                  </a:srgbClr>
                </a:gs>
              </a:gsLst>
              <a:lin ang="8100000" scaled="1"/>
              <a:tileRect/>
            </a:gradFill>
            <a:prstDash val="solid"/>
          </a:ln>
          <a:effectLst/>
          <a:scene3d>
            <a:camera prst="orthographicFront"/>
            <a:lightRig rig="threePt" dir="t"/>
          </a:scene3d>
          <a:sp3d>
            <a:bevelT w="114300" prst="hardEdge"/>
          </a:sp3d>
        </p:spPr>
      </p:cxnSp>
      <p:sp>
        <p:nvSpPr>
          <p:cNvPr id="3" name="Rectangle 2"/>
          <p:cNvSpPr/>
          <p:nvPr userDrawn="1"/>
        </p:nvSpPr>
        <p:spPr>
          <a:xfrm>
            <a:off x="414867" y="6341534"/>
            <a:ext cx="3623733" cy="372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GB" sz="900" dirty="0">
                <a:solidFill>
                  <a:schemeClr val="bg1">
                    <a:lumMod val="50000"/>
                  </a:schemeClr>
                </a:solidFill>
              </a:rPr>
              <a:t>1/07</a:t>
            </a:r>
            <a:r>
              <a:rPr lang="cs-CZ" sz="900" dirty="0">
                <a:solidFill>
                  <a:schemeClr val="bg1">
                    <a:lumMod val="50000"/>
                  </a:schemeClr>
                </a:solidFill>
              </a:rPr>
              <a:t>/2019</a:t>
            </a:r>
          </a:p>
        </p:txBody>
      </p:sp>
      <p:sp>
        <p:nvSpPr>
          <p:cNvPr id="10" name="Rectangle 9"/>
          <p:cNvSpPr/>
          <p:nvPr userDrawn="1"/>
        </p:nvSpPr>
        <p:spPr>
          <a:xfrm>
            <a:off x="4200804" y="6341534"/>
            <a:ext cx="3623733" cy="372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schemeClr val="bg1">
                    <a:lumMod val="50000"/>
                  </a:schemeClr>
                </a:solidFill>
              </a:rPr>
              <a:t>MARI | Manually Activated Reserves Initiative</a:t>
            </a:r>
          </a:p>
        </p:txBody>
      </p:sp>
      <p:sp>
        <p:nvSpPr>
          <p:cNvPr id="11" name="Rectangle 10"/>
          <p:cNvSpPr/>
          <p:nvPr userDrawn="1"/>
        </p:nvSpPr>
        <p:spPr>
          <a:xfrm>
            <a:off x="7986741" y="6341534"/>
            <a:ext cx="3623733" cy="3725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fld id="{FA25EA0F-B928-43B6-A15E-443ED78BE43D}" type="slidenum">
              <a:rPr lang="en-US" sz="900" smtClean="0">
                <a:solidFill>
                  <a:schemeClr val="bg1">
                    <a:lumMod val="50000"/>
                  </a:schemeClr>
                </a:solidFill>
              </a:rPr>
              <a:pPr algn="r"/>
              <a:t>‹#›</a:t>
            </a:fld>
            <a:endParaRPr lang="en-US" sz="900" dirty="0">
              <a:solidFill>
                <a:schemeClr val="bg1">
                  <a:lumMod val="50000"/>
                </a:schemeClr>
              </a:solidFill>
            </a:endParaRPr>
          </a:p>
        </p:txBody>
      </p:sp>
      <p:sp>
        <p:nvSpPr>
          <p:cNvPr id="4" name="Rectangle 3" hidden="1">
            <a:extLst>
              <a:ext uri="{FF2B5EF4-FFF2-40B4-BE49-F238E27FC236}">
                <a16:creationId xmlns:a16="http://schemas.microsoft.com/office/drawing/2014/main" id="{92A2CC79-994C-40F9-A291-3ECF902C7DE5}"/>
              </a:ext>
            </a:extLst>
          </p:cNvPr>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2400" b="0" i="0" baseline="0" dirty="0">
              <a:latin typeface="Calibri" panose="020F0502020204030204" pitchFamily="34" charset="0"/>
              <a:ea typeface="+mj-ea"/>
              <a:cs typeface="+mj-cs"/>
              <a:sym typeface="Calibri" panose="020F0502020204030204" pitchFamily="34" charset="0"/>
            </a:endParaRPr>
          </a:p>
        </p:txBody>
      </p:sp>
    </p:spTree>
    <p:extLst>
      <p:ext uri="{BB962C8B-B14F-4D97-AF65-F5344CB8AC3E}">
        <p14:creationId xmlns:p14="http://schemas.microsoft.com/office/powerpoint/2010/main" val="249882707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Lst>
  <p:hf hdr="0"/>
  <p:txStyles>
    <p:titleStyle>
      <a:lvl1pPr algn="l" defTabSz="685800" rtl="0" eaLnBrk="1" latinLnBrk="0" hangingPunct="1">
        <a:lnSpc>
          <a:spcPct val="90000"/>
        </a:lnSpc>
        <a:spcBef>
          <a:spcPct val="0"/>
        </a:spcBef>
        <a:buNone/>
        <a:defRPr sz="2400" kern="1200">
          <a:solidFill>
            <a:schemeClr val="tx1"/>
          </a:solidFill>
          <a:latin typeface="+mn-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entsoe.eu/network_codes/eb/imbalance-netting" TargetMode="External"/><Relationship Id="rId2" Type="http://schemas.openxmlformats.org/officeDocument/2006/relationships/hyperlink" Target="http://www.regelleistung.net/ext/data/?lang=en" TargetMode="Externa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hyperlink" Target="mailto:Dimitrios%20Nousios%20%3cDimitrios.Nousios@swissgrid.ch%3e" TargetMode="External"/><Relationship Id="rId2" Type="http://schemas.openxmlformats.org/officeDocument/2006/relationships/hyperlink" Target="mailto:Iason%20Nikolaos%20Avramiotis%20Falireas%20%3cIason.Avramiotis@swissgrid.ch%3e" TargetMode="External"/><Relationship Id="rId1" Type="http://schemas.openxmlformats.org/officeDocument/2006/relationships/slideLayout" Target="../slideLayouts/slideLayout3.xml"/><Relationship Id="rId4" Type="http://schemas.openxmlformats.org/officeDocument/2006/relationships/hyperlink" Target="mailto:Ricardo%20Renedo%20Williams%20%3cricardo.renedowilliams@entsoe.eu%3e"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hyperlink" Target="mailto:Amine%20Abada%20%3camine.abada@rte-france.com%3e" TargetMode="External"/><Relationship Id="rId7" Type="http://schemas.openxmlformats.org/officeDocument/2006/relationships/image" Target="../media/image56.png"/><Relationship Id="rId2" Type="http://schemas.openxmlformats.org/officeDocument/2006/relationships/hyperlink" Target="mailto:Pavel%20Zolotarev%20%3cp.zolotarev@transnetbw.de%3e" TargetMode="External"/><Relationship Id="rId1" Type="http://schemas.openxmlformats.org/officeDocument/2006/relationships/slideLayout" Target="../slideLayouts/slideLayout3.xml"/><Relationship Id="rId6" Type="http://schemas.openxmlformats.org/officeDocument/2006/relationships/hyperlink" Target="mailto:Ricardo%20Renedo%20Williams%20%3cricardo.renedowilliams@entsoe.eu%3e" TargetMode="External"/><Relationship Id="rId5" Type="http://schemas.openxmlformats.org/officeDocument/2006/relationships/hyperlink" Target="mailto:Simon%20Remppis%20%3cS.Remppis@transnetbw.de%3e" TargetMode="External"/><Relationship Id="rId4" Type="http://schemas.openxmlformats.org/officeDocument/2006/relationships/hyperlink" Target="mailto:Julien%20Gaudin%20%3cjulien.gaudin@rte-france.com%3e"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1.xml.rels><?xml version="1.0" encoding="UTF-8" standalone="yes"?>
<Relationships xmlns="http://schemas.openxmlformats.org/package/2006/relationships"><Relationship Id="rId3" Type="http://schemas.openxmlformats.org/officeDocument/2006/relationships/hyperlink" Target="https://en.wikipedia.org/wiki/File:ASF_Organisation_July_1943.PNG" TargetMode="External"/><Relationship Id="rId7" Type="http://schemas.openxmlformats.org/officeDocument/2006/relationships/hyperlink" Target="https://pixabay.com/en/monitor-binary-binary-system-1356059/" TargetMode="External"/><Relationship Id="rId2" Type="http://schemas.openxmlformats.org/officeDocument/2006/relationships/image" Target="../media/image57.png"/><Relationship Id="rId1" Type="http://schemas.openxmlformats.org/officeDocument/2006/relationships/slideLayout" Target="../slideLayouts/slideLayout29.xml"/><Relationship Id="rId6" Type="http://schemas.openxmlformats.org/officeDocument/2006/relationships/image" Target="../media/image59.jpeg"/><Relationship Id="rId5" Type="http://schemas.openxmlformats.org/officeDocument/2006/relationships/hyperlink" Target="http://melvinbray.com/" TargetMode="External"/><Relationship Id="rId4" Type="http://schemas.openxmlformats.org/officeDocument/2006/relationships/image" Target="../media/image58.jpg"/></Relationships>
</file>

<file path=ppt/slides/_rels/slide2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0.emf"/><Relationship Id="rId5" Type="http://schemas.openxmlformats.org/officeDocument/2006/relationships/oleObject" Target="../embeddings/oleObject5.bin"/><Relationship Id="rId4"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tags" Target="../tags/tag32.xml"/><Relationship Id="rId39" Type="http://schemas.openxmlformats.org/officeDocument/2006/relationships/tags" Target="../tags/tag45.xml"/><Relationship Id="rId21" Type="http://schemas.openxmlformats.org/officeDocument/2006/relationships/tags" Target="../tags/tag27.xml"/><Relationship Id="rId34" Type="http://schemas.openxmlformats.org/officeDocument/2006/relationships/tags" Target="../tags/tag40.xml"/><Relationship Id="rId42" Type="http://schemas.openxmlformats.org/officeDocument/2006/relationships/tags" Target="../tags/tag48.xml"/><Relationship Id="rId47" Type="http://schemas.openxmlformats.org/officeDocument/2006/relationships/tags" Target="../tags/tag53.xml"/><Relationship Id="rId50" Type="http://schemas.openxmlformats.org/officeDocument/2006/relationships/tags" Target="../tags/tag56.xml"/><Relationship Id="rId55" Type="http://schemas.openxmlformats.org/officeDocument/2006/relationships/tags" Target="../tags/tag61.xml"/><Relationship Id="rId63" Type="http://schemas.openxmlformats.org/officeDocument/2006/relationships/tags" Target="../tags/tag69.xml"/><Relationship Id="rId68" Type="http://schemas.openxmlformats.org/officeDocument/2006/relationships/tags" Target="../tags/tag74.xml"/><Relationship Id="rId76" Type="http://schemas.openxmlformats.org/officeDocument/2006/relationships/tags" Target="../tags/tag82.xml"/><Relationship Id="rId84" Type="http://schemas.openxmlformats.org/officeDocument/2006/relationships/tags" Target="../tags/tag90.xml"/><Relationship Id="rId89" Type="http://schemas.openxmlformats.org/officeDocument/2006/relationships/slideLayout" Target="../slideLayouts/slideLayout32.xml"/><Relationship Id="rId7" Type="http://schemas.openxmlformats.org/officeDocument/2006/relationships/tags" Target="../tags/tag13.xml"/><Relationship Id="rId71" Type="http://schemas.openxmlformats.org/officeDocument/2006/relationships/tags" Target="../tags/tag77.xml"/><Relationship Id="rId2" Type="http://schemas.openxmlformats.org/officeDocument/2006/relationships/tags" Target="../tags/tag8.xml"/><Relationship Id="rId16" Type="http://schemas.openxmlformats.org/officeDocument/2006/relationships/tags" Target="../tags/tag22.xml"/><Relationship Id="rId29" Type="http://schemas.openxmlformats.org/officeDocument/2006/relationships/tags" Target="../tags/tag35.xml"/><Relationship Id="rId11" Type="http://schemas.openxmlformats.org/officeDocument/2006/relationships/tags" Target="../tags/tag17.xml"/><Relationship Id="rId24" Type="http://schemas.openxmlformats.org/officeDocument/2006/relationships/tags" Target="../tags/tag30.xml"/><Relationship Id="rId32" Type="http://schemas.openxmlformats.org/officeDocument/2006/relationships/tags" Target="../tags/tag38.xml"/><Relationship Id="rId37" Type="http://schemas.openxmlformats.org/officeDocument/2006/relationships/tags" Target="../tags/tag43.xml"/><Relationship Id="rId40" Type="http://schemas.openxmlformats.org/officeDocument/2006/relationships/tags" Target="../tags/tag46.xml"/><Relationship Id="rId45" Type="http://schemas.openxmlformats.org/officeDocument/2006/relationships/tags" Target="../tags/tag51.xml"/><Relationship Id="rId53" Type="http://schemas.openxmlformats.org/officeDocument/2006/relationships/tags" Target="../tags/tag59.xml"/><Relationship Id="rId58" Type="http://schemas.openxmlformats.org/officeDocument/2006/relationships/tags" Target="../tags/tag64.xml"/><Relationship Id="rId66" Type="http://schemas.openxmlformats.org/officeDocument/2006/relationships/tags" Target="../tags/tag72.xml"/><Relationship Id="rId74" Type="http://schemas.openxmlformats.org/officeDocument/2006/relationships/tags" Target="../tags/tag80.xml"/><Relationship Id="rId79" Type="http://schemas.openxmlformats.org/officeDocument/2006/relationships/tags" Target="../tags/tag85.xml"/><Relationship Id="rId87" Type="http://schemas.openxmlformats.org/officeDocument/2006/relationships/tags" Target="../tags/tag93.xml"/><Relationship Id="rId5" Type="http://schemas.openxmlformats.org/officeDocument/2006/relationships/tags" Target="../tags/tag11.xml"/><Relationship Id="rId61" Type="http://schemas.openxmlformats.org/officeDocument/2006/relationships/tags" Target="../tags/tag67.xml"/><Relationship Id="rId82" Type="http://schemas.openxmlformats.org/officeDocument/2006/relationships/tags" Target="../tags/tag88.xml"/><Relationship Id="rId90" Type="http://schemas.openxmlformats.org/officeDocument/2006/relationships/oleObject" Target="../embeddings/oleObject6.bin"/><Relationship Id="rId19" Type="http://schemas.openxmlformats.org/officeDocument/2006/relationships/tags" Target="../tags/tag2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tags" Target="../tags/tag36.xml"/><Relationship Id="rId35" Type="http://schemas.openxmlformats.org/officeDocument/2006/relationships/tags" Target="../tags/tag41.xml"/><Relationship Id="rId43" Type="http://schemas.openxmlformats.org/officeDocument/2006/relationships/tags" Target="../tags/tag49.xml"/><Relationship Id="rId48" Type="http://schemas.openxmlformats.org/officeDocument/2006/relationships/tags" Target="../tags/tag54.xml"/><Relationship Id="rId56" Type="http://schemas.openxmlformats.org/officeDocument/2006/relationships/tags" Target="../tags/tag62.xml"/><Relationship Id="rId64" Type="http://schemas.openxmlformats.org/officeDocument/2006/relationships/tags" Target="../tags/tag70.xml"/><Relationship Id="rId69" Type="http://schemas.openxmlformats.org/officeDocument/2006/relationships/tags" Target="../tags/tag75.xml"/><Relationship Id="rId77" Type="http://schemas.openxmlformats.org/officeDocument/2006/relationships/tags" Target="../tags/tag83.xml"/><Relationship Id="rId8" Type="http://schemas.openxmlformats.org/officeDocument/2006/relationships/tags" Target="../tags/tag14.xml"/><Relationship Id="rId51" Type="http://schemas.openxmlformats.org/officeDocument/2006/relationships/tags" Target="../tags/tag57.xml"/><Relationship Id="rId72" Type="http://schemas.openxmlformats.org/officeDocument/2006/relationships/tags" Target="../tags/tag78.xml"/><Relationship Id="rId80" Type="http://schemas.openxmlformats.org/officeDocument/2006/relationships/tags" Target="../tags/tag86.xml"/><Relationship Id="rId85" Type="http://schemas.openxmlformats.org/officeDocument/2006/relationships/tags" Target="../tags/tag91.xml"/><Relationship Id="rId3" Type="http://schemas.openxmlformats.org/officeDocument/2006/relationships/tags" Target="../tags/tag9.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tags" Target="../tags/tag39.xml"/><Relationship Id="rId38" Type="http://schemas.openxmlformats.org/officeDocument/2006/relationships/tags" Target="../tags/tag44.xml"/><Relationship Id="rId46" Type="http://schemas.openxmlformats.org/officeDocument/2006/relationships/tags" Target="../tags/tag52.xml"/><Relationship Id="rId59" Type="http://schemas.openxmlformats.org/officeDocument/2006/relationships/tags" Target="../tags/tag65.xml"/><Relationship Id="rId67" Type="http://schemas.openxmlformats.org/officeDocument/2006/relationships/tags" Target="../tags/tag73.xml"/><Relationship Id="rId20" Type="http://schemas.openxmlformats.org/officeDocument/2006/relationships/tags" Target="../tags/tag26.xml"/><Relationship Id="rId41" Type="http://schemas.openxmlformats.org/officeDocument/2006/relationships/tags" Target="../tags/tag47.xml"/><Relationship Id="rId54" Type="http://schemas.openxmlformats.org/officeDocument/2006/relationships/tags" Target="../tags/tag60.xml"/><Relationship Id="rId62" Type="http://schemas.openxmlformats.org/officeDocument/2006/relationships/tags" Target="../tags/tag68.xml"/><Relationship Id="rId70" Type="http://schemas.openxmlformats.org/officeDocument/2006/relationships/tags" Target="../tags/tag76.xml"/><Relationship Id="rId75" Type="http://schemas.openxmlformats.org/officeDocument/2006/relationships/tags" Target="../tags/tag81.xml"/><Relationship Id="rId83" Type="http://schemas.openxmlformats.org/officeDocument/2006/relationships/tags" Target="../tags/tag89.xml"/><Relationship Id="rId88" Type="http://schemas.openxmlformats.org/officeDocument/2006/relationships/tags" Target="../tags/tag94.xml"/><Relationship Id="rId91" Type="http://schemas.openxmlformats.org/officeDocument/2006/relationships/image" Target="../media/image60.emf"/><Relationship Id="rId1" Type="http://schemas.openxmlformats.org/officeDocument/2006/relationships/vmlDrawing" Target="../drawings/vmlDrawing6.vml"/><Relationship Id="rId6" Type="http://schemas.openxmlformats.org/officeDocument/2006/relationships/tags" Target="../tags/tag12.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tags" Target="../tags/tag34.xml"/><Relationship Id="rId36" Type="http://schemas.openxmlformats.org/officeDocument/2006/relationships/tags" Target="../tags/tag42.xml"/><Relationship Id="rId49" Type="http://schemas.openxmlformats.org/officeDocument/2006/relationships/tags" Target="../tags/tag55.xml"/><Relationship Id="rId57" Type="http://schemas.openxmlformats.org/officeDocument/2006/relationships/tags" Target="../tags/tag63.xml"/><Relationship Id="rId10" Type="http://schemas.openxmlformats.org/officeDocument/2006/relationships/tags" Target="../tags/tag16.xml"/><Relationship Id="rId31" Type="http://schemas.openxmlformats.org/officeDocument/2006/relationships/tags" Target="../tags/tag37.xml"/><Relationship Id="rId44" Type="http://schemas.openxmlformats.org/officeDocument/2006/relationships/tags" Target="../tags/tag50.xml"/><Relationship Id="rId52" Type="http://schemas.openxmlformats.org/officeDocument/2006/relationships/tags" Target="../tags/tag58.xml"/><Relationship Id="rId60" Type="http://schemas.openxmlformats.org/officeDocument/2006/relationships/tags" Target="../tags/tag66.xml"/><Relationship Id="rId65" Type="http://schemas.openxmlformats.org/officeDocument/2006/relationships/tags" Target="../tags/tag71.xml"/><Relationship Id="rId73" Type="http://schemas.openxmlformats.org/officeDocument/2006/relationships/tags" Target="../tags/tag79.xml"/><Relationship Id="rId78" Type="http://schemas.openxmlformats.org/officeDocument/2006/relationships/tags" Target="../tags/tag84.xml"/><Relationship Id="rId81" Type="http://schemas.openxmlformats.org/officeDocument/2006/relationships/tags" Target="../tags/tag87.xml"/><Relationship Id="rId86" Type="http://schemas.openxmlformats.org/officeDocument/2006/relationships/tags" Target="../tags/tag92.xml"/><Relationship Id="rId4" Type="http://schemas.openxmlformats.org/officeDocument/2006/relationships/tags" Target="../tags/tag10.xml"/><Relationship Id="rId9" Type="http://schemas.openxmlformats.org/officeDocument/2006/relationships/tags" Target="../tags/tag15.xml"/></Relationships>
</file>

<file path=ppt/slides/_rels/slide2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66F5E1B-7809-472D-B44B-753D57CE40D3}"/>
              </a:ext>
            </a:extLst>
          </p:cNvPr>
          <p:cNvSpPr>
            <a:spLocks noGrp="1"/>
          </p:cNvSpPr>
          <p:nvPr>
            <p:ph type="sldNum" sz="quarter" idx="10"/>
          </p:nvPr>
        </p:nvSpPr>
        <p:spPr/>
        <p:txBody>
          <a:bodyPr/>
          <a:lstStyle/>
          <a:p>
            <a:fld id="{D4E6D71C-ACD7-49D2-9689-F9C4024FAC38}" type="slidenum">
              <a:rPr lang="en-US" smtClean="0"/>
              <a:t>1</a:t>
            </a:fld>
            <a:endParaRPr lang="en-US" dirty="0"/>
          </a:p>
        </p:txBody>
      </p:sp>
      <p:sp>
        <p:nvSpPr>
          <p:cNvPr id="3" name="Title 2">
            <a:extLst>
              <a:ext uri="{FF2B5EF4-FFF2-40B4-BE49-F238E27FC236}">
                <a16:creationId xmlns:a16="http://schemas.microsoft.com/office/drawing/2014/main" id="{C3751022-B726-4771-93DD-6F2473468D41}"/>
              </a:ext>
            </a:extLst>
          </p:cNvPr>
          <p:cNvSpPr>
            <a:spLocks noGrp="1"/>
          </p:cNvSpPr>
          <p:nvPr>
            <p:ph type="title"/>
          </p:nvPr>
        </p:nvSpPr>
        <p:spPr/>
        <p:txBody>
          <a:bodyPr/>
          <a:lstStyle/>
          <a:p>
            <a:r>
              <a:rPr lang="en-US" sz="5400" dirty="0"/>
              <a:t>Balancing Implementation Projects</a:t>
            </a:r>
            <a:endParaRPr lang="en-GB" sz="5400" dirty="0"/>
          </a:p>
        </p:txBody>
      </p:sp>
      <p:sp>
        <p:nvSpPr>
          <p:cNvPr id="4" name="Content Placeholder 3">
            <a:extLst>
              <a:ext uri="{FF2B5EF4-FFF2-40B4-BE49-F238E27FC236}">
                <a16:creationId xmlns:a16="http://schemas.microsoft.com/office/drawing/2014/main" id="{E2F82638-6480-4452-B2DC-1009F0A3BF8D}"/>
              </a:ext>
            </a:extLst>
          </p:cNvPr>
          <p:cNvSpPr>
            <a:spLocks noGrp="1"/>
          </p:cNvSpPr>
          <p:nvPr>
            <p:ph sz="quarter" idx="11"/>
          </p:nvPr>
        </p:nvSpPr>
        <p:spPr/>
        <p:txBody>
          <a:bodyPr/>
          <a:lstStyle/>
          <a:p>
            <a:r>
              <a:rPr lang="en-US" dirty="0"/>
              <a:t>ENTSO-E</a:t>
            </a:r>
            <a:endParaRPr lang="en-GB" dirty="0"/>
          </a:p>
        </p:txBody>
      </p:sp>
      <p:sp>
        <p:nvSpPr>
          <p:cNvPr id="5" name="Text Placeholder 4">
            <a:extLst>
              <a:ext uri="{FF2B5EF4-FFF2-40B4-BE49-F238E27FC236}">
                <a16:creationId xmlns:a16="http://schemas.microsoft.com/office/drawing/2014/main" id="{C79B1363-579F-49E4-A185-7F0D6AA7B035}"/>
              </a:ext>
            </a:extLst>
          </p:cNvPr>
          <p:cNvSpPr>
            <a:spLocks noGrp="1"/>
          </p:cNvSpPr>
          <p:nvPr>
            <p:ph type="body" sz="quarter" idx="12"/>
          </p:nvPr>
        </p:nvSpPr>
        <p:spPr/>
        <p:txBody>
          <a:bodyPr/>
          <a:lstStyle/>
          <a:p>
            <a:r>
              <a:rPr lang="en-US" dirty="0"/>
              <a:t>EBSG, 1 July 2019</a:t>
            </a:r>
            <a:endParaRPr lang="en-GB" dirty="0"/>
          </a:p>
        </p:txBody>
      </p:sp>
    </p:spTree>
    <p:extLst>
      <p:ext uri="{BB962C8B-B14F-4D97-AF65-F5344CB8AC3E}">
        <p14:creationId xmlns:p14="http://schemas.microsoft.com/office/powerpoint/2010/main" val="23506328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286161-C1B4-44BC-B54C-97875C035C0E}"/>
              </a:ext>
            </a:extLst>
          </p:cNvPr>
          <p:cNvSpPr>
            <a:spLocks noGrp="1"/>
          </p:cNvSpPr>
          <p:nvPr>
            <p:ph type="sldNum" sz="quarter" idx="10"/>
          </p:nvPr>
        </p:nvSpPr>
        <p:spPr/>
        <p:txBody>
          <a:bodyPr/>
          <a:lstStyle/>
          <a:p>
            <a:fld id="{D4E6D71C-ACD7-49D2-9689-F9C4024FAC38}" type="slidenum">
              <a:rPr lang="en-IE" smtClean="0"/>
              <a:pPr/>
              <a:t>10</a:t>
            </a:fld>
            <a:endParaRPr lang="en-IE" dirty="0"/>
          </a:p>
        </p:txBody>
      </p:sp>
      <p:sp>
        <p:nvSpPr>
          <p:cNvPr id="3" name="Text Placeholder 2">
            <a:extLst>
              <a:ext uri="{FF2B5EF4-FFF2-40B4-BE49-F238E27FC236}">
                <a16:creationId xmlns:a16="http://schemas.microsoft.com/office/drawing/2014/main" id="{25CD5050-96CD-42EA-97FD-0E1CE8387155}"/>
              </a:ext>
            </a:extLst>
          </p:cNvPr>
          <p:cNvSpPr>
            <a:spLocks noGrp="1"/>
          </p:cNvSpPr>
          <p:nvPr>
            <p:ph type="body" sz="quarter" idx="11"/>
          </p:nvPr>
        </p:nvSpPr>
        <p:spPr>
          <a:xfrm>
            <a:off x="414337" y="456139"/>
            <a:ext cx="11160125" cy="708025"/>
          </a:xfrm>
        </p:spPr>
        <p:txBody>
          <a:bodyPr>
            <a:normAutofit/>
          </a:bodyPr>
          <a:lstStyle/>
          <a:p>
            <a:r>
              <a:rPr lang="en-GB" dirty="0">
                <a:solidFill>
                  <a:schemeClr val="accent1"/>
                </a:solidFill>
              </a:rPr>
              <a:t>Publication requirements</a:t>
            </a:r>
            <a:endParaRPr lang="en-US" dirty="0">
              <a:solidFill>
                <a:schemeClr val="accent1"/>
              </a:solidFill>
            </a:endParaRPr>
          </a:p>
        </p:txBody>
      </p:sp>
      <p:sp>
        <p:nvSpPr>
          <p:cNvPr id="13" name="TextBox 12">
            <a:extLst>
              <a:ext uri="{FF2B5EF4-FFF2-40B4-BE49-F238E27FC236}">
                <a16:creationId xmlns:a16="http://schemas.microsoft.com/office/drawing/2014/main" id="{C664E330-7120-4C22-8803-190C2A755799}"/>
              </a:ext>
            </a:extLst>
          </p:cNvPr>
          <p:cNvSpPr txBox="1"/>
          <p:nvPr/>
        </p:nvSpPr>
        <p:spPr>
          <a:xfrm>
            <a:off x="1199966" y="1556987"/>
            <a:ext cx="9978469" cy="4508927"/>
          </a:xfrm>
          <a:prstGeom prst="rect">
            <a:avLst/>
          </a:prstGeom>
          <a:noFill/>
          <a:ln>
            <a:noFill/>
          </a:ln>
        </p:spPr>
        <p:style>
          <a:lnRef idx="1">
            <a:schemeClr val="accent2"/>
          </a:lnRef>
          <a:fillRef idx="2">
            <a:schemeClr val="accent2"/>
          </a:fillRef>
          <a:effectRef idx="1">
            <a:schemeClr val="accent2"/>
          </a:effectRef>
          <a:fontRef idx="minor">
            <a:schemeClr val="dk1"/>
          </a:fontRef>
        </p:style>
        <p:txBody>
          <a:bodyPr wrap="square" rtlCol="0">
            <a:spAutoFit/>
          </a:bodyPr>
          <a:lstStyle/>
          <a:p>
            <a:pPr marL="0" lvl="1">
              <a:spcAft>
                <a:spcPts val="600"/>
              </a:spcAft>
              <a:buClr>
                <a:schemeClr val="accent1"/>
              </a:buClr>
            </a:pPr>
            <a:r>
              <a:rPr lang="en-US" b="1" dirty="0">
                <a:solidFill>
                  <a:schemeClr val="accent1"/>
                </a:solidFill>
              </a:rPr>
              <a:t>INIF 3(10) </a:t>
            </a:r>
            <a:r>
              <a:rPr lang="en-US" dirty="0"/>
              <a:t>The netted volumes will be published as soon as possible and not later than 30 min after the relevant market time unit.</a:t>
            </a:r>
          </a:p>
          <a:p>
            <a:pPr marL="0" lvl="1">
              <a:spcAft>
                <a:spcPts val="600"/>
              </a:spcAft>
              <a:buClr>
                <a:schemeClr val="accent1"/>
              </a:buClr>
            </a:pPr>
            <a:endParaRPr lang="en-US" dirty="0"/>
          </a:p>
          <a:p>
            <a:pPr marL="0" lvl="1">
              <a:spcAft>
                <a:spcPts val="1200"/>
              </a:spcAft>
              <a:buClr>
                <a:schemeClr val="accent1"/>
              </a:buClr>
            </a:pPr>
            <a:r>
              <a:rPr lang="en-US" b="1" dirty="0">
                <a:solidFill>
                  <a:schemeClr val="accent1"/>
                </a:solidFill>
              </a:rPr>
              <a:t>INIF 4(2)(e) </a:t>
            </a:r>
            <a:r>
              <a:rPr lang="en-US" dirty="0"/>
              <a:t>The limitation of a given imbalance netting balancing border is allowed when duly justified by the relevant TSOs concerned by the imbalance netting balancing border. The concerned NRAs shall be notified of this limitation. The technical justification shall be published by the concerned TSOs.</a:t>
            </a:r>
            <a:endParaRPr lang="en-GB" dirty="0"/>
          </a:p>
          <a:p>
            <a:pPr marL="285750" lvl="1" indent="-285750">
              <a:spcAft>
                <a:spcPts val="600"/>
              </a:spcAft>
              <a:buClr>
                <a:schemeClr val="accent1"/>
              </a:buClr>
              <a:buFont typeface="Arial" panose="020B0604020202020204" pitchFamily="34" charset="0"/>
              <a:buChar char="•"/>
            </a:pPr>
            <a:r>
              <a:rPr lang="en-GB" dirty="0"/>
              <a:t>IGCC is assessing several options for the publication of volumes and limits, including the Transparency Platform, each TSO websites, a dedicated IGCC website or 50Hertz site.</a:t>
            </a:r>
          </a:p>
          <a:p>
            <a:pPr marL="285750" lvl="1" indent="-285750">
              <a:spcAft>
                <a:spcPts val="600"/>
              </a:spcAft>
              <a:buClr>
                <a:schemeClr val="accent1"/>
              </a:buClr>
              <a:buFont typeface="Arial" panose="020B0604020202020204" pitchFamily="34" charset="0"/>
              <a:buChar char="•"/>
            </a:pPr>
            <a:r>
              <a:rPr lang="en-GB" dirty="0"/>
              <a:t>Based on the first analysis, the current long-term intention is to have the publications in the Transparency Platform.</a:t>
            </a:r>
          </a:p>
          <a:p>
            <a:pPr marL="285750" lvl="1" indent="-285750">
              <a:spcAft>
                <a:spcPts val="600"/>
              </a:spcAft>
              <a:buClr>
                <a:schemeClr val="accent1"/>
              </a:buClr>
              <a:buFont typeface="Arial" panose="020B0604020202020204" pitchFamily="34" charset="0"/>
              <a:buChar char="•"/>
            </a:pPr>
            <a:r>
              <a:rPr lang="en-GB" dirty="0"/>
              <a:t>Netted volumes are currently published in 50Hertz’s website (</a:t>
            </a:r>
            <a:r>
              <a:rPr lang="en-GB" dirty="0">
                <a:hlinkClick r:id="rId2"/>
              </a:rPr>
              <a:t>here</a:t>
            </a:r>
            <a:r>
              <a:rPr lang="en-GB" dirty="0"/>
              <a:t>).</a:t>
            </a:r>
          </a:p>
          <a:p>
            <a:pPr marL="285750" lvl="1" indent="-285750">
              <a:spcAft>
                <a:spcPts val="600"/>
              </a:spcAft>
              <a:buClr>
                <a:schemeClr val="accent1"/>
              </a:buClr>
              <a:buFont typeface="Arial" panose="020B0604020202020204" pitchFamily="34" charset="0"/>
              <a:buChar char="•"/>
            </a:pPr>
            <a:r>
              <a:rPr lang="en-GB" dirty="0"/>
              <a:t>The </a:t>
            </a:r>
            <a:r>
              <a:rPr lang="en-GB" dirty="0">
                <a:hlinkClick r:id="rId3"/>
              </a:rPr>
              <a:t>ENTSO-E website</a:t>
            </a:r>
            <a:r>
              <a:rPr lang="en-GB" dirty="0"/>
              <a:t> on IGCC is regularly updated with other information, e.g. the tentative accession roadmap and the quarterly social reports.</a:t>
            </a:r>
            <a:endParaRPr lang="en-US" dirty="0"/>
          </a:p>
        </p:txBody>
      </p:sp>
    </p:spTree>
    <p:extLst>
      <p:ext uri="{BB962C8B-B14F-4D97-AF65-F5344CB8AC3E}">
        <p14:creationId xmlns:p14="http://schemas.microsoft.com/office/powerpoint/2010/main" val="14899609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p:cNvSpPr>
            <a:spLocks noGrp="1"/>
          </p:cNvSpPr>
          <p:nvPr>
            <p:ph type="sldNum" sz="quarter" idx="10"/>
          </p:nvPr>
        </p:nvSpPr>
        <p:spPr/>
        <p:txBody>
          <a:bodyPr/>
          <a:lstStyle/>
          <a:p>
            <a:fld id="{D4E6D71C-ACD7-49D2-9689-F9C4024FAC38}" type="slidenum">
              <a:rPr lang="en-US" smtClean="0"/>
              <a:t>11</a:t>
            </a:fld>
            <a:endParaRPr lang="en-US" dirty="0"/>
          </a:p>
        </p:txBody>
      </p:sp>
      <p:sp>
        <p:nvSpPr>
          <p:cNvPr id="6" name="Textplatzhalter 5"/>
          <p:cNvSpPr>
            <a:spLocks noGrp="1"/>
          </p:cNvSpPr>
          <p:nvPr>
            <p:ph type="body" sz="quarter" idx="11"/>
          </p:nvPr>
        </p:nvSpPr>
        <p:spPr>
          <a:xfrm>
            <a:off x="479961" y="260978"/>
            <a:ext cx="11160125" cy="708025"/>
          </a:xfrm>
        </p:spPr>
        <p:txBody>
          <a:bodyPr/>
          <a:lstStyle/>
          <a:p>
            <a:r>
              <a:rPr lang="en-US" dirty="0">
                <a:solidFill>
                  <a:schemeClr val="accent1"/>
                </a:solidFill>
              </a:rPr>
              <a:t>Publications of limits</a:t>
            </a:r>
          </a:p>
        </p:txBody>
      </p:sp>
      <p:sp>
        <p:nvSpPr>
          <p:cNvPr id="7" name="Textfeld 3">
            <a:extLst>
              <a:ext uri="{FF2B5EF4-FFF2-40B4-BE49-F238E27FC236}">
                <a16:creationId xmlns:a16="http://schemas.microsoft.com/office/drawing/2014/main" id="{3826EE45-0FA7-40A1-AE8D-92D210AB68D2}"/>
              </a:ext>
            </a:extLst>
          </p:cNvPr>
          <p:cNvSpPr txBox="1"/>
          <p:nvPr/>
        </p:nvSpPr>
        <p:spPr>
          <a:xfrm>
            <a:off x="863513" y="1556987"/>
            <a:ext cx="10393020" cy="2800767"/>
          </a:xfrm>
          <a:prstGeom prst="rect">
            <a:avLst/>
          </a:prstGeom>
          <a:noFill/>
        </p:spPr>
        <p:txBody>
          <a:bodyPr wrap="square" lIns="0" tIns="0" rIns="0" bIns="0" rtlCol="0">
            <a:spAutoFit/>
          </a:bodyPr>
          <a:lstStyle/>
          <a:p>
            <a:pPr lvl="0">
              <a:spcAft>
                <a:spcPts val="600"/>
              </a:spcAft>
            </a:pPr>
            <a:r>
              <a:rPr lang="en-US" b="1" u="sng" dirty="0">
                <a:solidFill>
                  <a:schemeClr val="accent1"/>
                </a:solidFill>
              </a:rPr>
              <a:t>Additional limitations due to security reasons</a:t>
            </a:r>
          </a:p>
          <a:p>
            <a:pPr marL="449263" lvl="1" indent="-285750">
              <a:spcAft>
                <a:spcPts val="600"/>
              </a:spcAft>
              <a:buFont typeface="Arial" panose="020B0604020202020204" pitchFamily="34" charset="0"/>
              <a:buChar char="•"/>
            </a:pPr>
            <a:r>
              <a:rPr lang="en-US" dirty="0"/>
              <a:t>The request for limitation shall be published in a 30 minutes window after the relevant balancing market time unit in which it was requested (i.e. after the relevant 15 min when it was requested).</a:t>
            </a:r>
          </a:p>
          <a:p>
            <a:pPr>
              <a:spcAft>
                <a:spcPts val="600"/>
              </a:spcAft>
            </a:pPr>
            <a:endParaRPr lang="en-GB" b="1" u="sng" dirty="0">
              <a:solidFill>
                <a:schemeClr val="accent1"/>
              </a:solidFill>
            </a:endParaRPr>
          </a:p>
          <a:p>
            <a:pPr>
              <a:spcAft>
                <a:spcPts val="600"/>
              </a:spcAft>
            </a:pPr>
            <a:r>
              <a:rPr lang="en-GB" b="1" u="sng" dirty="0">
                <a:solidFill>
                  <a:schemeClr val="accent1"/>
                </a:solidFill>
              </a:rPr>
              <a:t>Permanent limitations to borders composed only by HVDC systems with technology not enabling IN</a:t>
            </a:r>
          </a:p>
          <a:p>
            <a:pPr marL="449263" lvl="1" indent="-285750">
              <a:buFont typeface="Arial" panose="020B0604020202020204" pitchFamily="34" charset="0"/>
              <a:buChar char="•"/>
            </a:pPr>
            <a:r>
              <a:rPr lang="en-US" dirty="0"/>
              <a:t>The limitation of a given LFC area border is allowed when duly justified by the relevant TSOs concerned by such border.</a:t>
            </a:r>
          </a:p>
          <a:p>
            <a:pPr marL="449263" lvl="1" indent="-285750">
              <a:buFont typeface="Arial" panose="020B0604020202020204" pitchFamily="34" charset="0"/>
              <a:buChar char="•"/>
            </a:pPr>
            <a:r>
              <a:rPr lang="en-US" dirty="0"/>
              <a:t>The relevant NRAs shall be notified.</a:t>
            </a:r>
            <a:endParaRPr lang="en-US" dirty="0">
              <a:highlight>
                <a:srgbClr val="FFFF00"/>
              </a:highlight>
            </a:endParaRPr>
          </a:p>
        </p:txBody>
      </p:sp>
    </p:spTree>
    <p:extLst>
      <p:ext uri="{BB962C8B-B14F-4D97-AF65-F5344CB8AC3E}">
        <p14:creationId xmlns:p14="http://schemas.microsoft.com/office/powerpoint/2010/main" val="9174950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240A6E-48CE-403B-B3B4-BAD39758E5A5}"/>
              </a:ext>
            </a:extLst>
          </p:cNvPr>
          <p:cNvSpPr>
            <a:spLocks noGrp="1"/>
          </p:cNvSpPr>
          <p:nvPr>
            <p:ph type="body" sz="quarter" idx="11"/>
          </p:nvPr>
        </p:nvSpPr>
        <p:spPr/>
        <p:txBody>
          <a:bodyPr/>
          <a:lstStyle/>
          <a:p>
            <a:r>
              <a:rPr lang="en-GB" dirty="0">
                <a:solidFill>
                  <a:schemeClr val="accent1"/>
                </a:solidFill>
              </a:rPr>
              <a:t>Contact points for IGCC</a:t>
            </a:r>
            <a:endParaRPr lang="en-US" dirty="0">
              <a:solidFill>
                <a:schemeClr val="accent1"/>
              </a:solidFill>
            </a:endParaRPr>
          </a:p>
        </p:txBody>
      </p:sp>
      <p:sp>
        <p:nvSpPr>
          <p:cNvPr id="3" name="Slide Number Placeholder 2">
            <a:extLst>
              <a:ext uri="{FF2B5EF4-FFF2-40B4-BE49-F238E27FC236}">
                <a16:creationId xmlns:a16="http://schemas.microsoft.com/office/drawing/2014/main" id="{2554C747-F0D3-4254-82F1-E7593AA983BB}"/>
              </a:ext>
            </a:extLst>
          </p:cNvPr>
          <p:cNvSpPr>
            <a:spLocks noGrp="1"/>
          </p:cNvSpPr>
          <p:nvPr>
            <p:ph type="sldNum" sz="quarter" idx="10"/>
          </p:nvPr>
        </p:nvSpPr>
        <p:spPr/>
        <p:txBody>
          <a:bodyPr/>
          <a:lstStyle/>
          <a:p>
            <a:fld id="{D4E6D71C-ACD7-49D2-9689-F9C4024FAC38}" type="slidenum">
              <a:rPr lang="en-US" smtClean="0"/>
              <a:t>12</a:t>
            </a:fld>
            <a:endParaRPr lang="en-US" dirty="0"/>
          </a:p>
        </p:txBody>
      </p:sp>
      <p:sp>
        <p:nvSpPr>
          <p:cNvPr id="4" name="TextBox 3">
            <a:extLst>
              <a:ext uri="{FF2B5EF4-FFF2-40B4-BE49-F238E27FC236}">
                <a16:creationId xmlns:a16="http://schemas.microsoft.com/office/drawing/2014/main" id="{CFF0021F-3466-4B56-8E96-64D48AD029AB}"/>
              </a:ext>
            </a:extLst>
          </p:cNvPr>
          <p:cNvSpPr txBox="1"/>
          <p:nvPr/>
        </p:nvSpPr>
        <p:spPr>
          <a:xfrm>
            <a:off x="1487968" y="1556987"/>
            <a:ext cx="9072063" cy="3462486"/>
          </a:xfrm>
          <a:prstGeom prst="rect">
            <a:avLst/>
          </a:prstGeom>
          <a:noFill/>
        </p:spPr>
        <p:txBody>
          <a:bodyPr wrap="square" rtlCol="0">
            <a:spAutoFit/>
          </a:bodyPr>
          <a:lstStyle/>
          <a:p>
            <a:pPr marL="285750" lvl="0" indent="-285750">
              <a:lnSpc>
                <a:spcPct val="150000"/>
              </a:lnSpc>
              <a:spcAft>
                <a:spcPts val="600"/>
              </a:spcAft>
              <a:buFont typeface="Arial" panose="020B0604020202020204" pitchFamily="34" charset="0"/>
              <a:buChar char="•"/>
            </a:pPr>
            <a:r>
              <a:rPr lang="en-GB" b="1" dirty="0">
                <a:solidFill>
                  <a:schemeClr val="accent1"/>
                </a:solidFill>
                <a:hlinkClick r:id="rId2"/>
              </a:rPr>
              <a:t>Iason Avramiotis</a:t>
            </a:r>
            <a:endParaRPr lang="en-US" b="1" dirty="0">
              <a:solidFill>
                <a:schemeClr val="accent1"/>
              </a:solidFill>
            </a:endParaRPr>
          </a:p>
          <a:p>
            <a:pPr marL="742950" lvl="1" indent="-285750">
              <a:lnSpc>
                <a:spcPct val="150000"/>
              </a:lnSpc>
              <a:spcAft>
                <a:spcPts val="600"/>
              </a:spcAft>
              <a:buFont typeface="Arial" panose="020B0604020202020204" pitchFamily="34" charset="0"/>
              <a:buChar char="•"/>
            </a:pPr>
            <a:r>
              <a:rPr lang="en-GB" b="1" dirty="0"/>
              <a:t>Chairman IGCC Steering Committee</a:t>
            </a:r>
          </a:p>
          <a:p>
            <a:pPr marL="285750" lvl="0" indent="-285750">
              <a:lnSpc>
                <a:spcPct val="150000"/>
              </a:lnSpc>
              <a:spcAft>
                <a:spcPts val="600"/>
              </a:spcAft>
              <a:buFont typeface="Arial" panose="020B0604020202020204" pitchFamily="34" charset="0"/>
              <a:buChar char="•"/>
            </a:pPr>
            <a:r>
              <a:rPr lang="en-GB" b="1" dirty="0">
                <a:solidFill>
                  <a:schemeClr val="accent1"/>
                </a:solidFill>
                <a:hlinkClick r:id="rId3"/>
              </a:rPr>
              <a:t>Dimitrios Nousios</a:t>
            </a:r>
            <a:endParaRPr lang="en-GB" b="1" dirty="0">
              <a:solidFill>
                <a:schemeClr val="accent1"/>
              </a:solidFill>
            </a:endParaRPr>
          </a:p>
          <a:p>
            <a:pPr marL="742950" lvl="1" indent="-285750">
              <a:lnSpc>
                <a:spcPct val="150000"/>
              </a:lnSpc>
              <a:spcAft>
                <a:spcPts val="600"/>
              </a:spcAft>
              <a:buFont typeface="Arial" panose="020B0604020202020204" pitchFamily="34" charset="0"/>
              <a:buChar char="•"/>
            </a:pPr>
            <a:r>
              <a:rPr lang="en-GB" b="1" dirty="0"/>
              <a:t>Convener IGCC Expert Group</a:t>
            </a:r>
            <a:endParaRPr lang="en-US" b="1" dirty="0"/>
          </a:p>
          <a:p>
            <a:pPr marL="285750" lvl="0" indent="-285750">
              <a:lnSpc>
                <a:spcPct val="150000"/>
              </a:lnSpc>
              <a:spcAft>
                <a:spcPts val="600"/>
              </a:spcAft>
              <a:buFont typeface="Arial" panose="020B0604020202020204" pitchFamily="34" charset="0"/>
              <a:buChar char="•"/>
            </a:pPr>
            <a:r>
              <a:rPr lang="en-GB" b="1" dirty="0">
                <a:solidFill>
                  <a:schemeClr val="accent1"/>
                </a:solidFill>
                <a:hlinkClick r:id="rId4"/>
              </a:rPr>
              <a:t>Ricardo Renedo Williams</a:t>
            </a:r>
            <a:endParaRPr lang="en-GB" b="1" dirty="0">
              <a:solidFill>
                <a:schemeClr val="accent1"/>
              </a:solidFill>
            </a:endParaRPr>
          </a:p>
          <a:p>
            <a:pPr marL="742950" lvl="1" indent="-285750">
              <a:lnSpc>
                <a:spcPct val="150000"/>
              </a:lnSpc>
              <a:spcAft>
                <a:spcPts val="600"/>
              </a:spcAft>
              <a:buFont typeface="Arial" panose="020B0604020202020204" pitchFamily="34" charset="0"/>
              <a:buChar char="•"/>
            </a:pPr>
            <a:r>
              <a:rPr lang="en-GB" b="1" dirty="0"/>
              <a:t>IGCC facilitating party. ENTSO-E. </a:t>
            </a:r>
            <a:endParaRPr lang="en-US" b="1" dirty="0"/>
          </a:p>
          <a:p>
            <a:pPr lvl="0">
              <a:lnSpc>
                <a:spcPct val="150000"/>
              </a:lnSpc>
              <a:spcAft>
                <a:spcPts val="600"/>
              </a:spcAft>
            </a:pPr>
            <a:endParaRPr lang="en-GB" dirty="0"/>
          </a:p>
        </p:txBody>
      </p:sp>
    </p:spTree>
    <p:extLst>
      <p:ext uri="{BB962C8B-B14F-4D97-AF65-F5344CB8AC3E}">
        <p14:creationId xmlns:p14="http://schemas.microsoft.com/office/powerpoint/2010/main" val="7228250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4E6D71C-ACD7-49D2-9689-F9C4024FAC38}" type="slidenum">
              <a:rPr lang="en-IE" smtClean="0"/>
              <a:t>13</a:t>
            </a:fld>
            <a:endParaRPr lang="en-IE" dirty="0"/>
          </a:p>
        </p:txBody>
      </p:sp>
      <p:sp>
        <p:nvSpPr>
          <p:cNvPr id="13" name="Title 12"/>
          <p:cNvSpPr>
            <a:spLocks noGrp="1"/>
          </p:cNvSpPr>
          <p:nvPr>
            <p:ph type="title"/>
          </p:nvPr>
        </p:nvSpPr>
        <p:spPr/>
        <p:txBody>
          <a:bodyPr/>
          <a:lstStyle/>
          <a:p>
            <a:r>
              <a:rPr lang="en-GB" dirty="0"/>
              <a:t>PICASSO implementation</a:t>
            </a:r>
          </a:p>
        </p:txBody>
      </p:sp>
      <p:sp>
        <p:nvSpPr>
          <p:cNvPr id="14" name="Content Placeholder 13"/>
          <p:cNvSpPr>
            <a:spLocks noGrp="1"/>
          </p:cNvSpPr>
          <p:nvPr>
            <p:ph sz="quarter" idx="11"/>
          </p:nvPr>
        </p:nvSpPr>
        <p:spPr/>
        <p:txBody>
          <a:bodyPr/>
          <a:lstStyle/>
          <a:p>
            <a:endParaRPr lang="en-GB"/>
          </a:p>
        </p:txBody>
      </p:sp>
      <p:sp>
        <p:nvSpPr>
          <p:cNvPr id="15" name="Text Placeholder 14"/>
          <p:cNvSpPr>
            <a:spLocks noGrp="1"/>
          </p:cNvSpPr>
          <p:nvPr>
            <p:ph type="body" sz="quarter" idx="12"/>
          </p:nvPr>
        </p:nvSpPr>
        <p:spPr/>
        <p:txBody>
          <a:bodyPr/>
          <a:lstStyle/>
          <a:p>
            <a:endParaRPr lang="en-GB"/>
          </a:p>
        </p:txBody>
      </p:sp>
      <p:pic>
        <p:nvPicPr>
          <p:cNvPr id="6" name="Picture 5">
            <a:extLst>
              <a:ext uri="{FF2B5EF4-FFF2-40B4-BE49-F238E27FC236}">
                <a16:creationId xmlns:a16="http://schemas.microsoft.com/office/drawing/2014/main" id="{E8E28A69-4D0E-4C65-993B-A931BA3BF563}"/>
              </a:ext>
            </a:extLst>
          </p:cNvPr>
          <p:cNvPicPr>
            <a:picLocks noChangeAspect="1"/>
          </p:cNvPicPr>
          <p:nvPr/>
        </p:nvPicPr>
        <p:blipFill>
          <a:blip r:embed="rId3"/>
          <a:stretch>
            <a:fillRect/>
          </a:stretch>
        </p:blipFill>
        <p:spPr>
          <a:xfrm>
            <a:off x="10093658" y="6309020"/>
            <a:ext cx="1573010" cy="459573"/>
          </a:xfrm>
          <a:prstGeom prst="rect">
            <a:avLst/>
          </a:prstGeom>
        </p:spPr>
      </p:pic>
    </p:spTree>
    <p:extLst>
      <p:ext uri="{BB962C8B-B14F-4D97-AF65-F5344CB8AC3E}">
        <p14:creationId xmlns:p14="http://schemas.microsoft.com/office/powerpoint/2010/main" val="13673836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240A6E-48CE-403B-B3B4-BAD39758E5A5}"/>
              </a:ext>
            </a:extLst>
          </p:cNvPr>
          <p:cNvSpPr>
            <a:spLocks noGrp="1"/>
          </p:cNvSpPr>
          <p:nvPr>
            <p:ph type="body" sz="quarter" idx="11"/>
          </p:nvPr>
        </p:nvSpPr>
        <p:spPr/>
        <p:txBody>
          <a:bodyPr/>
          <a:lstStyle/>
          <a:p>
            <a:r>
              <a:rPr lang="en-GB" dirty="0">
                <a:solidFill>
                  <a:schemeClr val="accent1"/>
                </a:solidFill>
              </a:rPr>
              <a:t>Agenda</a:t>
            </a:r>
            <a:endParaRPr lang="en-US" dirty="0">
              <a:solidFill>
                <a:schemeClr val="accent1"/>
              </a:solidFill>
            </a:endParaRPr>
          </a:p>
        </p:txBody>
      </p:sp>
      <p:sp>
        <p:nvSpPr>
          <p:cNvPr id="3" name="Slide Number Placeholder 2">
            <a:extLst>
              <a:ext uri="{FF2B5EF4-FFF2-40B4-BE49-F238E27FC236}">
                <a16:creationId xmlns:a16="http://schemas.microsoft.com/office/drawing/2014/main" id="{2554C747-F0D3-4254-82F1-E7593AA983BB}"/>
              </a:ext>
            </a:extLst>
          </p:cNvPr>
          <p:cNvSpPr>
            <a:spLocks noGrp="1"/>
          </p:cNvSpPr>
          <p:nvPr>
            <p:ph type="sldNum" sz="quarter" idx="10"/>
          </p:nvPr>
        </p:nvSpPr>
        <p:spPr/>
        <p:txBody>
          <a:bodyPr/>
          <a:lstStyle/>
          <a:p>
            <a:fld id="{D4E6D71C-ACD7-49D2-9689-F9C4024FAC38}" type="slidenum">
              <a:rPr lang="en-US" smtClean="0"/>
              <a:t>14</a:t>
            </a:fld>
            <a:endParaRPr lang="en-US" dirty="0"/>
          </a:p>
        </p:txBody>
      </p:sp>
      <p:sp>
        <p:nvSpPr>
          <p:cNvPr id="4" name="TextBox 3">
            <a:extLst>
              <a:ext uri="{FF2B5EF4-FFF2-40B4-BE49-F238E27FC236}">
                <a16:creationId xmlns:a16="http://schemas.microsoft.com/office/drawing/2014/main" id="{CFF0021F-3466-4B56-8E96-64D48AD029AB}"/>
              </a:ext>
            </a:extLst>
          </p:cNvPr>
          <p:cNvSpPr txBox="1"/>
          <p:nvPr/>
        </p:nvSpPr>
        <p:spPr>
          <a:xfrm>
            <a:off x="1487968" y="1556987"/>
            <a:ext cx="9072063" cy="1985159"/>
          </a:xfrm>
          <a:prstGeom prst="rect">
            <a:avLst/>
          </a:prstGeom>
          <a:noFill/>
        </p:spPr>
        <p:txBody>
          <a:bodyPr wrap="square" rtlCol="0">
            <a:spAutoFit/>
          </a:bodyPr>
          <a:lstStyle/>
          <a:p>
            <a:pPr marL="285750" lvl="0" indent="-285750">
              <a:lnSpc>
                <a:spcPct val="150000"/>
              </a:lnSpc>
              <a:spcAft>
                <a:spcPts val="600"/>
              </a:spcAft>
              <a:buFont typeface="Arial" panose="020B0604020202020204" pitchFamily="34" charset="0"/>
              <a:buChar char="•"/>
            </a:pPr>
            <a:r>
              <a:rPr lang="en-GB" dirty="0"/>
              <a:t>PICASSO</a:t>
            </a:r>
            <a:r>
              <a:rPr lang="en-GB" b="1" dirty="0">
                <a:solidFill>
                  <a:schemeClr val="accent1"/>
                </a:solidFill>
              </a:rPr>
              <a:t> implementation roadmap</a:t>
            </a:r>
          </a:p>
          <a:p>
            <a:pPr marL="285750" indent="-285750">
              <a:lnSpc>
                <a:spcPct val="150000"/>
              </a:lnSpc>
              <a:spcAft>
                <a:spcPts val="600"/>
              </a:spcAft>
              <a:buFont typeface="Arial" panose="020B0604020202020204" pitchFamily="34" charset="0"/>
              <a:buChar char="•"/>
            </a:pPr>
            <a:r>
              <a:rPr lang="en-GB" dirty="0"/>
              <a:t>PICASSO</a:t>
            </a:r>
            <a:r>
              <a:rPr lang="en-GB" b="1" dirty="0">
                <a:solidFill>
                  <a:schemeClr val="accent1"/>
                </a:solidFill>
              </a:rPr>
              <a:t> implementation guide</a:t>
            </a:r>
          </a:p>
          <a:p>
            <a:pPr marL="285750" indent="-285750">
              <a:lnSpc>
                <a:spcPct val="150000"/>
              </a:lnSpc>
              <a:spcAft>
                <a:spcPts val="600"/>
              </a:spcAft>
              <a:buFont typeface="Arial" panose="020B0604020202020204" pitchFamily="34" charset="0"/>
              <a:buChar char="•"/>
            </a:pPr>
            <a:r>
              <a:rPr lang="en-GB" b="1" dirty="0">
                <a:solidFill>
                  <a:schemeClr val="accent1"/>
                </a:solidFill>
              </a:rPr>
              <a:t>Coordinated work</a:t>
            </a:r>
          </a:p>
          <a:p>
            <a:pPr marL="285750" lvl="0" indent="-285750">
              <a:lnSpc>
                <a:spcPct val="150000"/>
              </a:lnSpc>
              <a:spcAft>
                <a:spcPts val="600"/>
              </a:spcAft>
              <a:buFont typeface="Arial" panose="020B0604020202020204" pitchFamily="34" charset="0"/>
              <a:buChar char="•"/>
            </a:pPr>
            <a:r>
              <a:rPr lang="en-GB" dirty="0"/>
              <a:t>Contact points in PICASSO</a:t>
            </a:r>
          </a:p>
        </p:txBody>
      </p:sp>
      <p:pic>
        <p:nvPicPr>
          <p:cNvPr id="5" name="Picture 4">
            <a:extLst>
              <a:ext uri="{FF2B5EF4-FFF2-40B4-BE49-F238E27FC236}">
                <a16:creationId xmlns:a16="http://schemas.microsoft.com/office/drawing/2014/main" id="{B2D63195-C137-4B68-9AF0-4A1414424651}"/>
              </a:ext>
            </a:extLst>
          </p:cNvPr>
          <p:cNvPicPr>
            <a:picLocks noChangeAspect="1"/>
          </p:cNvPicPr>
          <p:nvPr/>
        </p:nvPicPr>
        <p:blipFill>
          <a:blip r:embed="rId2"/>
          <a:stretch>
            <a:fillRect/>
          </a:stretch>
        </p:blipFill>
        <p:spPr>
          <a:xfrm>
            <a:off x="10103053" y="6254089"/>
            <a:ext cx="1573010" cy="459573"/>
          </a:xfrm>
          <a:prstGeom prst="rect">
            <a:avLst/>
          </a:prstGeom>
        </p:spPr>
      </p:pic>
    </p:spTree>
    <p:extLst>
      <p:ext uri="{BB962C8B-B14F-4D97-AF65-F5344CB8AC3E}">
        <p14:creationId xmlns:p14="http://schemas.microsoft.com/office/powerpoint/2010/main" val="1923217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286161-C1B4-44BC-B54C-97875C035C0E}"/>
              </a:ext>
            </a:extLst>
          </p:cNvPr>
          <p:cNvSpPr>
            <a:spLocks noGrp="1"/>
          </p:cNvSpPr>
          <p:nvPr>
            <p:ph type="sldNum" sz="quarter" idx="10"/>
          </p:nvPr>
        </p:nvSpPr>
        <p:spPr/>
        <p:txBody>
          <a:bodyPr/>
          <a:lstStyle/>
          <a:p>
            <a:fld id="{D4E6D71C-ACD7-49D2-9689-F9C4024FAC38}" type="slidenum">
              <a:rPr lang="en-IE" smtClean="0"/>
              <a:pPr/>
              <a:t>15</a:t>
            </a:fld>
            <a:endParaRPr lang="en-IE" dirty="0"/>
          </a:p>
        </p:txBody>
      </p:sp>
      <p:sp>
        <p:nvSpPr>
          <p:cNvPr id="3" name="Text Placeholder 2">
            <a:extLst>
              <a:ext uri="{FF2B5EF4-FFF2-40B4-BE49-F238E27FC236}">
                <a16:creationId xmlns:a16="http://schemas.microsoft.com/office/drawing/2014/main" id="{25CD5050-96CD-42EA-97FD-0E1CE8387155}"/>
              </a:ext>
            </a:extLst>
          </p:cNvPr>
          <p:cNvSpPr>
            <a:spLocks noGrp="1"/>
          </p:cNvSpPr>
          <p:nvPr>
            <p:ph type="body" sz="quarter" idx="11"/>
          </p:nvPr>
        </p:nvSpPr>
        <p:spPr>
          <a:xfrm>
            <a:off x="414337" y="456139"/>
            <a:ext cx="11160125" cy="708025"/>
          </a:xfrm>
        </p:spPr>
        <p:txBody>
          <a:bodyPr>
            <a:normAutofit/>
          </a:bodyPr>
          <a:lstStyle/>
          <a:p>
            <a:r>
              <a:rPr lang="en-GB" dirty="0">
                <a:solidFill>
                  <a:schemeClr val="accent1"/>
                </a:solidFill>
              </a:rPr>
              <a:t>Implementation roadmap</a:t>
            </a:r>
            <a:endParaRPr lang="en-US" dirty="0">
              <a:solidFill>
                <a:schemeClr val="accent1"/>
              </a:solidFill>
            </a:endParaRPr>
          </a:p>
        </p:txBody>
      </p:sp>
      <p:sp>
        <p:nvSpPr>
          <p:cNvPr id="7" name="TextBox 6">
            <a:extLst>
              <a:ext uri="{FF2B5EF4-FFF2-40B4-BE49-F238E27FC236}">
                <a16:creationId xmlns:a16="http://schemas.microsoft.com/office/drawing/2014/main" id="{0999B7A5-46DD-4D6C-99A6-7D27BB69C858}"/>
              </a:ext>
            </a:extLst>
          </p:cNvPr>
          <p:cNvSpPr txBox="1"/>
          <p:nvPr/>
        </p:nvSpPr>
        <p:spPr>
          <a:xfrm>
            <a:off x="767963" y="1319910"/>
            <a:ext cx="10512073" cy="4508927"/>
          </a:xfrm>
          <a:prstGeom prst="rect">
            <a:avLst/>
          </a:prstGeom>
          <a:noFill/>
        </p:spPr>
        <p:txBody>
          <a:bodyPr wrap="square" rtlCol="0">
            <a:spAutoFit/>
          </a:bodyPr>
          <a:lstStyle/>
          <a:p>
            <a:r>
              <a:rPr lang="en-GB" b="1" dirty="0"/>
              <a:t>EB GL Art. 21(6)</a:t>
            </a:r>
            <a:r>
              <a:rPr lang="en-GB" dirty="0"/>
              <a:t>: deadline for implementation is thirty months after the approval of the aFRRIF (est. August 2022).</a:t>
            </a:r>
          </a:p>
          <a:p>
            <a:endParaRPr lang="en-GB" dirty="0"/>
          </a:p>
          <a:p>
            <a:pPr>
              <a:spcAft>
                <a:spcPts val="600"/>
              </a:spcAft>
            </a:pPr>
            <a:r>
              <a:rPr lang="en-GB" dirty="0"/>
              <a:t>PICASSO TSOs are preparing national roadmaps on the implementation steps needed to be able to join the platform. These include different levels of changes:</a:t>
            </a:r>
          </a:p>
          <a:p>
            <a:pPr marL="285750" indent="-285750">
              <a:spcAft>
                <a:spcPts val="1200"/>
              </a:spcAft>
              <a:buFont typeface="Arial" panose="020B0604020202020204" pitchFamily="34" charset="0"/>
              <a:buChar char="•"/>
            </a:pPr>
            <a:r>
              <a:rPr lang="en-GB" b="1" dirty="0">
                <a:solidFill>
                  <a:schemeClr val="accent1"/>
                </a:solidFill>
              </a:rPr>
              <a:t>Markets</a:t>
            </a:r>
            <a:r>
              <a:rPr lang="en-GB" dirty="0"/>
              <a:t>: including marginal pricing, free bidding, control-cycle volume determination, adaption of gate opening and gate closure times, MOL activation of balancing energy and incentives to react faster.</a:t>
            </a:r>
          </a:p>
          <a:p>
            <a:pPr marL="285750" indent="-285750">
              <a:spcAft>
                <a:spcPts val="1200"/>
              </a:spcAft>
              <a:buFont typeface="Arial" panose="020B0604020202020204" pitchFamily="34" charset="0"/>
              <a:buChar char="•"/>
            </a:pPr>
            <a:r>
              <a:rPr lang="en-GB" b="1" dirty="0">
                <a:solidFill>
                  <a:schemeClr val="accent1"/>
                </a:solidFill>
              </a:rPr>
              <a:t>Legal</a:t>
            </a:r>
            <a:r>
              <a:rPr lang="en-GB" dirty="0"/>
              <a:t>: including market-related legal changes, approval of accessions, signature of contracts and notifications.</a:t>
            </a:r>
          </a:p>
          <a:p>
            <a:pPr marL="285750" indent="-285750">
              <a:spcAft>
                <a:spcPts val="1200"/>
              </a:spcAft>
              <a:buFont typeface="Arial" panose="020B0604020202020204" pitchFamily="34" charset="0"/>
              <a:buChar char="•"/>
            </a:pPr>
            <a:r>
              <a:rPr lang="en-GB" b="1" dirty="0">
                <a:solidFill>
                  <a:schemeClr val="accent1"/>
                </a:solidFill>
              </a:rPr>
              <a:t>Technical</a:t>
            </a:r>
            <a:r>
              <a:rPr lang="en-GB" dirty="0"/>
              <a:t>: market-related technical changes, updates of interfaces with VSPs, installation of main communication line connections.</a:t>
            </a:r>
          </a:p>
          <a:p>
            <a:pPr>
              <a:spcAft>
                <a:spcPts val="1200"/>
              </a:spcAft>
            </a:pPr>
            <a:r>
              <a:rPr lang="en-GB" dirty="0"/>
              <a:t>With these national roadmaps, PICASSO will create the accession roadmap for each TSO to become operational in PICASSO, similar to the one for IGCC.</a:t>
            </a:r>
            <a:endParaRPr lang="en-US" dirty="0"/>
          </a:p>
        </p:txBody>
      </p:sp>
      <p:pic>
        <p:nvPicPr>
          <p:cNvPr id="5" name="Picture 4">
            <a:extLst>
              <a:ext uri="{FF2B5EF4-FFF2-40B4-BE49-F238E27FC236}">
                <a16:creationId xmlns:a16="http://schemas.microsoft.com/office/drawing/2014/main" id="{3181AB4E-2CB2-4A80-BC1C-4052555CF001}"/>
              </a:ext>
            </a:extLst>
          </p:cNvPr>
          <p:cNvPicPr>
            <a:picLocks noChangeAspect="1"/>
          </p:cNvPicPr>
          <p:nvPr/>
        </p:nvPicPr>
        <p:blipFill>
          <a:blip r:embed="rId3"/>
          <a:stretch>
            <a:fillRect/>
          </a:stretch>
        </p:blipFill>
        <p:spPr>
          <a:xfrm>
            <a:off x="10103053" y="6254089"/>
            <a:ext cx="1573010" cy="459573"/>
          </a:xfrm>
          <a:prstGeom prst="rect">
            <a:avLst/>
          </a:prstGeom>
        </p:spPr>
      </p:pic>
    </p:spTree>
    <p:extLst>
      <p:ext uri="{BB962C8B-B14F-4D97-AF65-F5344CB8AC3E}">
        <p14:creationId xmlns:p14="http://schemas.microsoft.com/office/powerpoint/2010/main" val="15480852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286161-C1B4-44BC-B54C-97875C035C0E}"/>
              </a:ext>
            </a:extLst>
          </p:cNvPr>
          <p:cNvSpPr>
            <a:spLocks noGrp="1"/>
          </p:cNvSpPr>
          <p:nvPr>
            <p:ph type="sldNum" sz="quarter" idx="10"/>
          </p:nvPr>
        </p:nvSpPr>
        <p:spPr/>
        <p:txBody>
          <a:bodyPr/>
          <a:lstStyle/>
          <a:p>
            <a:fld id="{D4E6D71C-ACD7-49D2-9689-F9C4024FAC38}" type="slidenum">
              <a:rPr lang="en-IE" smtClean="0"/>
              <a:pPr/>
              <a:t>16</a:t>
            </a:fld>
            <a:endParaRPr lang="en-IE" dirty="0"/>
          </a:p>
        </p:txBody>
      </p:sp>
      <p:sp>
        <p:nvSpPr>
          <p:cNvPr id="3" name="Text Placeholder 2">
            <a:extLst>
              <a:ext uri="{FF2B5EF4-FFF2-40B4-BE49-F238E27FC236}">
                <a16:creationId xmlns:a16="http://schemas.microsoft.com/office/drawing/2014/main" id="{25CD5050-96CD-42EA-97FD-0E1CE8387155}"/>
              </a:ext>
            </a:extLst>
          </p:cNvPr>
          <p:cNvSpPr>
            <a:spLocks noGrp="1"/>
          </p:cNvSpPr>
          <p:nvPr>
            <p:ph type="body" sz="quarter" idx="11"/>
          </p:nvPr>
        </p:nvSpPr>
        <p:spPr>
          <a:xfrm>
            <a:off x="414337" y="456139"/>
            <a:ext cx="11160125" cy="708025"/>
          </a:xfrm>
        </p:spPr>
        <p:txBody>
          <a:bodyPr>
            <a:normAutofit/>
          </a:bodyPr>
          <a:lstStyle/>
          <a:p>
            <a:r>
              <a:rPr lang="en-GB" dirty="0">
                <a:solidFill>
                  <a:schemeClr val="accent1"/>
                </a:solidFill>
              </a:rPr>
              <a:t>Implementation guide</a:t>
            </a:r>
            <a:endParaRPr lang="en-US" dirty="0">
              <a:solidFill>
                <a:schemeClr val="accent1"/>
              </a:solidFill>
            </a:endParaRPr>
          </a:p>
        </p:txBody>
      </p:sp>
      <p:sp>
        <p:nvSpPr>
          <p:cNvPr id="7" name="TextBox 6">
            <a:extLst>
              <a:ext uri="{FF2B5EF4-FFF2-40B4-BE49-F238E27FC236}">
                <a16:creationId xmlns:a16="http://schemas.microsoft.com/office/drawing/2014/main" id="{0999B7A5-46DD-4D6C-99A6-7D27BB69C858}"/>
              </a:ext>
            </a:extLst>
          </p:cNvPr>
          <p:cNvSpPr txBox="1"/>
          <p:nvPr/>
        </p:nvSpPr>
        <p:spPr>
          <a:xfrm>
            <a:off x="1055965" y="1700988"/>
            <a:ext cx="9648067" cy="3939540"/>
          </a:xfrm>
          <a:prstGeom prst="rect">
            <a:avLst/>
          </a:prstGeom>
          <a:noFill/>
        </p:spPr>
        <p:txBody>
          <a:bodyPr wrap="square" rtlCol="0">
            <a:spAutoFit/>
          </a:bodyPr>
          <a:lstStyle/>
          <a:p>
            <a:pPr>
              <a:spcAft>
                <a:spcPts val="1200"/>
              </a:spcAft>
            </a:pPr>
            <a:r>
              <a:rPr lang="en-GB" dirty="0"/>
              <a:t>PICASSO has developed an implementation guide of the project. This explains, for a technical point of view, the </a:t>
            </a:r>
            <a:r>
              <a:rPr lang="en-GB" b="1" dirty="0"/>
              <a:t>information exchanges</a:t>
            </a:r>
            <a:r>
              <a:rPr lang="en-GB" dirty="0"/>
              <a:t> needed to run the platform. </a:t>
            </a:r>
          </a:p>
          <a:p>
            <a:pPr>
              <a:spcAft>
                <a:spcPts val="1200"/>
              </a:spcAft>
            </a:pPr>
            <a:endParaRPr lang="en-GB" dirty="0"/>
          </a:p>
          <a:p>
            <a:pPr>
              <a:spcAft>
                <a:spcPts val="1200"/>
              </a:spcAft>
            </a:pPr>
            <a:r>
              <a:rPr lang="en-GB" dirty="0"/>
              <a:t>This includes, among others:</a:t>
            </a:r>
          </a:p>
          <a:p>
            <a:pPr marL="742950" lvl="1" indent="-285750">
              <a:spcAft>
                <a:spcPts val="1200"/>
              </a:spcAft>
              <a:buFont typeface="Arial" panose="020B0604020202020204" pitchFamily="34" charset="0"/>
              <a:buChar char="•"/>
            </a:pPr>
            <a:r>
              <a:rPr lang="en-GB" dirty="0"/>
              <a:t>Process data exchanges via different communication protocols for real-time communications.</a:t>
            </a:r>
          </a:p>
          <a:p>
            <a:pPr marL="742950" lvl="1" indent="-285750">
              <a:spcAft>
                <a:spcPts val="1200"/>
              </a:spcAft>
              <a:buFont typeface="Arial" panose="020B0604020202020204" pitchFamily="34" charset="0"/>
              <a:buChar char="•"/>
            </a:pPr>
            <a:r>
              <a:rPr lang="en-GB" dirty="0"/>
              <a:t>Rules for non-real time communication exchanges.</a:t>
            </a:r>
          </a:p>
          <a:p>
            <a:pPr lvl="1">
              <a:spcAft>
                <a:spcPts val="1200"/>
              </a:spcAft>
            </a:pPr>
            <a:endParaRPr lang="en-GB" dirty="0"/>
          </a:p>
          <a:p>
            <a:pPr marL="0" lvl="1">
              <a:spcAft>
                <a:spcPts val="1200"/>
              </a:spcAft>
            </a:pPr>
            <a:r>
              <a:rPr lang="en-GB" dirty="0"/>
              <a:t>This implementation guide has been reviewed by ENTSO-E.</a:t>
            </a:r>
          </a:p>
          <a:p>
            <a:pPr marL="742950" lvl="1" indent="-285750">
              <a:buFont typeface="Arial" panose="020B0604020202020204" pitchFamily="34" charset="0"/>
              <a:buChar char="•"/>
            </a:pPr>
            <a:endParaRPr lang="en-GB" dirty="0"/>
          </a:p>
        </p:txBody>
      </p:sp>
      <p:pic>
        <p:nvPicPr>
          <p:cNvPr id="5" name="Picture 4">
            <a:extLst>
              <a:ext uri="{FF2B5EF4-FFF2-40B4-BE49-F238E27FC236}">
                <a16:creationId xmlns:a16="http://schemas.microsoft.com/office/drawing/2014/main" id="{1AFEE2AF-69BF-4C06-8A50-34430AF62645}"/>
              </a:ext>
            </a:extLst>
          </p:cNvPr>
          <p:cNvPicPr>
            <a:picLocks noChangeAspect="1"/>
          </p:cNvPicPr>
          <p:nvPr/>
        </p:nvPicPr>
        <p:blipFill>
          <a:blip r:embed="rId3"/>
          <a:stretch>
            <a:fillRect/>
          </a:stretch>
        </p:blipFill>
        <p:spPr>
          <a:xfrm>
            <a:off x="10103053" y="6254089"/>
            <a:ext cx="1573010" cy="459573"/>
          </a:xfrm>
          <a:prstGeom prst="rect">
            <a:avLst/>
          </a:prstGeom>
        </p:spPr>
      </p:pic>
    </p:spTree>
    <p:extLst>
      <p:ext uri="{BB962C8B-B14F-4D97-AF65-F5344CB8AC3E}">
        <p14:creationId xmlns:p14="http://schemas.microsoft.com/office/powerpoint/2010/main" val="3253916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286161-C1B4-44BC-B54C-97875C035C0E}"/>
              </a:ext>
            </a:extLst>
          </p:cNvPr>
          <p:cNvSpPr>
            <a:spLocks noGrp="1"/>
          </p:cNvSpPr>
          <p:nvPr>
            <p:ph type="sldNum" sz="quarter" idx="10"/>
          </p:nvPr>
        </p:nvSpPr>
        <p:spPr/>
        <p:txBody>
          <a:bodyPr/>
          <a:lstStyle/>
          <a:p>
            <a:fld id="{D4E6D71C-ACD7-49D2-9689-F9C4024FAC38}" type="slidenum">
              <a:rPr lang="en-IE" smtClean="0"/>
              <a:pPr/>
              <a:t>17</a:t>
            </a:fld>
            <a:endParaRPr lang="en-IE" dirty="0"/>
          </a:p>
        </p:txBody>
      </p:sp>
      <p:sp>
        <p:nvSpPr>
          <p:cNvPr id="3" name="Text Placeholder 2">
            <a:extLst>
              <a:ext uri="{FF2B5EF4-FFF2-40B4-BE49-F238E27FC236}">
                <a16:creationId xmlns:a16="http://schemas.microsoft.com/office/drawing/2014/main" id="{25CD5050-96CD-42EA-97FD-0E1CE8387155}"/>
              </a:ext>
            </a:extLst>
          </p:cNvPr>
          <p:cNvSpPr>
            <a:spLocks noGrp="1"/>
          </p:cNvSpPr>
          <p:nvPr>
            <p:ph type="body" sz="quarter" idx="11"/>
          </p:nvPr>
        </p:nvSpPr>
        <p:spPr>
          <a:xfrm>
            <a:off x="414337" y="456139"/>
            <a:ext cx="11160125" cy="708025"/>
          </a:xfrm>
        </p:spPr>
        <p:txBody>
          <a:bodyPr>
            <a:normAutofit/>
          </a:bodyPr>
          <a:lstStyle/>
          <a:p>
            <a:r>
              <a:rPr lang="en-GB" dirty="0">
                <a:solidFill>
                  <a:schemeClr val="accent1"/>
                </a:solidFill>
              </a:rPr>
              <a:t>Coordinated work</a:t>
            </a:r>
            <a:endParaRPr lang="en-US" dirty="0">
              <a:solidFill>
                <a:schemeClr val="accent1"/>
              </a:solidFill>
            </a:endParaRPr>
          </a:p>
        </p:txBody>
      </p:sp>
      <p:sp>
        <p:nvSpPr>
          <p:cNvPr id="35" name="TextBox 34">
            <a:extLst>
              <a:ext uri="{FF2B5EF4-FFF2-40B4-BE49-F238E27FC236}">
                <a16:creationId xmlns:a16="http://schemas.microsoft.com/office/drawing/2014/main" id="{1FBBE1A7-215A-42F2-ABD3-FD883C698DBD}"/>
              </a:ext>
            </a:extLst>
          </p:cNvPr>
          <p:cNvSpPr txBox="1"/>
          <p:nvPr/>
        </p:nvSpPr>
        <p:spPr>
          <a:xfrm>
            <a:off x="767964" y="1319910"/>
            <a:ext cx="10080069" cy="2308324"/>
          </a:xfrm>
          <a:prstGeom prst="rect">
            <a:avLst/>
          </a:prstGeom>
          <a:noFill/>
        </p:spPr>
        <p:txBody>
          <a:bodyPr wrap="square" rtlCol="0">
            <a:spAutoFit/>
          </a:bodyPr>
          <a:lstStyle/>
          <a:p>
            <a:r>
              <a:rPr lang="en-GB" dirty="0"/>
              <a:t>PICASSO, in coordination with ENTSO-E (MC, WG AS, PT Coordination) is doing additional work on other implementation aspects, such us:</a:t>
            </a:r>
          </a:p>
          <a:p>
            <a:endParaRPr lang="en-GB" dirty="0"/>
          </a:p>
          <a:p>
            <a:pPr marL="623888" indent="-285750">
              <a:buFont typeface="Arial" panose="020B0604020202020204" pitchFamily="34" charset="0"/>
              <a:buChar char="•"/>
            </a:pPr>
            <a:r>
              <a:rPr lang="en-GB" dirty="0"/>
              <a:t>Common invoicing of the balancing platforms;</a:t>
            </a:r>
          </a:p>
          <a:p>
            <a:pPr marL="623888" indent="-285750">
              <a:buFont typeface="Arial" panose="020B0604020202020204" pitchFamily="34" charset="0"/>
              <a:buChar char="•"/>
            </a:pPr>
            <a:endParaRPr lang="en-GB" dirty="0"/>
          </a:p>
          <a:p>
            <a:pPr marL="623888" indent="-285750">
              <a:buFont typeface="Arial" panose="020B0604020202020204" pitchFamily="34" charset="0"/>
              <a:buChar char="•"/>
            </a:pPr>
            <a:r>
              <a:rPr lang="en-GB" dirty="0"/>
              <a:t>Capacity management module;</a:t>
            </a:r>
          </a:p>
          <a:p>
            <a:pPr marL="623888" indent="-285750">
              <a:buFont typeface="Arial" panose="020B0604020202020204" pitchFamily="34" charset="0"/>
              <a:buChar char="•"/>
            </a:pPr>
            <a:endParaRPr lang="en-GB" dirty="0"/>
          </a:p>
          <a:p>
            <a:pPr marL="623888" indent="-285750">
              <a:buFont typeface="Arial" panose="020B0604020202020204" pitchFamily="34" charset="0"/>
              <a:buChar char="•"/>
            </a:pPr>
            <a:r>
              <a:rPr lang="en-GB" dirty="0"/>
              <a:t>Governance of IGCC and PICASSO once both go live</a:t>
            </a:r>
            <a:endParaRPr lang="en-US" dirty="0"/>
          </a:p>
        </p:txBody>
      </p:sp>
      <p:pic>
        <p:nvPicPr>
          <p:cNvPr id="5" name="Picture 4">
            <a:extLst>
              <a:ext uri="{FF2B5EF4-FFF2-40B4-BE49-F238E27FC236}">
                <a16:creationId xmlns:a16="http://schemas.microsoft.com/office/drawing/2014/main" id="{11B7E8B3-4B0B-4049-B12C-2E51144B0945}"/>
              </a:ext>
            </a:extLst>
          </p:cNvPr>
          <p:cNvPicPr>
            <a:picLocks noChangeAspect="1"/>
          </p:cNvPicPr>
          <p:nvPr/>
        </p:nvPicPr>
        <p:blipFill>
          <a:blip r:embed="rId3"/>
          <a:stretch>
            <a:fillRect/>
          </a:stretch>
        </p:blipFill>
        <p:spPr>
          <a:xfrm>
            <a:off x="10103053" y="6254089"/>
            <a:ext cx="1573010" cy="459573"/>
          </a:xfrm>
          <a:prstGeom prst="rect">
            <a:avLst/>
          </a:prstGeom>
        </p:spPr>
      </p:pic>
    </p:spTree>
    <p:extLst>
      <p:ext uri="{BB962C8B-B14F-4D97-AF65-F5344CB8AC3E}">
        <p14:creationId xmlns:p14="http://schemas.microsoft.com/office/powerpoint/2010/main" val="21919273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240A6E-48CE-403B-B3B4-BAD39758E5A5}"/>
              </a:ext>
            </a:extLst>
          </p:cNvPr>
          <p:cNvSpPr>
            <a:spLocks noGrp="1"/>
          </p:cNvSpPr>
          <p:nvPr>
            <p:ph type="body" sz="quarter" idx="11"/>
          </p:nvPr>
        </p:nvSpPr>
        <p:spPr/>
        <p:txBody>
          <a:bodyPr/>
          <a:lstStyle/>
          <a:p>
            <a:r>
              <a:rPr lang="en-GB" dirty="0">
                <a:solidFill>
                  <a:schemeClr val="accent1"/>
                </a:solidFill>
              </a:rPr>
              <a:t>Contact points for PICASSO</a:t>
            </a:r>
            <a:endParaRPr lang="en-US" dirty="0">
              <a:solidFill>
                <a:schemeClr val="accent1"/>
              </a:solidFill>
            </a:endParaRPr>
          </a:p>
        </p:txBody>
      </p:sp>
      <p:sp>
        <p:nvSpPr>
          <p:cNvPr id="3" name="Slide Number Placeholder 2">
            <a:extLst>
              <a:ext uri="{FF2B5EF4-FFF2-40B4-BE49-F238E27FC236}">
                <a16:creationId xmlns:a16="http://schemas.microsoft.com/office/drawing/2014/main" id="{2554C747-F0D3-4254-82F1-E7593AA983BB}"/>
              </a:ext>
            </a:extLst>
          </p:cNvPr>
          <p:cNvSpPr>
            <a:spLocks noGrp="1"/>
          </p:cNvSpPr>
          <p:nvPr>
            <p:ph type="sldNum" sz="quarter" idx="10"/>
          </p:nvPr>
        </p:nvSpPr>
        <p:spPr/>
        <p:txBody>
          <a:bodyPr/>
          <a:lstStyle/>
          <a:p>
            <a:fld id="{D4E6D71C-ACD7-49D2-9689-F9C4024FAC38}" type="slidenum">
              <a:rPr lang="en-US" smtClean="0"/>
              <a:t>18</a:t>
            </a:fld>
            <a:endParaRPr lang="en-US" dirty="0"/>
          </a:p>
        </p:txBody>
      </p:sp>
      <p:sp>
        <p:nvSpPr>
          <p:cNvPr id="4" name="TextBox 3">
            <a:extLst>
              <a:ext uri="{FF2B5EF4-FFF2-40B4-BE49-F238E27FC236}">
                <a16:creationId xmlns:a16="http://schemas.microsoft.com/office/drawing/2014/main" id="{CFF0021F-3466-4B56-8E96-64D48AD029AB}"/>
              </a:ext>
            </a:extLst>
          </p:cNvPr>
          <p:cNvSpPr txBox="1"/>
          <p:nvPr/>
        </p:nvSpPr>
        <p:spPr>
          <a:xfrm>
            <a:off x="1487968" y="1556987"/>
            <a:ext cx="9072063" cy="3462486"/>
          </a:xfrm>
          <a:prstGeom prst="rect">
            <a:avLst/>
          </a:prstGeom>
          <a:noFill/>
        </p:spPr>
        <p:txBody>
          <a:bodyPr wrap="square" rtlCol="0">
            <a:spAutoFit/>
          </a:bodyPr>
          <a:lstStyle/>
          <a:p>
            <a:pPr marL="285750" lvl="0" indent="-285750">
              <a:lnSpc>
                <a:spcPct val="150000"/>
              </a:lnSpc>
              <a:spcAft>
                <a:spcPts val="600"/>
              </a:spcAft>
              <a:buFont typeface="Arial" panose="020B0604020202020204" pitchFamily="34" charset="0"/>
              <a:buChar char="•"/>
            </a:pPr>
            <a:r>
              <a:rPr lang="es-ES" b="1" dirty="0">
                <a:solidFill>
                  <a:schemeClr val="accent1"/>
                </a:solidFill>
                <a:hlinkClick r:id="rId2"/>
              </a:rPr>
              <a:t>Pavel Zolotarev</a:t>
            </a:r>
            <a:r>
              <a:rPr lang="es-ES" b="1" dirty="0">
                <a:solidFill>
                  <a:schemeClr val="accent1"/>
                </a:solidFill>
              </a:rPr>
              <a:t>, </a:t>
            </a:r>
            <a:r>
              <a:rPr lang="es-ES" b="1" dirty="0">
                <a:solidFill>
                  <a:schemeClr val="accent1"/>
                </a:solidFill>
                <a:hlinkClick r:id="rId3"/>
              </a:rPr>
              <a:t>Amine Abada</a:t>
            </a:r>
            <a:endParaRPr lang="en-US" b="1" dirty="0">
              <a:solidFill>
                <a:schemeClr val="accent1"/>
              </a:solidFill>
            </a:endParaRPr>
          </a:p>
          <a:p>
            <a:pPr marL="742950" lvl="1" indent="-285750">
              <a:lnSpc>
                <a:spcPct val="150000"/>
              </a:lnSpc>
              <a:spcAft>
                <a:spcPts val="600"/>
              </a:spcAft>
              <a:buFont typeface="Arial" panose="020B0604020202020204" pitchFamily="34" charset="0"/>
              <a:buChar char="•"/>
            </a:pPr>
            <a:r>
              <a:rPr lang="en-GB" b="1" dirty="0"/>
              <a:t>Chairmen PICASSO Steering Committee</a:t>
            </a:r>
          </a:p>
          <a:p>
            <a:pPr marL="285750" lvl="0" indent="-285750">
              <a:lnSpc>
                <a:spcPct val="150000"/>
              </a:lnSpc>
              <a:spcAft>
                <a:spcPts val="600"/>
              </a:spcAft>
              <a:buFont typeface="Arial" panose="020B0604020202020204" pitchFamily="34" charset="0"/>
              <a:buChar char="•"/>
            </a:pPr>
            <a:r>
              <a:rPr lang="en-GB" b="1" dirty="0">
                <a:solidFill>
                  <a:schemeClr val="accent1"/>
                </a:solidFill>
                <a:hlinkClick r:id="rId4"/>
              </a:rPr>
              <a:t>Julien Gaudin</a:t>
            </a:r>
            <a:r>
              <a:rPr lang="en-GB" b="1" dirty="0">
                <a:solidFill>
                  <a:schemeClr val="accent1"/>
                </a:solidFill>
              </a:rPr>
              <a:t>, </a:t>
            </a:r>
            <a:r>
              <a:rPr lang="en-GB" b="1" dirty="0">
                <a:solidFill>
                  <a:schemeClr val="accent1"/>
                </a:solidFill>
                <a:hlinkClick r:id="rId5"/>
              </a:rPr>
              <a:t>Simon Remppis</a:t>
            </a:r>
            <a:endParaRPr lang="en-GB" b="1" dirty="0">
              <a:solidFill>
                <a:schemeClr val="accent1"/>
              </a:solidFill>
            </a:endParaRPr>
          </a:p>
          <a:p>
            <a:pPr marL="742950" lvl="1" indent="-285750">
              <a:lnSpc>
                <a:spcPct val="150000"/>
              </a:lnSpc>
              <a:spcAft>
                <a:spcPts val="600"/>
              </a:spcAft>
              <a:buFont typeface="Arial" panose="020B0604020202020204" pitchFamily="34" charset="0"/>
              <a:buChar char="•"/>
            </a:pPr>
            <a:r>
              <a:rPr lang="en-GB" b="1" dirty="0"/>
              <a:t>Conveners PICASSO Expert Group</a:t>
            </a:r>
            <a:endParaRPr lang="en-US" b="1" dirty="0"/>
          </a:p>
          <a:p>
            <a:pPr marL="285750" lvl="0" indent="-285750">
              <a:lnSpc>
                <a:spcPct val="150000"/>
              </a:lnSpc>
              <a:spcAft>
                <a:spcPts val="600"/>
              </a:spcAft>
              <a:buFont typeface="Arial" panose="020B0604020202020204" pitchFamily="34" charset="0"/>
              <a:buChar char="•"/>
            </a:pPr>
            <a:r>
              <a:rPr lang="en-GB" b="1" dirty="0">
                <a:solidFill>
                  <a:schemeClr val="accent1"/>
                </a:solidFill>
                <a:hlinkClick r:id="rId6"/>
              </a:rPr>
              <a:t>Ricardo Renedo Williams</a:t>
            </a:r>
            <a:endParaRPr lang="en-GB" b="1" dirty="0">
              <a:solidFill>
                <a:schemeClr val="accent1"/>
              </a:solidFill>
            </a:endParaRPr>
          </a:p>
          <a:p>
            <a:pPr marL="742950" lvl="1" indent="-285750">
              <a:lnSpc>
                <a:spcPct val="150000"/>
              </a:lnSpc>
              <a:spcAft>
                <a:spcPts val="600"/>
              </a:spcAft>
              <a:buFont typeface="Arial" panose="020B0604020202020204" pitchFamily="34" charset="0"/>
              <a:buChar char="•"/>
            </a:pPr>
            <a:r>
              <a:rPr lang="en-GB" b="1" dirty="0"/>
              <a:t>ENTSO-E support to PICASSO</a:t>
            </a:r>
            <a:endParaRPr lang="en-US" b="1" dirty="0"/>
          </a:p>
          <a:p>
            <a:pPr lvl="0">
              <a:lnSpc>
                <a:spcPct val="150000"/>
              </a:lnSpc>
              <a:spcAft>
                <a:spcPts val="600"/>
              </a:spcAft>
            </a:pPr>
            <a:endParaRPr lang="en-GB" dirty="0"/>
          </a:p>
        </p:txBody>
      </p:sp>
      <p:pic>
        <p:nvPicPr>
          <p:cNvPr id="5" name="Picture 4">
            <a:extLst>
              <a:ext uri="{FF2B5EF4-FFF2-40B4-BE49-F238E27FC236}">
                <a16:creationId xmlns:a16="http://schemas.microsoft.com/office/drawing/2014/main" id="{2B6FA8FA-1496-4BB3-A9DA-6F441C438BAB}"/>
              </a:ext>
            </a:extLst>
          </p:cNvPr>
          <p:cNvPicPr>
            <a:picLocks noChangeAspect="1"/>
          </p:cNvPicPr>
          <p:nvPr/>
        </p:nvPicPr>
        <p:blipFill>
          <a:blip r:embed="rId7"/>
          <a:stretch>
            <a:fillRect/>
          </a:stretch>
        </p:blipFill>
        <p:spPr>
          <a:xfrm>
            <a:off x="10103053" y="6254089"/>
            <a:ext cx="1573010" cy="459573"/>
          </a:xfrm>
          <a:prstGeom prst="rect">
            <a:avLst/>
          </a:prstGeom>
        </p:spPr>
      </p:pic>
    </p:spTree>
    <p:extLst>
      <p:ext uri="{BB962C8B-B14F-4D97-AF65-F5344CB8AC3E}">
        <p14:creationId xmlns:p14="http://schemas.microsoft.com/office/powerpoint/2010/main" val="4973918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4E6D71C-ACD7-49D2-9689-F9C4024FAC38}" type="slidenum">
              <a:rPr lang="en-IE" smtClean="0"/>
              <a:t>19</a:t>
            </a:fld>
            <a:endParaRPr lang="en-IE" dirty="0"/>
          </a:p>
        </p:txBody>
      </p:sp>
      <p:sp>
        <p:nvSpPr>
          <p:cNvPr id="13" name="Title 12"/>
          <p:cNvSpPr>
            <a:spLocks noGrp="1"/>
          </p:cNvSpPr>
          <p:nvPr>
            <p:ph type="title"/>
          </p:nvPr>
        </p:nvSpPr>
        <p:spPr/>
        <p:txBody>
          <a:bodyPr/>
          <a:lstStyle/>
          <a:p>
            <a:r>
              <a:rPr lang="en-GB" dirty="0"/>
              <a:t>MARI implementation</a:t>
            </a:r>
          </a:p>
        </p:txBody>
      </p:sp>
      <p:sp>
        <p:nvSpPr>
          <p:cNvPr id="14" name="Content Placeholder 13"/>
          <p:cNvSpPr>
            <a:spLocks noGrp="1"/>
          </p:cNvSpPr>
          <p:nvPr>
            <p:ph sz="quarter" idx="11"/>
          </p:nvPr>
        </p:nvSpPr>
        <p:spPr/>
        <p:txBody>
          <a:bodyPr/>
          <a:lstStyle/>
          <a:p>
            <a:endParaRPr lang="en-GB"/>
          </a:p>
        </p:txBody>
      </p:sp>
      <p:sp>
        <p:nvSpPr>
          <p:cNvPr id="15" name="Text Placeholder 14"/>
          <p:cNvSpPr>
            <a:spLocks noGrp="1"/>
          </p:cNvSpPr>
          <p:nvPr>
            <p:ph type="body" sz="quarter" idx="12"/>
          </p:nvPr>
        </p:nvSpPr>
        <p:spPr/>
        <p:txBody>
          <a:bodyPr/>
          <a:lstStyle/>
          <a:p>
            <a:endParaRPr lang="en-GB"/>
          </a:p>
        </p:txBody>
      </p:sp>
      <p:pic>
        <p:nvPicPr>
          <p:cNvPr id="6" name="Picture 5">
            <a:extLst>
              <a:ext uri="{FF2B5EF4-FFF2-40B4-BE49-F238E27FC236}">
                <a16:creationId xmlns:a16="http://schemas.microsoft.com/office/drawing/2014/main" id="{E8E28A69-4D0E-4C65-993B-A931BA3BF563}"/>
              </a:ext>
            </a:extLst>
          </p:cNvPr>
          <p:cNvPicPr>
            <a:picLocks noChangeAspect="1"/>
          </p:cNvPicPr>
          <p:nvPr/>
        </p:nvPicPr>
        <p:blipFill>
          <a:blip r:embed="rId3"/>
          <a:stretch>
            <a:fillRect/>
          </a:stretch>
        </p:blipFill>
        <p:spPr>
          <a:xfrm>
            <a:off x="10093658" y="6309020"/>
            <a:ext cx="1573010" cy="459573"/>
          </a:xfrm>
          <a:prstGeom prst="rect">
            <a:avLst/>
          </a:prstGeom>
        </p:spPr>
      </p:pic>
    </p:spTree>
    <p:extLst>
      <p:ext uri="{BB962C8B-B14F-4D97-AF65-F5344CB8AC3E}">
        <p14:creationId xmlns:p14="http://schemas.microsoft.com/office/powerpoint/2010/main" val="39980303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240A6E-48CE-403B-B3B4-BAD39758E5A5}"/>
              </a:ext>
            </a:extLst>
          </p:cNvPr>
          <p:cNvSpPr>
            <a:spLocks noGrp="1"/>
          </p:cNvSpPr>
          <p:nvPr>
            <p:ph type="body" sz="quarter" idx="11"/>
          </p:nvPr>
        </p:nvSpPr>
        <p:spPr/>
        <p:txBody>
          <a:bodyPr/>
          <a:lstStyle/>
          <a:p>
            <a:r>
              <a:rPr lang="en-GB" dirty="0">
                <a:solidFill>
                  <a:schemeClr val="accent1"/>
                </a:solidFill>
              </a:rPr>
              <a:t>Disclaimer</a:t>
            </a:r>
            <a:endParaRPr lang="en-US" dirty="0">
              <a:solidFill>
                <a:schemeClr val="accent1"/>
              </a:solidFill>
            </a:endParaRPr>
          </a:p>
        </p:txBody>
      </p:sp>
      <p:sp>
        <p:nvSpPr>
          <p:cNvPr id="3" name="Slide Number Placeholder 2">
            <a:extLst>
              <a:ext uri="{FF2B5EF4-FFF2-40B4-BE49-F238E27FC236}">
                <a16:creationId xmlns:a16="http://schemas.microsoft.com/office/drawing/2014/main" id="{2554C747-F0D3-4254-82F1-E7593AA983BB}"/>
              </a:ext>
            </a:extLst>
          </p:cNvPr>
          <p:cNvSpPr>
            <a:spLocks noGrp="1"/>
          </p:cNvSpPr>
          <p:nvPr>
            <p:ph type="sldNum" sz="quarter" idx="10"/>
          </p:nvPr>
        </p:nvSpPr>
        <p:spPr/>
        <p:txBody>
          <a:bodyPr/>
          <a:lstStyle/>
          <a:p>
            <a:fld id="{D4E6D71C-ACD7-49D2-9689-F9C4024FAC38}" type="slidenum">
              <a:rPr lang="en-US" smtClean="0"/>
              <a:t>2</a:t>
            </a:fld>
            <a:endParaRPr lang="en-US" dirty="0"/>
          </a:p>
        </p:txBody>
      </p:sp>
      <p:sp>
        <p:nvSpPr>
          <p:cNvPr id="4" name="TextBox 3">
            <a:extLst>
              <a:ext uri="{FF2B5EF4-FFF2-40B4-BE49-F238E27FC236}">
                <a16:creationId xmlns:a16="http://schemas.microsoft.com/office/drawing/2014/main" id="{CFF0021F-3466-4B56-8E96-64D48AD029AB}"/>
              </a:ext>
            </a:extLst>
          </p:cNvPr>
          <p:cNvSpPr txBox="1"/>
          <p:nvPr/>
        </p:nvSpPr>
        <p:spPr>
          <a:xfrm>
            <a:off x="2394374" y="2708995"/>
            <a:ext cx="7200050" cy="1338828"/>
          </a:xfrm>
          <a:prstGeom prst="rect">
            <a:avLst/>
          </a:prstGeom>
          <a:solidFill>
            <a:srgbClr val="FF9999"/>
          </a:solidFill>
        </p:spPr>
        <p:txBody>
          <a:bodyPr wrap="square" rtlCol="0">
            <a:spAutoFit/>
          </a:bodyPr>
          <a:lstStyle/>
          <a:p>
            <a:pPr lvl="0">
              <a:lnSpc>
                <a:spcPct val="150000"/>
              </a:lnSpc>
              <a:spcAft>
                <a:spcPts val="600"/>
              </a:spcAft>
            </a:pPr>
            <a:r>
              <a:rPr lang="en-GB" dirty="0"/>
              <a:t>The information in this presentation is for informative purposes only. It</a:t>
            </a:r>
            <a:r>
              <a:rPr lang="en-US" dirty="0"/>
              <a:t> does not in any case represent a firm, binding or definitive TSOs’ position on the content.</a:t>
            </a:r>
            <a:endParaRPr lang="en-GB" dirty="0"/>
          </a:p>
        </p:txBody>
      </p:sp>
      <p:sp>
        <p:nvSpPr>
          <p:cNvPr id="5" name="Rectangle 4">
            <a:extLst>
              <a:ext uri="{FF2B5EF4-FFF2-40B4-BE49-F238E27FC236}">
                <a16:creationId xmlns:a16="http://schemas.microsoft.com/office/drawing/2014/main" id="{B62DDA49-6280-41F5-B0A8-27889DD1DB2F}"/>
              </a:ext>
            </a:extLst>
          </p:cNvPr>
          <p:cNvSpPr/>
          <p:nvPr/>
        </p:nvSpPr>
        <p:spPr>
          <a:xfrm>
            <a:off x="9840026" y="6165019"/>
            <a:ext cx="1836037" cy="5760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726185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chor="ctr">
            <a:normAutofit/>
          </a:bodyPr>
          <a:lstStyle/>
          <a:p>
            <a:r>
              <a:rPr lang="en-US" dirty="0"/>
              <a:t>EBSG meeting</a:t>
            </a:r>
            <a:endParaRPr lang="en-GB" dirty="0"/>
          </a:p>
        </p:txBody>
      </p:sp>
      <p:sp>
        <p:nvSpPr>
          <p:cNvPr id="3" name="Content Placeholder 2"/>
          <p:cNvSpPr>
            <a:spLocks noGrp="1"/>
          </p:cNvSpPr>
          <p:nvPr>
            <p:ph idx="13"/>
          </p:nvPr>
        </p:nvSpPr>
        <p:spPr/>
        <p:txBody>
          <a:bodyPr/>
          <a:lstStyle/>
          <a:p>
            <a:r>
              <a:rPr lang="en-US" dirty="0"/>
              <a:t>01. 07. </a:t>
            </a:r>
            <a:r>
              <a:rPr lang="en-GB" dirty="0"/>
              <a:t>2019</a:t>
            </a:r>
          </a:p>
        </p:txBody>
      </p:sp>
    </p:spTree>
    <p:extLst>
      <p:ext uri="{BB962C8B-B14F-4D97-AF65-F5344CB8AC3E}">
        <p14:creationId xmlns:p14="http://schemas.microsoft.com/office/powerpoint/2010/main" val="126021842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39B44CC-8FDC-40CD-92AC-03134793BAC5}"/>
              </a:ext>
            </a:extLst>
          </p:cNvPr>
          <p:cNvSpPr>
            <a:spLocks noGrp="1"/>
          </p:cNvSpPr>
          <p:nvPr>
            <p:ph type="title"/>
          </p:nvPr>
        </p:nvSpPr>
        <p:spPr/>
        <p:txBody>
          <a:bodyPr/>
          <a:lstStyle/>
          <a:p>
            <a:r>
              <a:rPr lang="da-DK" dirty="0"/>
              <a:t>Focus for the MARI Project</a:t>
            </a:r>
          </a:p>
        </p:txBody>
      </p:sp>
      <p:pic>
        <p:nvPicPr>
          <p:cNvPr id="4" name="Pladsholder til indhold 10">
            <a:extLst>
              <a:ext uri="{FF2B5EF4-FFF2-40B4-BE49-F238E27FC236}">
                <a16:creationId xmlns:a16="http://schemas.microsoft.com/office/drawing/2014/main" id="{E3689F51-AA88-445A-8A72-E406F8E13E67}"/>
              </a:ext>
            </a:extLst>
          </p:cNvPr>
          <p:cNvPicPr>
            <a:picLocks noGrp="1" noChangeAspect="1"/>
          </p:cNvPicPr>
          <p:nvPr>
            <p:ph idx="1"/>
          </p:nvPr>
        </p:nvPicPr>
        <p:blipFill rotWithShape="1">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t="5416"/>
          <a:stretch/>
        </p:blipFill>
        <p:spPr>
          <a:xfrm>
            <a:off x="724193" y="3140998"/>
            <a:ext cx="3217862" cy="2098049"/>
          </a:xfrm>
        </p:spPr>
      </p:pic>
      <p:pic>
        <p:nvPicPr>
          <p:cNvPr id="5" name="Pladsholder til indhold 14">
            <a:extLst>
              <a:ext uri="{FF2B5EF4-FFF2-40B4-BE49-F238E27FC236}">
                <a16:creationId xmlns:a16="http://schemas.microsoft.com/office/drawing/2014/main" id="{7BC48296-3EFF-43A7-964C-4251FFAB1506}"/>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4367988" y="3429000"/>
            <a:ext cx="3217862" cy="1810047"/>
          </a:xfrm>
          <a:prstGeom prst="rect">
            <a:avLst/>
          </a:prstGeom>
        </p:spPr>
      </p:pic>
      <p:pic>
        <p:nvPicPr>
          <p:cNvPr id="6" name="Pladsholder til indhold 18">
            <a:extLst>
              <a:ext uri="{FF2B5EF4-FFF2-40B4-BE49-F238E27FC236}">
                <a16:creationId xmlns:a16="http://schemas.microsoft.com/office/drawing/2014/main" id="{3067A251-58CD-416F-B742-C71C8D43C979}"/>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8157676" y="3175551"/>
            <a:ext cx="2926080" cy="2063496"/>
          </a:xfrm>
          <a:prstGeom prst="rect">
            <a:avLst/>
          </a:prstGeom>
        </p:spPr>
      </p:pic>
      <p:sp>
        <p:nvSpPr>
          <p:cNvPr id="7" name="Tekstfelt 6">
            <a:extLst>
              <a:ext uri="{FF2B5EF4-FFF2-40B4-BE49-F238E27FC236}">
                <a16:creationId xmlns:a16="http://schemas.microsoft.com/office/drawing/2014/main" id="{384A5BC9-879D-4DA5-8A0E-74E56C40D3B4}"/>
              </a:ext>
            </a:extLst>
          </p:cNvPr>
          <p:cNvSpPr txBox="1"/>
          <p:nvPr/>
        </p:nvSpPr>
        <p:spPr>
          <a:xfrm>
            <a:off x="867803" y="2261047"/>
            <a:ext cx="3192605" cy="61555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0" i="0" u="none" strike="noStrike" kern="1200" cap="none" spc="0" normalizeH="0" baseline="0" noProof="0" dirty="0">
                <a:ln>
                  <a:noFill/>
                </a:ln>
                <a:solidFill>
                  <a:srgbClr val="000000"/>
                </a:solidFill>
                <a:effectLst/>
                <a:uLnTx/>
                <a:uFillTx/>
                <a:latin typeface="Calibri" panose="020F0502020204030204"/>
                <a:ea typeface="+mn-ea"/>
                <a:cs typeface="+mn-cs"/>
              </a:rPr>
              <a:t>Organisation </a:t>
            </a:r>
            <a:r>
              <a:rPr kumimoji="0" lang="da-DK" sz="2000" b="0" i="0" u="none" strike="noStrike" kern="1200" cap="none" spc="0" normalizeH="0" baseline="0" noProof="0" dirty="0" err="1">
                <a:ln>
                  <a:noFill/>
                </a:ln>
                <a:solidFill>
                  <a:srgbClr val="000000"/>
                </a:solidFill>
                <a:effectLst/>
                <a:uLnTx/>
                <a:uFillTx/>
                <a:latin typeface="Calibri" panose="020F0502020204030204"/>
                <a:ea typeface="+mn-ea"/>
                <a:cs typeface="+mn-cs"/>
              </a:rPr>
              <a:t>between</a:t>
            </a:r>
            <a:r>
              <a:rPr kumimoji="0" lang="da-DK" sz="2000" b="0" i="0" u="none" strike="noStrike" kern="1200" cap="none" spc="0" normalizeH="0" baseline="0" noProof="0" dirty="0">
                <a:ln>
                  <a:noFill/>
                </a:ln>
                <a:solidFill>
                  <a:srgbClr val="000000"/>
                </a:solidFill>
                <a:effectLst/>
                <a:uLnTx/>
                <a:uFillTx/>
                <a:latin typeface="Calibri" panose="020F0502020204030204"/>
                <a:ea typeface="+mn-ea"/>
                <a:cs typeface="+mn-cs"/>
              </a:rPr>
              <a:t> 43 </a:t>
            </a:r>
            <a:r>
              <a:rPr kumimoji="0" lang="da-DK" sz="2000" b="0" i="0" u="none" strike="noStrike" kern="1200" cap="none" spc="0" normalizeH="0" baseline="0" noProof="0" dirty="0" err="1">
                <a:ln>
                  <a:noFill/>
                </a:ln>
                <a:solidFill>
                  <a:srgbClr val="000000"/>
                </a:solidFill>
                <a:effectLst/>
                <a:uLnTx/>
                <a:uFillTx/>
                <a:latin typeface="Calibri" panose="020F0502020204030204"/>
                <a:ea typeface="+mn-ea"/>
                <a:cs typeface="+mn-cs"/>
              </a:rPr>
              <a:t>TSO’s</a:t>
            </a:r>
            <a:endParaRPr kumimoji="0" lang="da-DK" sz="20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0" i="0" u="none" strike="noStrike" kern="1200" cap="none" spc="0" normalizeH="0" baseline="0" noProof="0" dirty="0" err="1">
                <a:ln>
                  <a:noFill/>
                </a:ln>
                <a:solidFill>
                  <a:srgbClr val="000000"/>
                </a:solidFill>
                <a:effectLst/>
                <a:uLnTx/>
                <a:uFillTx/>
                <a:latin typeface="Calibri" panose="020F0502020204030204"/>
                <a:ea typeface="+mn-ea"/>
                <a:cs typeface="+mn-cs"/>
              </a:rPr>
              <a:t>Allocation</a:t>
            </a:r>
            <a:r>
              <a:rPr kumimoji="0" lang="da-DK" sz="2000" b="0" i="0" u="none" strike="noStrike" kern="1200" cap="none" spc="0" normalizeH="0" baseline="0" noProof="0" dirty="0">
                <a:ln>
                  <a:noFill/>
                </a:ln>
                <a:solidFill>
                  <a:srgbClr val="000000"/>
                </a:solidFill>
                <a:effectLst/>
                <a:uLnTx/>
                <a:uFillTx/>
                <a:latin typeface="Calibri" panose="020F0502020204030204"/>
                <a:ea typeface="+mn-ea"/>
                <a:cs typeface="+mn-cs"/>
              </a:rPr>
              <a:t> of tasks</a:t>
            </a:r>
          </a:p>
        </p:txBody>
      </p:sp>
      <p:sp>
        <p:nvSpPr>
          <p:cNvPr id="8" name="Tekstfelt 7">
            <a:extLst>
              <a:ext uri="{FF2B5EF4-FFF2-40B4-BE49-F238E27FC236}">
                <a16:creationId xmlns:a16="http://schemas.microsoft.com/office/drawing/2014/main" id="{D3FC84F4-C03E-43E2-B279-32D85D0AFB2B}"/>
              </a:ext>
            </a:extLst>
          </p:cNvPr>
          <p:cNvSpPr txBox="1"/>
          <p:nvPr/>
        </p:nvSpPr>
        <p:spPr>
          <a:xfrm>
            <a:off x="4719780" y="2232312"/>
            <a:ext cx="2514278"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0" i="0" u="none" strike="noStrike" kern="1200" cap="none" spc="0" normalizeH="0" baseline="0" noProof="0" dirty="0" err="1">
                <a:ln>
                  <a:noFill/>
                </a:ln>
                <a:solidFill>
                  <a:srgbClr val="000000"/>
                </a:solidFill>
                <a:effectLst/>
                <a:uLnTx/>
                <a:uFillTx/>
                <a:latin typeface="Calibri" panose="020F0502020204030204"/>
                <a:ea typeface="+mn-ea"/>
                <a:cs typeface="+mn-cs"/>
              </a:rPr>
              <a:t>Liability</a:t>
            </a:r>
            <a:r>
              <a:rPr kumimoji="0" lang="da-DK" sz="2000" b="0" i="0" u="none" strike="noStrike" kern="1200" cap="none" spc="0" normalizeH="0" baseline="0" noProof="0" dirty="0">
                <a:ln>
                  <a:noFill/>
                </a:ln>
                <a:solidFill>
                  <a:srgbClr val="000000"/>
                </a:solidFill>
                <a:effectLst/>
                <a:uLnTx/>
                <a:uFillTx/>
                <a:latin typeface="Calibri" panose="020F0502020204030204"/>
                <a:ea typeface="+mn-ea"/>
                <a:cs typeface="+mn-cs"/>
              </a:rPr>
              <a:t> and </a:t>
            </a:r>
            <a:r>
              <a:rPr kumimoji="0" lang="da-DK" sz="2000" b="0" i="0" u="none" strike="noStrike" kern="1200" cap="none" spc="0" normalizeH="0" baseline="0" noProof="0" dirty="0" err="1">
                <a:ln>
                  <a:noFill/>
                </a:ln>
                <a:solidFill>
                  <a:srgbClr val="000000"/>
                </a:solidFill>
                <a:effectLst/>
                <a:uLnTx/>
                <a:uFillTx/>
                <a:latin typeface="Calibri" panose="020F0502020204030204"/>
                <a:ea typeface="+mn-ea"/>
                <a:cs typeface="+mn-cs"/>
              </a:rPr>
              <a:t>cost</a:t>
            </a:r>
            <a:r>
              <a:rPr kumimoji="0" lang="da-DK" sz="20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da-DK" sz="2000" b="0" i="0" u="none" strike="noStrike" kern="1200" cap="none" spc="0" normalizeH="0" baseline="0" noProof="0" dirty="0" err="1">
                <a:ln>
                  <a:noFill/>
                </a:ln>
                <a:solidFill>
                  <a:srgbClr val="000000"/>
                </a:solidFill>
                <a:effectLst/>
                <a:uLnTx/>
                <a:uFillTx/>
                <a:latin typeface="Calibri" panose="020F0502020204030204"/>
                <a:ea typeface="+mn-ea"/>
                <a:cs typeface="+mn-cs"/>
              </a:rPr>
              <a:t>sharing</a:t>
            </a:r>
            <a:endParaRPr kumimoji="0" lang="da-DK"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9" name="Tekstfelt 8">
            <a:extLst>
              <a:ext uri="{FF2B5EF4-FFF2-40B4-BE49-F238E27FC236}">
                <a16:creationId xmlns:a16="http://schemas.microsoft.com/office/drawing/2014/main" id="{48D60765-AE8C-49D2-BB56-9C0B68315A39}"/>
              </a:ext>
            </a:extLst>
          </p:cNvPr>
          <p:cNvSpPr txBox="1"/>
          <p:nvPr/>
        </p:nvSpPr>
        <p:spPr>
          <a:xfrm>
            <a:off x="8363577" y="2263988"/>
            <a:ext cx="2720179"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000" b="0" i="0" u="none" strike="noStrike" kern="1200" cap="none" spc="0" normalizeH="0" baseline="0" noProof="0" dirty="0" err="1">
                <a:ln>
                  <a:noFill/>
                </a:ln>
                <a:solidFill>
                  <a:srgbClr val="000000"/>
                </a:solidFill>
                <a:effectLst/>
                <a:uLnTx/>
                <a:uFillTx/>
                <a:latin typeface="Calibri" panose="020F0502020204030204"/>
                <a:ea typeface="+mn-ea"/>
                <a:cs typeface="+mn-cs"/>
              </a:rPr>
              <a:t>Preparing</a:t>
            </a:r>
            <a:r>
              <a:rPr kumimoji="0" lang="da-DK" sz="2000" b="0" i="0" u="none" strike="noStrike" kern="1200" cap="none" spc="0" normalizeH="0" baseline="0" noProof="0" dirty="0">
                <a:ln>
                  <a:noFill/>
                </a:ln>
                <a:solidFill>
                  <a:srgbClr val="000000"/>
                </a:solidFill>
                <a:effectLst/>
                <a:uLnTx/>
                <a:uFillTx/>
                <a:latin typeface="Calibri" panose="020F0502020204030204"/>
                <a:ea typeface="+mn-ea"/>
                <a:cs typeface="+mn-cs"/>
              </a:rPr>
              <a:t> IT </a:t>
            </a:r>
            <a:r>
              <a:rPr kumimoji="0" lang="da-DK" sz="2000" b="0" i="0" u="none" strike="noStrike" kern="1200" cap="none" spc="0" normalizeH="0" baseline="0" noProof="0" dirty="0" err="1">
                <a:ln>
                  <a:noFill/>
                </a:ln>
                <a:solidFill>
                  <a:srgbClr val="000000"/>
                </a:solidFill>
                <a:effectLst/>
                <a:uLnTx/>
                <a:uFillTx/>
                <a:latin typeface="Calibri" panose="020F0502020204030204"/>
                <a:ea typeface="+mn-ea"/>
                <a:cs typeface="+mn-cs"/>
              </a:rPr>
              <a:t>procurement</a:t>
            </a:r>
            <a:r>
              <a:rPr kumimoji="0" lang="da-DK" sz="2000" b="0" i="0" u="none" strike="noStrike" kern="1200" cap="none" spc="0" normalizeH="0" baseline="0" noProof="0" dirty="0">
                <a:ln>
                  <a:noFill/>
                </a:ln>
                <a:solidFill>
                  <a:srgbClr val="000000"/>
                </a:solidFill>
                <a:effectLst/>
                <a:uLnTx/>
                <a:uFillTx/>
                <a:latin typeface="Calibri" panose="020F0502020204030204"/>
                <a:ea typeface="+mn-ea"/>
                <a:cs typeface="+mn-cs"/>
              </a:rPr>
              <a:t> and system </a:t>
            </a:r>
            <a:r>
              <a:rPr kumimoji="0" lang="da-DK" sz="2000" b="0" i="0" u="none" strike="noStrike" kern="1200" cap="none" spc="0" normalizeH="0" baseline="0" noProof="0" dirty="0" err="1">
                <a:ln>
                  <a:noFill/>
                </a:ln>
                <a:solidFill>
                  <a:srgbClr val="000000"/>
                </a:solidFill>
                <a:effectLst/>
                <a:uLnTx/>
                <a:uFillTx/>
                <a:latin typeface="Calibri" panose="020F0502020204030204"/>
                <a:ea typeface="+mn-ea"/>
                <a:cs typeface="+mn-cs"/>
              </a:rPr>
              <a:t>infrastructure</a:t>
            </a:r>
            <a:endParaRPr kumimoji="0" lang="da-DK"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1904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a:extLst>
              <a:ext uri="{FF2B5EF4-FFF2-40B4-BE49-F238E27FC236}">
                <a16:creationId xmlns:a16="http://schemas.microsoft.com/office/drawing/2014/main" id="{ADB50673-3441-4617-B4D2-9B493F2BDCC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663" imgH="664" progId="TCLayout.ActiveDocument.1">
                  <p:embed/>
                </p:oleObj>
              </mc:Choice>
              <mc:Fallback>
                <p:oleObj name="think-cell Slide" r:id="rId5" imgW="663" imgH="664" progId="TCLayout.ActiveDocument.1">
                  <p:embed/>
                  <p:pic>
                    <p:nvPicPr>
                      <p:cNvPr id="68" name="Object 67" hidden="1">
                        <a:extLst>
                          <a:ext uri="{FF2B5EF4-FFF2-40B4-BE49-F238E27FC236}">
                            <a16:creationId xmlns:a16="http://schemas.microsoft.com/office/drawing/2014/main" id="{ADB50673-3441-4617-B4D2-9B493F2BDCC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7" name="Rectangle 66" hidden="1">
            <a:extLst>
              <a:ext uri="{FF2B5EF4-FFF2-40B4-BE49-F238E27FC236}">
                <a16:creationId xmlns:a16="http://schemas.microsoft.com/office/drawing/2014/main" id="{F5911B50-BD10-4ED2-8983-79BB2747645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sym typeface="Calibri" panose="020F0502020204030204" pitchFamily="34" charset="0"/>
            </a:endParaRPr>
          </a:p>
        </p:txBody>
      </p:sp>
      <p:sp>
        <p:nvSpPr>
          <p:cNvPr id="2" name="Title 1"/>
          <p:cNvSpPr>
            <a:spLocks noGrp="1"/>
          </p:cNvSpPr>
          <p:nvPr>
            <p:ph type="title"/>
          </p:nvPr>
        </p:nvSpPr>
        <p:spPr/>
        <p:txBody>
          <a:bodyPr/>
          <a:lstStyle/>
          <a:p>
            <a:r>
              <a:rPr lang="cs-CZ" dirty="0"/>
              <a:t>MARI - </a:t>
            </a:r>
            <a:r>
              <a:rPr lang="en-GB" dirty="0"/>
              <a:t>Organisation structure</a:t>
            </a:r>
            <a:endParaRPr lang="cs-CZ" dirty="0"/>
          </a:p>
        </p:txBody>
      </p:sp>
      <p:graphicFrame>
        <p:nvGraphicFramePr>
          <p:cNvPr id="7" name="Table 6">
            <a:extLst>
              <a:ext uri="{FF2B5EF4-FFF2-40B4-BE49-F238E27FC236}">
                <a16:creationId xmlns:a16="http://schemas.microsoft.com/office/drawing/2014/main" id="{51521E90-15E1-4AE2-9818-D5DE59F5872A}"/>
              </a:ext>
            </a:extLst>
          </p:cNvPr>
          <p:cNvGraphicFramePr>
            <a:graphicFrameLocks noGrp="1"/>
          </p:cNvGraphicFramePr>
          <p:nvPr>
            <p:extLst/>
          </p:nvPr>
        </p:nvGraphicFramePr>
        <p:xfrm>
          <a:off x="6661150" y="5651675"/>
          <a:ext cx="4846406" cy="734380"/>
        </p:xfrm>
        <a:graphic>
          <a:graphicData uri="http://schemas.openxmlformats.org/drawingml/2006/table">
            <a:tbl>
              <a:tblPr firstRow="1" bandRow="1">
                <a:tableStyleId>{2D5ABB26-0587-4C30-8999-92F81FD0307C}</a:tableStyleId>
              </a:tblPr>
              <a:tblGrid>
                <a:gridCol w="593665">
                  <a:extLst>
                    <a:ext uri="{9D8B030D-6E8A-4147-A177-3AD203B41FA5}">
                      <a16:colId xmlns:a16="http://schemas.microsoft.com/office/drawing/2014/main" val="2224013129"/>
                    </a:ext>
                  </a:extLst>
                </a:gridCol>
                <a:gridCol w="1895535">
                  <a:extLst>
                    <a:ext uri="{9D8B030D-6E8A-4147-A177-3AD203B41FA5}">
                      <a16:colId xmlns:a16="http://schemas.microsoft.com/office/drawing/2014/main" val="184458075"/>
                    </a:ext>
                  </a:extLst>
                </a:gridCol>
                <a:gridCol w="533400">
                  <a:extLst>
                    <a:ext uri="{9D8B030D-6E8A-4147-A177-3AD203B41FA5}">
                      <a16:colId xmlns:a16="http://schemas.microsoft.com/office/drawing/2014/main" val="20000"/>
                    </a:ext>
                  </a:extLst>
                </a:gridCol>
                <a:gridCol w="1823806">
                  <a:extLst>
                    <a:ext uri="{9D8B030D-6E8A-4147-A177-3AD203B41FA5}">
                      <a16:colId xmlns:a16="http://schemas.microsoft.com/office/drawing/2014/main" val="20001"/>
                    </a:ext>
                  </a:extLst>
                </a:gridCol>
              </a:tblGrid>
              <a:tr h="137710">
                <a:tc>
                  <a:txBody>
                    <a:bodyPr/>
                    <a:lstStyle/>
                    <a:p>
                      <a:pPr algn="r">
                        <a:lnSpc>
                          <a:spcPts val="300"/>
                        </a:lnSpc>
                      </a:pPr>
                      <a:r>
                        <a:rPr lang="en-GB" sz="800" dirty="0">
                          <a:solidFill>
                            <a:schemeClr val="tx1"/>
                          </a:solidFill>
                        </a:rPr>
                        <a:t>WG</a:t>
                      </a:r>
                    </a:p>
                  </a:txBody>
                  <a:tcPr/>
                </a:tc>
                <a:tc>
                  <a:txBody>
                    <a:bodyPr/>
                    <a:lstStyle/>
                    <a:p>
                      <a:pPr>
                        <a:lnSpc>
                          <a:spcPts val="300"/>
                        </a:lnSpc>
                      </a:pPr>
                      <a:r>
                        <a:rPr lang="en-GB" sz="800" dirty="0">
                          <a:solidFill>
                            <a:schemeClr val="tx1"/>
                          </a:solidFill>
                        </a:rPr>
                        <a:t>Working Group</a:t>
                      </a:r>
                    </a:p>
                  </a:txBody>
                  <a:tcPr/>
                </a:tc>
                <a:tc>
                  <a:txBody>
                    <a:bodyPr/>
                    <a:lstStyle/>
                    <a:p>
                      <a:pPr algn="r">
                        <a:lnSpc>
                          <a:spcPts val="300"/>
                        </a:lnSpc>
                      </a:pPr>
                      <a:r>
                        <a:rPr lang="en-GB" sz="800" dirty="0">
                          <a:solidFill>
                            <a:schemeClr val="tx1"/>
                          </a:solidFill>
                        </a:rPr>
                        <a:t>ABS</a:t>
                      </a:r>
                    </a:p>
                  </a:txBody>
                  <a:tcPr/>
                </a:tc>
                <a:tc>
                  <a:txBody>
                    <a:bodyPr/>
                    <a:lstStyle/>
                    <a:p>
                      <a:pPr>
                        <a:lnSpc>
                          <a:spcPts val="300"/>
                        </a:lnSpc>
                      </a:pPr>
                      <a:r>
                        <a:rPr lang="en-GB" sz="800" dirty="0">
                          <a:solidFill>
                            <a:schemeClr val="tx1"/>
                          </a:solidFill>
                        </a:rPr>
                        <a:t>Algorithm and Bid Structure</a:t>
                      </a:r>
                    </a:p>
                  </a:txBody>
                  <a:tcPr/>
                </a:tc>
                <a:extLst>
                  <a:ext uri="{0D108BD9-81ED-4DB2-BD59-A6C34878D82A}">
                    <a16:rowId xmlns:a16="http://schemas.microsoft.com/office/drawing/2014/main" val="10000"/>
                  </a:ext>
                </a:extLst>
              </a:tr>
              <a:tr h="137710">
                <a:tc>
                  <a:txBody>
                    <a:bodyPr/>
                    <a:lstStyle/>
                    <a:p>
                      <a:pPr algn="r">
                        <a:lnSpc>
                          <a:spcPts val="300"/>
                        </a:lnSpc>
                      </a:pPr>
                      <a:r>
                        <a:rPr lang="en-GB" sz="800" dirty="0">
                          <a:solidFill>
                            <a:schemeClr val="tx1"/>
                          </a:solidFill>
                        </a:rPr>
                        <a:t>WS</a:t>
                      </a:r>
                    </a:p>
                  </a:txBody>
                  <a:tcPr/>
                </a:tc>
                <a:tc>
                  <a:txBody>
                    <a:bodyPr/>
                    <a:lstStyle/>
                    <a:p>
                      <a:pPr>
                        <a:lnSpc>
                          <a:spcPts val="300"/>
                        </a:lnSpc>
                      </a:pPr>
                      <a:r>
                        <a:rPr lang="en-GB" sz="800" dirty="0">
                          <a:solidFill>
                            <a:schemeClr val="tx1"/>
                          </a:solidFill>
                        </a:rPr>
                        <a:t>Work</a:t>
                      </a:r>
                      <a:r>
                        <a:rPr lang="en-GB" sz="800" baseline="0" dirty="0">
                          <a:solidFill>
                            <a:schemeClr val="tx1"/>
                          </a:solidFill>
                        </a:rPr>
                        <a:t> Stream</a:t>
                      </a:r>
                      <a:endParaRPr lang="en-GB" sz="800" dirty="0">
                        <a:solidFill>
                          <a:schemeClr val="tx1"/>
                        </a:solidFill>
                      </a:endParaRPr>
                    </a:p>
                  </a:txBody>
                  <a:tcPr/>
                </a:tc>
                <a:tc>
                  <a:txBody>
                    <a:bodyPr/>
                    <a:lstStyle/>
                    <a:p>
                      <a:pPr algn="r">
                        <a:lnSpc>
                          <a:spcPts val="300"/>
                        </a:lnSpc>
                      </a:pPr>
                      <a:r>
                        <a:rPr lang="en-GB" sz="800" dirty="0">
                          <a:solidFill>
                            <a:schemeClr val="tx1"/>
                          </a:solidFill>
                        </a:rPr>
                        <a:t>PMO</a:t>
                      </a:r>
                    </a:p>
                  </a:txBody>
                  <a:tcPr/>
                </a:tc>
                <a:tc>
                  <a:txBody>
                    <a:bodyPr/>
                    <a:lstStyle/>
                    <a:p>
                      <a:pPr>
                        <a:lnSpc>
                          <a:spcPts val="300"/>
                        </a:lnSpc>
                      </a:pPr>
                      <a:r>
                        <a:rPr lang="en-GB" sz="800" dirty="0">
                          <a:solidFill>
                            <a:schemeClr val="tx1"/>
                          </a:solidFill>
                        </a:rPr>
                        <a:t>Project Management Office/Officer</a:t>
                      </a:r>
                    </a:p>
                  </a:txBody>
                  <a:tcPr/>
                </a:tc>
                <a:extLst>
                  <a:ext uri="{0D108BD9-81ED-4DB2-BD59-A6C34878D82A}">
                    <a16:rowId xmlns:a16="http://schemas.microsoft.com/office/drawing/2014/main" val="10001"/>
                  </a:ext>
                </a:extLst>
              </a:tr>
              <a:tr h="137710">
                <a:tc>
                  <a:txBody>
                    <a:bodyPr/>
                    <a:lstStyle/>
                    <a:p>
                      <a:pPr algn="r">
                        <a:lnSpc>
                          <a:spcPts val="300"/>
                        </a:lnSpc>
                      </a:pPr>
                      <a:r>
                        <a:rPr lang="en-GB" sz="800" dirty="0">
                          <a:solidFill>
                            <a:schemeClr val="tx1"/>
                          </a:solidFill>
                        </a:rPr>
                        <a:t>IFA</a:t>
                      </a:r>
                    </a:p>
                  </a:txBody>
                  <a:tcPr/>
                </a:tc>
                <a:tc>
                  <a:txBody>
                    <a:bodyPr/>
                    <a:lstStyle/>
                    <a:p>
                      <a:pPr>
                        <a:lnSpc>
                          <a:spcPts val="300"/>
                        </a:lnSpc>
                      </a:pPr>
                      <a:r>
                        <a:rPr lang="en-GB" sz="800" dirty="0">
                          <a:solidFill>
                            <a:schemeClr val="tx1"/>
                          </a:solidFill>
                        </a:rPr>
                        <a:t>Implementation Framework Acceptance</a:t>
                      </a:r>
                    </a:p>
                  </a:txBody>
                  <a:tcPr/>
                </a:tc>
                <a:tc>
                  <a:txBody>
                    <a:bodyPr/>
                    <a:lstStyle/>
                    <a:p>
                      <a:pPr algn="r">
                        <a:lnSpc>
                          <a:spcPts val="300"/>
                        </a:lnSpc>
                      </a:pPr>
                      <a:r>
                        <a:rPr lang="en-GB" sz="800" dirty="0">
                          <a:solidFill>
                            <a:schemeClr val="tx1"/>
                          </a:solidFill>
                        </a:rPr>
                        <a:t>R&amp;M</a:t>
                      </a:r>
                    </a:p>
                  </a:txBody>
                  <a:tcPr/>
                </a:tc>
                <a:tc>
                  <a:txBody>
                    <a:bodyPr/>
                    <a:lstStyle/>
                    <a:p>
                      <a:pPr>
                        <a:lnSpc>
                          <a:spcPts val="300"/>
                        </a:lnSpc>
                      </a:pPr>
                      <a:r>
                        <a:rPr lang="en-GB" sz="800" dirty="0">
                          <a:solidFill>
                            <a:schemeClr val="tx1"/>
                          </a:solidFill>
                        </a:rPr>
                        <a:t>Reporting and Monitoring</a:t>
                      </a:r>
                    </a:p>
                  </a:txBody>
                  <a:tcPr/>
                </a:tc>
                <a:extLst>
                  <a:ext uri="{0D108BD9-81ED-4DB2-BD59-A6C34878D82A}">
                    <a16:rowId xmlns:a16="http://schemas.microsoft.com/office/drawing/2014/main" val="10002"/>
                  </a:ext>
                </a:extLst>
              </a:tr>
              <a:tr h="137710">
                <a:tc>
                  <a:txBody>
                    <a:bodyPr/>
                    <a:lstStyle/>
                    <a:p>
                      <a:pPr algn="r">
                        <a:lnSpc>
                          <a:spcPts val="300"/>
                        </a:lnSpc>
                      </a:pPr>
                      <a:r>
                        <a:rPr lang="en-GB" sz="800" dirty="0">
                          <a:solidFill>
                            <a:schemeClr val="tx1"/>
                          </a:solidFill>
                        </a:rPr>
                        <a:t>LDD</a:t>
                      </a:r>
                    </a:p>
                  </a:txBody>
                  <a:tcPr/>
                </a:tc>
                <a:tc>
                  <a:txBody>
                    <a:bodyPr/>
                    <a:lstStyle/>
                    <a:p>
                      <a:pPr>
                        <a:lnSpc>
                          <a:spcPts val="300"/>
                        </a:lnSpc>
                      </a:pPr>
                      <a:r>
                        <a:rPr lang="en-GB" sz="800" dirty="0">
                          <a:solidFill>
                            <a:schemeClr val="tx1"/>
                          </a:solidFill>
                        </a:rPr>
                        <a:t>Legal Documents Drafting</a:t>
                      </a:r>
                    </a:p>
                  </a:txBody>
                  <a:tcPr/>
                </a:tc>
                <a:tc>
                  <a:txBody>
                    <a:bodyPr/>
                    <a:lstStyle/>
                    <a:p>
                      <a:pPr algn="r">
                        <a:lnSpc>
                          <a:spcPts val="300"/>
                        </a:lnSpc>
                      </a:pPr>
                      <a:r>
                        <a:rPr lang="en-GB" sz="800" dirty="0">
                          <a:solidFill>
                            <a:schemeClr val="tx1"/>
                          </a:solidFill>
                        </a:rPr>
                        <a:t>SET</a:t>
                      </a:r>
                    </a:p>
                  </a:txBody>
                  <a:tcPr/>
                </a:tc>
                <a:tc>
                  <a:txBody>
                    <a:bodyPr/>
                    <a:lstStyle/>
                    <a:p>
                      <a:pPr>
                        <a:lnSpc>
                          <a:spcPts val="300"/>
                        </a:lnSpc>
                      </a:pPr>
                      <a:r>
                        <a:rPr lang="en-GB" sz="800" dirty="0">
                          <a:solidFill>
                            <a:schemeClr val="tx1"/>
                          </a:solidFill>
                        </a:rPr>
                        <a:t>Pricing &amp; </a:t>
                      </a:r>
                      <a:r>
                        <a:rPr lang="en-GB" sz="800" dirty="0" err="1">
                          <a:solidFill>
                            <a:schemeClr val="tx1"/>
                          </a:solidFill>
                        </a:rPr>
                        <a:t>SETtlement</a:t>
                      </a:r>
                      <a:r>
                        <a:rPr lang="en-GB" sz="800" dirty="0">
                          <a:solidFill>
                            <a:schemeClr val="tx1"/>
                          </a:solidFill>
                        </a:rPr>
                        <a:t> </a:t>
                      </a:r>
                    </a:p>
                  </a:txBody>
                  <a:tcPr/>
                </a:tc>
                <a:extLst>
                  <a:ext uri="{0D108BD9-81ED-4DB2-BD59-A6C34878D82A}">
                    <a16:rowId xmlns:a16="http://schemas.microsoft.com/office/drawing/2014/main" val="10003"/>
                  </a:ext>
                </a:extLst>
              </a:tr>
              <a:tr h="137710">
                <a:tc>
                  <a:txBody>
                    <a:bodyPr/>
                    <a:lstStyle/>
                    <a:p>
                      <a:pPr algn="r">
                        <a:lnSpc>
                          <a:spcPts val="300"/>
                        </a:lnSpc>
                      </a:pPr>
                      <a:r>
                        <a:rPr lang="en-GB" sz="800" dirty="0">
                          <a:solidFill>
                            <a:schemeClr val="tx1"/>
                          </a:solidFill>
                        </a:rPr>
                        <a:t>PAT</a:t>
                      </a:r>
                    </a:p>
                  </a:txBody>
                  <a:tcPr/>
                </a:tc>
                <a:tc>
                  <a:txBody>
                    <a:bodyPr/>
                    <a:lstStyle/>
                    <a:p>
                      <a:pPr>
                        <a:lnSpc>
                          <a:spcPts val="300"/>
                        </a:lnSpc>
                      </a:pPr>
                      <a:r>
                        <a:rPr lang="en-GB" sz="800" noProof="0" dirty="0">
                          <a:solidFill>
                            <a:schemeClr val="tx1"/>
                          </a:solidFill>
                        </a:rPr>
                        <a:t>Procurement and Allocation of Tasks </a:t>
                      </a:r>
                    </a:p>
                  </a:txBody>
                  <a:tcPr/>
                </a:tc>
                <a:tc>
                  <a:txBody>
                    <a:bodyPr/>
                    <a:lstStyle/>
                    <a:p>
                      <a:pPr algn="r">
                        <a:lnSpc>
                          <a:spcPts val="300"/>
                        </a:lnSpc>
                      </a:pPr>
                      <a:r>
                        <a:rPr lang="en-GB" sz="800" dirty="0">
                          <a:solidFill>
                            <a:schemeClr val="tx1"/>
                          </a:solidFill>
                        </a:rPr>
                        <a:t>TF</a:t>
                      </a:r>
                    </a:p>
                  </a:txBody>
                  <a:tcPr/>
                </a:tc>
                <a:tc>
                  <a:txBody>
                    <a:bodyPr/>
                    <a:lstStyle/>
                    <a:p>
                      <a:pPr>
                        <a:lnSpc>
                          <a:spcPts val="300"/>
                        </a:lnSpc>
                      </a:pPr>
                      <a:r>
                        <a:rPr lang="en-GB" sz="800" dirty="0">
                          <a:solidFill>
                            <a:schemeClr val="tx1"/>
                          </a:solidFill>
                        </a:rPr>
                        <a:t>Task Force</a:t>
                      </a:r>
                    </a:p>
                  </a:txBody>
                  <a:tcPr/>
                </a:tc>
                <a:extLst>
                  <a:ext uri="{0D108BD9-81ED-4DB2-BD59-A6C34878D82A}">
                    <a16:rowId xmlns:a16="http://schemas.microsoft.com/office/drawing/2014/main" val="10004"/>
                  </a:ext>
                </a:extLst>
              </a:tr>
            </a:tbl>
          </a:graphicData>
        </a:graphic>
      </p:graphicFrame>
      <p:grpSp>
        <p:nvGrpSpPr>
          <p:cNvPr id="8" name="Group 7">
            <a:extLst>
              <a:ext uri="{FF2B5EF4-FFF2-40B4-BE49-F238E27FC236}">
                <a16:creationId xmlns:a16="http://schemas.microsoft.com/office/drawing/2014/main" id="{1F33A984-DF45-4AD5-B48A-ECE3776933F2}"/>
              </a:ext>
            </a:extLst>
          </p:cNvPr>
          <p:cNvGrpSpPr/>
          <p:nvPr/>
        </p:nvGrpSpPr>
        <p:grpSpPr>
          <a:xfrm>
            <a:off x="1677918" y="1363353"/>
            <a:ext cx="9727429" cy="3976400"/>
            <a:chOff x="1558830" y="580435"/>
            <a:chExt cx="9919019" cy="4061784"/>
          </a:xfrm>
        </p:grpSpPr>
        <p:grpSp>
          <p:nvGrpSpPr>
            <p:cNvPr id="9" name="Group 8">
              <a:extLst>
                <a:ext uri="{FF2B5EF4-FFF2-40B4-BE49-F238E27FC236}">
                  <a16:creationId xmlns:a16="http://schemas.microsoft.com/office/drawing/2014/main" id="{E861C1F5-8B83-418D-9F4F-5D61295C9255}"/>
                </a:ext>
              </a:extLst>
            </p:cNvPr>
            <p:cNvGrpSpPr/>
            <p:nvPr/>
          </p:nvGrpSpPr>
          <p:grpSpPr>
            <a:xfrm>
              <a:off x="2545347" y="580435"/>
              <a:ext cx="8932502" cy="4061784"/>
              <a:chOff x="2545347" y="580435"/>
              <a:chExt cx="8932502" cy="4061784"/>
            </a:xfrm>
          </p:grpSpPr>
          <p:grpSp>
            <p:nvGrpSpPr>
              <p:cNvPr id="13" name="Group 12">
                <a:extLst>
                  <a:ext uri="{FF2B5EF4-FFF2-40B4-BE49-F238E27FC236}">
                    <a16:creationId xmlns:a16="http://schemas.microsoft.com/office/drawing/2014/main" id="{CBFC0EF8-C786-44D8-B596-1856C729B2E6}"/>
                  </a:ext>
                </a:extLst>
              </p:cNvPr>
              <p:cNvGrpSpPr/>
              <p:nvPr/>
            </p:nvGrpSpPr>
            <p:grpSpPr>
              <a:xfrm>
                <a:off x="2545347" y="580435"/>
                <a:ext cx="8932502" cy="4061784"/>
                <a:chOff x="4618653" y="618341"/>
                <a:chExt cx="6988699" cy="3666816"/>
              </a:xfrm>
            </p:grpSpPr>
            <p:sp>
              <p:nvSpPr>
                <p:cNvPr id="15" name="Rectangle 14">
                  <a:extLst>
                    <a:ext uri="{FF2B5EF4-FFF2-40B4-BE49-F238E27FC236}">
                      <a16:creationId xmlns:a16="http://schemas.microsoft.com/office/drawing/2014/main" id="{F732192E-0EF0-4E7C-9D43-B2980B1C4E85}"/>
                    </a:ext>
                  </a:extLst>
                </p:cNvPr>
                <p:cNvSpPr>
                  <a:spLocks noChangeArrowheads="1"/>
                </p:cNvSpPr>
                <p:nvPr/>
              </p:nvSpPr>
              <p:spPr bwMode="auto">
                <a:xfrm>
                  <a:off x="8011778" y="2502303"/>
                  <a:ext cx="1440000" cy="504000"/>
                </a:xfrm>
                <a:prstGeom prst="rect">
                  <a:avLst/>
                </a:prstGeom>
                <a:solidFill>
                  <a:schemeClr val="accent1">
                    <a:lumMod val="60000"/>
                    <a:lumOff val="40000"/>
                  </a:schemeClr>
                </a:solidFill>
                <a:ln w="6350">
                  <a:noFill/>
                  <a:miter lim="800000"/>
                  <a:headEnd/>
                  <a:tailEnd/>
                </a:ln>
              </p:spPr>
              <p:txBody>
                <a:bodyPr lIns="45720" rIns="4572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000000"/>
                      </a:solidFill>
                      <a:effectLst/>
                      <a:uLnTx/>
                      <a:uFillTx/>
                      <a:latin typeface="Calibri" panose="020F0502020204030204"/>
                      <a:ea typeface="+mn-ea"/>
                      <a:cs typeface="+mn-cs"/>
                    </a:rPr>
                    <a:t>WG IT</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000000"/>
                      </a:solidFill>
                      <a:effectLst/>
                      <a:uLnTx/>
                      <a:uFillTx/>
                      <a:latin typeface="Calibri" panose="020F0502020204030204"/>
                      <a:ea typeface="+mn-ea"/>
                      <a:cs typeface="+mn-cs"/>
                    </a:rPr>
                    <a:t>Jan Hermens </a:t>
                  </a:r>
                  <a:r>
                    <a:rPr kumimoji="0" lang="en-GB" sz="800" b="1" i="0" u="none" strike="noStrike" kern="1200" cap="none" spc="0" normalizeH="0" baseline="0" noProof="0">
                      <a:ln>
                        <a:noFill/>
                      </a:ln>
                      <a:solidFill>
                        <a:srgbClr val="000000"/>
                      </a:solidFill>
                      <a:effectLst/>
                      <a:uLnTx/>
                      <a:uFillTx/>
                      <a:latin typeface="Calibri" panose="020F0502020204030204"/>
                      <a:ea typeface="+mn-ea"/>
                      <a:cs typeface="+mn-cs"/>
                    </a:rPr>
                    <a:t>(Amprion) </a:t>
                  </a:r>
                  <a:endParaRPr kumimoji="0" lang="en-GB" sz="105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8BA8BCDF-A1A0-480E-8111-68581BA9BEC7}"/>
                    </a:ext>
                  </a:extLst>
                </p:cNvPr>
                <p:cNvSpPr>
                  <a:spLocks noChangeArrowheads="1"/>
                </p:cNvSpPr>
                <p:nvPr/>
              </p:nvSpPr>
              <p:spPr bwMode="auto">
                <a:xfrm>
                  <a:off x="6062398" y="618342"/>
                  <a:ext cx="1447269" cy="504000"/>
                </a:xfrm>
                <a:prstGeom prst="rect">
                  <a:avLst/>
                </a:prstGeom>
                <a:solidFill>
                  <a:srgbClr val="0070C0"/>
                </a:solidFill>
                <a:ln w="6350">
                  <a:noFill/>
                  <a:miter lim="800000"/>
                  <a:headEnd/>
                  <a:tailEnd/>
                </a:ln>
              </p:spPr>
              <p:txBody>
                <a:bodyPr lIns="45720" rIns="4572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Calibri" panose="020F0502020204030204"/>
                      <a:ea typeface="+mn-ea"/>
                      <a:cs typeface="+mn-cs"/>
                    </a:rPr>
                    <a:t>MARI SC</a:t>
                  </a:r>
                </a:p>
              </p:txBody>
            </p:sp>
            <p:sp>
              <p:nvSpPr>
                <p:cNvPr id="17" name="Rectangle 16">
                  <a:extLst>
                    <a:ext uri="{FF2B5EF4-FFF2-40B4-BE49-F238E27FC236}">
                      <a16:creationId xmlns:a16="http://schemas.microsoft.com/office/drawing/2014/main" id="{6C3F0607-B2BE-46DB-8348-C79199DC329A}"/>
                    </a:ext>
                  </a:extLst>
                </p:cNvPr>
                <p:cNvSpPr>
                  <a:spLocks noChangeArrowheads="1"/>
                </p:cNvSpPr>
                <p:nvPr/>
              </p:nvSpPr>
              <p:spPr bwMode="auto">
                <a:xfrm>
                  <a:off x="4618653" y="3357150"/>
                  <a:ext cx="676800" cy="504000"/>
                </a:xfrm>
                <a:prstGeom prst="rect">
                  <a:avLst/>
                </a:prstGeom>
                <a:solidFill>
                  <a:schemeClr val="accent2">
                    <a:lumMod val="60000"/>
                    <a:lumOff val="40000"/>
                  </a:schemeClr>
                </a:solidFill>
                <a:ln w="6350">
                  <a:noFill/>
                  <a:miter lim="800000"/>
                  <a:headEnd/>
                  <a:tailEnd/>
                </a:ln>
              </p:spPr>
              <p:txBody>
                <a:bodyPr lIns="0" tIns="0" rIns="0" bIns="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Calibri" panose="020F0502020204030204"/>
                      <a:ea typeface="+mn-ea"/>
                      <a:cs typeface="+mn-cs"/>
                    </a:rPr>
                    <a:t>W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Calibri" panose="020F0502020204030204"/>
                      <a:ea typeface="+mn-ea"/>
                      <a:cs typeface="+mn-cs"/>
                    </a:rPr>
                    <a:t>Design</a:t>
                  </a:r>
                  <a:endPar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83D3DCD4-2693-4220-83F2-CE7BA9AE2551}"/>
                    </a:ext>
                  </a:extLst>
                </p:cNvPr>
                <p:cNvSpPr>
                  <a:spLocks noChangeArrowheads="1"/>
                </p:cNvSpPr>
                <p:nvPr/>
              </p:nvSpPr>
              <p:spPr bwMode="auto">
                <a:xfrm>
                  <a:off x="7749024" y="1307666"/>
                  <a:ext cx="943801" cy="316477"/>
                </a:xfrm>
                <a:prstGeom prst="rect">
                  <a:avLst/>
                </a:prstGeom>
                <a:solidFill>
                  <a:srgbClr val="0070C0"/>
                </a:solidFill>
                <a:ln w="28575">
                  <a:solidFill>
                    <a:srgbClr val="FF0000"/>
                  </a:solidFill>
                  <a:miter lim="800000"/>
                  <a:headEnd/>
                  <a:tailEnd/>
                </a:ln>
              </p:spPr>
              <p:txBody>
                <a:bodyPr lIns="45720" rIns="4572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rPr>
                    <a:t>WS Roadmap /Budget</a:t>
                  </a:r>
                </a:p>
              </p:txBody>
            </p:sp>
            <p:grpSp>
              <p:nvGrpSpPr>
                <p:cNvPr id="19" name="Group 18">
                  <a:extLst>
                    <a:ext uri="{FF2B5EF4-FFF2-40B4-BE49-F238E27FC236}">
                      <a16:creationId xmlns:a16="http://schemas.microsoft.com/office/drawing/2014/main" id="{2A4364E3-B4E3-4BA3-8659-1232C09740B3}"/>
                    </a:ext>
                  </a:extLst>
                </p:cNvPr>
                <p:cNvGrpSpPr/>
                <p:nvPr/>
              </p:nvGrpSpPr>
              <p:grpSpPr>
                <a:xfrm>
                  <a:off x="9619798" y="2502303"/>
                  <a:ext cx="1440001" cy="504001"/>
                  <a:chOff x="9619798" y="2502303"/>
                  <a:chExt cx="1440001" cy="504001"/>
                </a:xfrm>
              </p:grpSpPr>
              <p:sp>
                <p:nvSpPr>
                  <p:cNvPr id="64" name="Rectangle 63">
                    <a:extLst>
                      <a:ext uri="{FF2B5EF4-FFF2-40B4-BE49-F238E27FC236}">
                        <a16:creationId xmlns:a16="http://schemas.microsoft.com/office/drawing/2014/main" id="{5BCB3851-BB7F-482A-B61F-646004A4AF3F}"/>
                      </a:ext>
                    </a:extLst>
                  </p:cNvPr>
                  <p:cNvSpPr/>
                  <p:nvPr/>
                </p:nvSpPr>
                <p:spPr>
                  <a:xfrm>
                    <a:off x="9619798" y="2502303"/>
                    <a:ext cx="491647" cy="5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5" name="Rectangle 64">
                    <a:extLst>
                      <a:ext uri="{FF2B5EF4-FFF2-40B4-BE49-F238E27FC236}">
                        <a16:creationId xmlns:a16="http://schemas.microsoft.com/office/drawing/2014/main" id="{C9F46739-4165-4BC3-A22B-5B4CA466E518}"/>
                      </a:ext>
                    </a:extLst>
                  </p:cNvPr>
                  <p:cNvSpPr/>
                  <p:nvPr/>
                </p:nvSpPr>
                <p:spPr>
                  <a:xfrm>
                    <a:off x="10586440" y="2502303"/>
                    <a:ext cx="468000" cy="50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6" name="Rectangle 65">
                    <a:extLst>
                      <a:ext uri="{FF2B5EF4-FFF2-40B4-BE49-F238E27FC236}">
                        <a16:creationId xmlns:a16="http://schemas.microsoft.com/office/drawing/2014/main" id="{EF5A416F-DF4C-41A3-BEF9-AED6BC30AEF3}"/>
                      </a:ext>
                    </a:extLst>
                  </p:cNvPr>
                  <p:cNvSpPr>
                    <a:spLocks noChangeArrowheads="1"/>
                  </p:cNvSpPr>
                  <p:nvPr/>
                </p:nvSpPr>
                <p:spPr bwMode="auto">
                  <a:xfrm>
                    <a:off x="9619799" y="2502304"/>
                    <a:ext cx="1440000" cy="504000"/>
                  </a:xfrm>
                  <a:prstGeom prst="rect">
                    <a:avLst/>
                  </a:prstGeom>
                  <a:solidFill>
                    <a:srgbClr val="CC471E"/>
                  </a:solidFill>
                  <a:ln w="6350">
                    <a:noFill/>
                    <a:miter lim="800000"/>
                    <a:headEnd/>
                    <a:tailEnd/>
                  </a:ln>
                </p:spPr>
                <p:txBody>
                  <a:bodyPr lIns="45720" rIns="4572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Calibri" panose="020F0502020204030204"/>
                        <a:ea typeface="+mn-ea"/>
                        <a:cs typeface="+mn-cs"/>
                      </a:rPr>
                      <a:t>WG Legal</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Calibri" panose="020F0502020204030204"/>
                        <a:ea typeface="+mn-ea"/>
                        <a:cs typeface="+mn-cs"/>
                      </a:rPr>
                      <a:t>Astrid Brunt </a:t>
                    </a:r>
                    <a:r>
                      <a:rPr kumimoji="0" lang="en-GB" sz="800" b="1" i="0" u="none" strike="noStrike" kern="1200" cap="none" spc="0" normalizeH="0" baseline="0" noProof="0">
                        <a:ln>
                          <a:noFill/>
                        </a:ln>
                        <a:solidFill>
                          <a:prstClr val="white"/>
                        </a:solidFill>
                        <a:effectLst/>
                        <a:uLnTx/>
                        <a:uFillTx/>
                        <a:latin typeface="Calibri" panose="020F0502020204030204"/>
                        <a:ea typeface="+mn-ea"/>
                        <a:cs typeface="+mn-cs"/>
                      </a:rPr>
                      <a:t>(SN)</a:t>
                    </a:r>
                    <a:endParaRPr kumimoji="0" lang="en-GB" sz="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0" name="Rectangle 19">
                  <a:extLst>
                    <a:ext uri="{FF2B5EF4-FFF2-40B4-BE49-F238E27FC236}">
                      <a16:creationId xmlns:a16="http://schemas.microsoft.com/office/drawing/2014/main" id="{4882C75E-0BA9-4D6C-8F95-D2B82239618F}"/>
                    </a:ext>
                  </a:extLst>
                </p:cNvPr>
                <p:cNvSpPr>
                  <a:spLocks noChangeArrowheads="1"/>
                </p:cNvSpPr>
                <p:nvPr/>
              </p:nvSpPr>
              <p:spPr bwMode="auto">
                <a:xfrm>
                  <a:off x="7036882" y="3925157"/>
                  <a:ext cx="694002" cy="360000"/>
                </a:xfrm>
                <a:prstGeom prst="rect">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lIns="45720" rIns="4572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Calibri" panose="020F0502020204030204"/>
                      <a:ea typeface="+mn-ea"/>
                      <a:cs typeface="+mn-cs"/>
                    </a:rPr>
                    <a:t>External - Schlyter</a:t>
                  </a:r>
                  <a:endPar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C460CE17-4D19-4231-B632-D8B1D0DB59F6}"/>
                    </a:ext>
                  </a:extLst>
                </p:cNvPr>
                <p:cNvSpPr>
                  <a:spLocks noChangeArrowheads="1"/>
                </p:cNvSpPr>
                <p:nvPr/>
              </p:nvSpPr>
              <p:spPr bwMode="auto">
                <a:xfrm>
                  <a:off x="8010331" y="3925157"/>
                  <a:ext cx="1445261" cy="360000"/>
                </a:xfrm>
                <a:prstGeom prst="rect">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lIns="45720" rIns="4572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Calibri" panose="020F0502020204030204"/>
                      <a:ea typeface="+mn-ea"/>
                      <a:cs typeface="+mn-cs"/>
                    </a:rPr>
                    <a:t>Provided by the TSOs</a:t>
                  </a:r>
                  <a:endParaRPr kumimoji="0" lang="en-GB" sz="10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1FFDC6E8-159A-4119-9936-B90B0342D702}"/>
                    </a:ext>
                  </a:extLst>
                </p:cNvPr>
                <p:cNvSpPr>
                  <a:spLocks noChangeArrowheads="1"/>
                </p:cNvSpPr>
                <p:nvPr/>
              </p:nvSpPr>
              <p:spPr bwMode="auto">
                <a:xfrm>
                  <a:off x="4660117" y="2502302"/>
                  <a:ext cx="1440000" cy="504000"/>
                </a:xfrm>
                <a:prstGeom prst="rect">
                  <a:avLst/>
                </a:prstGeom>
                <a:solidFill>
                  <a:srgbClr val="548235"/>
                </a:solidFill>
                <a:ln w="6350">
                  <a:noFill/>
                  <a:miter lim="800000"/>
                  <a:headEnd/>
                  <a:tailEnd/>
                </a:ln>
              </p:spPr>
              <p:txBody>
                <a:bodyPr lIns="45720" rIns="4572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Calibri" panose="020F0502020204030204"/>
                      <a:ea typeface="+mn-ea"/>
                      <a:cs typeface="+mn-cs"/>
                    </a:rPr>
                    <a:t>WG Technical</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Calibri" panose="020F0502020204030204"/>
                      <a:ea typeface="+mn-ea"/>
                      <a:cs typeface="+mn-cs"/>
                    </a:rPr>
                    <a:t>Aurelien </a:t>
                  </a:r>
                  <a:r>
                    <a:rPr kumimoji="0" lang="en-GB" sz="800" b="1" i="0" u="none" strike="noStrike" kern="1200" cap="none" spc="0" normalizeH="0" baseline="0" noProof="0">
                      <a:ln>
                        <a:noFill/>
                      </a:ln>
                      <a:solidFill>
                        <a:prstClr val="white"/>
                      </a:solidFill>
                      <a:effectLst/>
                      <a:uLnTx/>
                      <a:uFillTx/>
                      <a:latin typeface="Calibri" panose="020F0502020204030204"/>
                      <a:ea typeface="+mn-ea"/>
                      <a:cs typeface="+mn-cs"/>
                    </a:rPr>
                    <a:t>(RTE)</a:t>
                  </a:r>
                  <a:endParaRPr kumimoji="0" lang="en-GB" sz="8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4EDF2E1D-6127-42F6-9C69-E947AD2BA041}"/>
                    </a:ext>
                  </a:extLst>
                </p:cNvPr>
                <p:cNvSpPr>
                  <a:spLocks noChangeArrowheads="1"/>
                </p:cNvSpPr>
                <p:nvPr/>
              </p:nvSpPr>
              <p:spPr bwMode="auto">
                <a:xfrm>
                  <a:off x="8237988" y="618341"/>
                  <a:ext cx="1129840" cy="504000"/>
                </a:xfrm>
                <a:prstGeom prst="rect">
                  <a:avLst/>
                </a:prstGeom>
                <a:pattFill prst="ltDnDiag">
                  <a:fgClr>
                    <a:srgbClr val="CCCCCC"/>
                  </a:fgClr>
                  <a:bgClr>
                    <a:schemeClr val="bg1">
                      <a:lumMod val="95000"/>
                    </a:schemeClr>
                  </a:bgClr>
                </a:pattFill>
                <a:ln w="6350">
                  <a:noFill/>
                  <a:miter lim="800000"/>
                  <a:headEnd/>
                  <a:tailEnd/>
                </a:ln>
              </p:spPr>
              <p:txBody>
                <a:bodyPr lIns="45720" rIns="4572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000000"/>
                      </a:solidFill>
                      <a:effectLst/>
                      <a:uLnTx/>
                      <a:uFillTx/>
                      <a:latin typeface="Calibri" panose="020F0502020204030204"/>
                      <a:ea typeface="+mn-ea"/>
                      <a:cs typeface="+mn-cs"/>
                    </a:rPr>
                    <a:t>Cross-Project Coordination</a:t>
                  </a:r>
                  <a:endParaRPr kumimoji="0" lang="en-GB" sz="105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98DFFCFF-32AD-42DC-BC7E-96A023349E48}"/>
                    </a:ext>
                  </a:extLst>
                </p:cNvPr>
                <p:cNvSpPr>
                  <a:spLocks noChangeArrowheads="1"/>
                </p:cNvSpPr>
                <p:nvPr/>
              </p:nvSpPr>
              <p:spPr bwMode="auto">
                <a:xfrm>
                  <a:off x="7130190" y="1777051"/>
                  <a:ext cx="940742" cy="252000"/>
                </a:xfrm>
                <a:prstGeom prst="rect">
                  <a:avLst/>
                </a:prstGeom>
                <a:solidFill>
                  <a:schemeClr val="accent1">
                    <a:lumMod val="60000"/>
                    <a:lumOff val="40000"/>
                  </a:schemeClr>
                </a:solidFill>
                <a:ln w="12700">
                  <a:noFill/>
                  <a:miter lim="800000"/>
                  <a:headEnd/>
                  <a:tailEnd/>
                </a:ln>
              </p:spPr>
              <p:txBody>
                <a:bodyPr lIns="45720" rIns="4572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Calibri" panose="020F0502020204030204"/>
                      <a:ea typeface="+mn-ea"/>
                      <a:cs typeface="+mn-cs"/>
                    </a:rPr>
                    <a:t>IT PMO</a:t>
                  </a:r>
                  <a:endParaRPr kumimoji="0" lang="en-GB" sz="11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9E295F65-E23C-40F4-B66F-1A9C628D0E40}"/>
                    </a:ext>
                  </a:extLst>
                </p:cNvPr>
                <p:cNvSpPr>
                  <a:spLocks noChangeArrowheads="1"/>
                </p:cNvSpPr>
                <p:nvPr/>
              </p:nvSpPr>
              <p:spPr bwMode="auto">
                <a:xfrm>
                  <a:off x="7036881" y="3364618"/>
                  <a:ext cx="676800" cy="504000"/>
                </a:xfrm>
                <a:prstGeom prst="rect">
                  <a:avLst/>
                </a:prstGeom>
                <a:solidFill>
                  <a:schemeClr val="accent3">
                    <a:lumMod val="40000"/>
                    <a:lumOff val="60000"/>
                  </a:schemeClr>
                </a:solidFill>
                <a:ln w="6350">
                  <a:noFill/>
                  <a:miter lim="800000"/>
                  <a:headEnd/>
                  <a:tailEnd/>
                </a:ln>
              </p:spPr>
              <p:txBody>
                <a:bodyPr lIns="45720" rIns="4572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Calibri" panose="020F0502020204030204"/>
                      <a:ea typeface="+mn-ea"/>
                      <a:cs typeface="+mn-cs"/>
                    </a:rPr>
                    <a:t>TF Business Analyst</a:t>
                  </a:r>
                  <a:endPar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27" name="Elbow Connector 22">
                  <a:extLst>
                    <a:ext uri="{FF2B5EF4-FFF2-40B4-BE49-F238E27FC236}">
                      <a16:creationId xmlns:a16="http://schemas.microsoft.com/office/drawing/2014/main" id="{D2873416-3950-41C8-85F4-0A5BDEC93571}"/>
                    </a:ext>
                  </a:extLst>
                </p:cNvPr>
                <p:cNvCxnSpPr>
                  <a:cxnSpLocks/>
                  <a:stCxn id="61" idx="2"/>
                  <a:endCxn id="15" idx="0"/>
                </p:cNvCxnSpPr>
                <p:nvPr/>
              </p:nvCxnSpPr>
              <p:spPr>
                <a:xfrm rot="16200000" flipH="1">
                  <a:off x="7249771" y="1020295"/>
                  <a:ext cx="1020940" cy="1943075"/>
                </a:xfrm>
                <a:prstGeom prst="bentConnector3">
                  <a:avLst>
                    <a:gd name="adj1" fmla="val 71037"/>
                  </a:avLst>
                </a:prstGeom>
                <a:ln w="158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F4960207-6CF9-473B-A63D-89562209E7C1}"/>
                    </a:ext>
                  </a:extLst>
                </p:cNvPr>
                <p:cNvSpPr>
                  <a:spLocks noChangeArrowheads="1"/>
                </p:cNvSpPr>
                <p:nvPr/>
              </p:nvSpPr>
              <p:spPr bwMode="auto">
                <a:xfrm>
                  <a:off x="5337632" y="3357150"/>
                  <a:ext cx="676800" cy="504000"/>
                </a:xfrm>
                <a:prstGeom prst="rect">
                  <a:avLst/>
                </a:prstGeom>
                <a:solidFill>
                  <a:schemeClr val="accent2">
                    <a:lumMod val="60000"/>
                    <a:lumOff val="40000"/>
                  </a:schemeClr>
                </a:solidFill>
                <a:ln w="6350">
                  <a:noFill/>
                  <a:miter lim="800000"/>
                  <a:headEnd/>
                  <a:tailEnd/>
                </a:ln>
              </p:spPr>
              <p:txBody>
                <a:bodyPr lIns="0" tIns="0" rIns="0" bIns="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Calibri" panose="020F0502020204030204"/>
                      <a:ea typeface="+mn-ea"/>
                      <a:cs typeface="+mn-cs"/>
                    </a:rPr>
                    <a:t>W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Calibri" panose="020F0502020204030204"/>
                      <a:ea typeface="+mn-ea"/>
                      <a:cs typeface="+mn-cs"/>
                    </a:rPr>
                    <a:t>SET</a:t>
                  </a:r>
                  <a:endPar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CD513CF6-5BEF-45E5-9BEA-54CC03CEE042}"/>
                    </a:ext>
                  </a:extLst>
                </p:cNvPr>
                <p:cNvSpPr>
                  <a:spLocks noChangeArrowheads="1"/>
                </p:cNvSpPr>
                <p:nvPr/>
              </p:nvSpPr>
              <p:spPr bwMode="auto">
                <a:xfrm>
                  <a:off x="5332608" y="3925157"/>
                  <a:ext cx="676800" cy="360000"/>
                </a:xfrm>
                <a:prstGeom prst="rect">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lIns="0" tIns="0" rIns="0" bIns="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Calibri" panose="020F0502020204030204"/>
                      <a:ea typeface="+mn-ea"/>
                      <a:cs typeface="+mn-cs"/>
                    </a:rPr>
                    <a:t>Matthias</a:t>
                  </a:r>
                  <a:endParaRPr kumimoji="0" lang="en-GB" sz="10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C9B588BC-4734-4E75-8208-268363914C87}"/>
                    </a:ext>
                  </a:extLst>
                </p:cNvPr>
                <p:cNvSpPr>
                  <a:spLocks noChangeArrowheads="1"/>
                </p:cNvSpPr>
                <p:nvPr/>
              </p:nvSpPr>
              <p:spPr bwMode="auto">
                <a:xfrm>
                  <a:off x="6064219" y="3364346"/>
                  <a:ext cx="676800" cy="504000"/>
                </a:xfrm>
                <a:prstGeom prst="rect">
                  <a:avLst/>
                </a:prstGeom>
                <a:solidFill>
                  <a:schemeClr val="accent2">
                    <a:lumMod val="60000"/>
                    <a:lumOff val="40000"/>
                  </a:schemeClr>
                </a:solidFill>
                <a:ln w="6350">
                  <a:noFill/>
                  <a:miter lim="800000"/>
                  <a:headEnd/>
                  <a:tailEnd/>
                </a:ln>
              </p:spPr>
              <p:txBody>
                <a:bodyPr lIns="0" tIns="0" rIns="0" bIns="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Calibri" panose="020F0502020204030204"/>
                      <a:ea typeface="+mn-ea"/>
                      <a:cs typeface="+mn-cs"/>
                    </a:rPr>
                    <a:t>W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Calibri" panose="020F0502020204030204"/>
                      <a:ea typeface="+mn-ea"/>
                      <a:cs typeface="+mn-cs"/>
                    </a:rPr>
                    <a:t>ABS</a:t>
                  </a:r>
                  <a:endPar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91D4DA0C-5A74-418F-A243-41EE59E731DB}"/>
                    </a:ext>
                  </a:extLst>
                </p:cNvPr>
                <p:cNvSpPr>
                  <a:spLocks noChangeArrowheads="1"/>
                </p:cNvSpPr>
                <p:nvPr/>
              </p:nvSpPr>
              <p:spPr bwMode="auto">
                <a:xfrm>
                  <a:off x="6064219" y="3925157"/>
                  <a:ext cx="676800" cy="360000"/>
                </a:xfrm>
                <a:prstGeom prst="rect">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lIns="0" tIns="0" rIns="0" bIns="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Calibri" panose="020F0502020204030204"/>
                      <a:ea typeface="+mn-ea"/>
                      <a:cs typeface="+mn-cs"/>
                    </a:rPr>
                    <a:t>Iason</a:t>
                  </a:r>
                  <a:endParaRPr kumimoji="0" lang="en-GB" sz="10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FAFFF08B-6460-4A66-AFB3-48066020EF96}"/>
                    </a:ext>
                  </a:extLst>
                </p:cNvPr>
                <p:cNvSpPr>
                  <a:spLocks noChangeArrowheads="1"/>
                </p:cNvSpPr>
                <p:nvPr/>
              </p:nvSpPr>
              <p:spPr bwMode="auto">
                <a:xfrm>
                  <a:off x="5494066" y="1784003"/>
                  <a:ext cx="940742" cy="252000"/>
                </a:xfrm>
                <a:prstGeom prst="rect">
                  <a:avLst/>
                </a:prstGeom>
                <a:solidFill>
                  <a:srgbClr val="548235"/>
                </a:solidFill>
                <a:ln w="6350">
                  <a:noFill/>
                  <a:miter lim="800000"/>
                  <a:headEnd/>
                  <a:tailEnd/>
                </a:ln>
              </p:spPr>
              <p:txBody>
                <a:bodyPr lIns="45720" rIns="4572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prstClr val="white"/>
                      </a:solidFill>
                      <a:effectLst/>
                      <a:uLnTx/>
                      <a:uFillTx/>
                      <a:latin typeface="Calibri" panose="020F0502020204030204"/>
                      <a:ea typeface="+mn-ea"/>
                      <a:cs typeface="+mn-cs"/>
                    </a:rPr>
                    <a:t>PMO</a:t>
                  </a:r>
                  <a:endParaRPr kumimoji="0" lang="en-GB" sz="105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C73D65B0-3389-4F45-8FEC-12D91A042B5B}"/>
                    </a:ext>
                  </a:extLst>
                </p:cNvPr>
                <p:cNvSpPr>
                  <a:spLocks noChangeArrowheads="1"/>
                </p:cNvSpPr>
                <p:nvPr/>
              </p:nvSpPr>
              <p:spPr bwMode="auto">
                <a:xfrm>
                  <a:off x="8010331" y="3380074"/>
                  <a:ext cx="722631" cy="504000"/>
                </a:xfrm>
                <a:prstGeom prst="rect">
                  <a:avLst/>
                </a:prstGeom>
                <a:solidFill>
                  <a:schemeClr val="accent1">
                    <a:lumMod val="60000"/>
                    <a:lumOff val="40000"/>
                  </a:schemeClr>
                </a:solidFill>
                <a:ln w="6350">
                  <a:noFill/>
                  <a:miter lim="800000"/>
                  <a:headEnd/>
                  <a:tailEnd/>
                </a:ln>
              </p:spPr>
              <p:txBody>
                <a:bodyPr lIns="45720" rIns="4572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Calibri" panose="020F0502020204030204"/>
                      <a:ea typeface="+mn-ea"/>
                      <a:cs typeface="+mn-cs"/>
                    </a:rPr>
                    <a:t>WS … (TBD)</a:t>
                  </a:r>
                  <a:endPar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A35BDBC3-21BC-4A04-BBF4-F28A04A695B1}"/>
                    </a:ext>
                  </a:extLst>
                </p:cNvPr>
                <p:cNvSpPr>
                  <a:spLocks noChangeArrowheads="1"/>
                </p:cNvSpPr>
                <p:nvPr/>
              </p:nvSpPr>
              <p:spPr bwMode="auto">
                <a:xfrm>
                  <a:off x="8777710" y="3379814"/>
                  <a:ext cx="677882" cy="504000"/>
                </a:xfrm>
                <a:prstGeom prst="rect">
                  <a:avLst/>
                </a:prstGeom>
                <a:solidFill>
                  <a:schemeClr val="accent1">
                    <a:lumMod val="60000"/>
                    <a:lumOff val="40000"/>
                  </a:schemeClr>
                </a:solidFill>
                <a:ln w="6350">
                  <a:noFill/>
                  <a:miter lim="800000"/>
                  <a:headEnd/>
                  <a:tailEnd/>
                </a:ln>
              </p:spPr>
              <p:txBody>
                <a:bodyPr lIns="45720" rIns="4572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Calibri" panose="020F0502020204030204"/>
                      <a:ea typeface="+mn-ea"/>
                      <a:cs typeface="+mn-cs"/>
                    </a:rPr>
                    <a:t>WS … (TBD)</a:t>
                  </a:r>
                  <a:endPar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35" name="Elbow Connector 72">
                  <a:extLst>
                    <a:ext uri="{FF2B5EF4-FFF2-40B4-BE49-F238E27FC236}">
                      <a16:creationId xmlns:a16="http://schemas.microsoft.com/office/drawing/2014/main" id="{A6A4991E-B815-49CE-B856-4CF9B776278D}"/>
                    </a:ext>
                  </a:extLst>
                </p:cNvPr>
                <p:cNvCxnSpPr>
                  <a:cxnSpLocks/>
                  <a:stCxn id="61" idx="2"/>
                  <a:endCxn id="23" idx="0"/>
                </p:cNvCxnSpPr>
                <p:nvPr/>
              </p:nvCxnSpPr>
              <p:spPr>
                <a:xfrm rot="5400000">
                  <a:off x="5573942" y="1287539"/>
                  <a:ext cx="1020939" cy="1408586"/>
                </a:xfrm>
                <a:prstGeom prst="bentConnector3">
                  <a:avLst>
                    <a:gd name="adj1" fmla="val 71037"/>
                  </a:avLst>
                </a:prstGeom>
                <a:ln w="158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1">
                  <a:extLst>
                    <a:ext uri="{FF2B5EF4-FFF2-40B4-BE49-F238E27FC236}">
                      <a16:creationId xmlns:a16="http://schemas.microsoft.com/office/drawing/2014/main" id="{2CA67533-5098-4A3B-A4A5-B2F5D368AA5A}"/>
                    </a:ext>
                  </a:extLst>
                </p:cNvPr>
                <p:cNvCxnSpPr>
                  <a:cxnSpLocks/>
                  <a:stCxn id="61" idx="2"/>
                  <a:endCxn id="64" idx="0"/>
                </p:cNvCxnSpPr>
                <p:nvPr/>
              </p:nvCxnSpPr>
              <p:spPr>
                <a:xfrm rot="16200000" flipH="1">
                  <a:off x="7816693" y="453374"/>
                  <a:ext cx="1020940" cy="3076919"/>
                </a:xfrm>
                <a:prstGeom prst="bentConnector3">
                  <a:avLst>
                    <a:gd name="adj1" fmla="val 71038"/>
                  </a:avLst>
                </a:prstGeom>
                <a:ln w="158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19053BB1-0A84-49A3-A877-9FC50EAAD8FE}"/>
                    </a:ext>
                  </a:extLst>
                </p:cNvPr>
                <p:cNvSpPr>
                  <a:spLocks noChangeArrowheads="1"/>
                </p:cNvSpPr>
                <p:nvPr/>
              </p:nvSpPr>
              <p:spPr bwMode="auto">
                <a:xfrm>
                  <a:off x="10096150" y="618341"/>
                  <a:ext cx="1447269" cy="504000"/>
                </a:xfrm>
                <a:prstGeom prst="rect">
                  <a:avLst/>
                </a:prstGeom>
                <a:solidFill>
                  <a:srgbClr val="CCCCCC"/>
                </a:solidFill>
                <a:ln w="6350">
                  <a:noFill/>
                  <a:miter lim="800000"/>
                  <a:headEnd/>
                  <a:tailEnd/>
                </a:ln>
              </p:spPr>
              <p:txBody>
                <a:bodyPr lIns="45720" rIns="4572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Calibri" panose="020F0502020204030204"/>
                      <a:ea typeface="+mn-ea"/>
                      <a:cs typeface="+mn-cs"/>
                    </a:rPr>
                    <a:t>PICASSO SC</a:t>
                  </a:r>
                  <a:endParaRPr kumimoji="0" lang="en-GB" sz="11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38" name="Elbow Connector 33">
                  <a:extLst>
                    <a:ext uri="{FF2B5EF4-FFF2-40B4-BE49-F238E27FC236}">
                      <a16:creationId xmlns:a16="http://schemas.microsoft.com/office/drawing/2014/main" id="{C6D4EC7F-0923-4198-8A11-C0CA5F45B66C}"/>
                    </a:ext>
                  </a:extLst>
                </p:cNvPr>
                <p:cNvCxnSpPr>
                  <a:cxnSpLocks/>
                  <a:stCxn id="37" idx="2"/>
                  <a:endCxn id="65" idx="0"/>
                </p:cNvCxnSpPr>
                <p:nvPr/>
              </p:nvCxnSpPr>
              <p:spPr>
                <a:xfrm rot="16200000" flipH="1">
                  <a:off x="10130131" y="1811994"/>
                  <a:ext cx="1379962" cy="656"/>
                </a:xfrm>
                <a:prstGeom prst="bentConnector3">
                  <a:avLst>
                    <a:gd name="adj1" fmla="val 50000"/>
                  </a:avLst>
                </a:prstGeom>
                <a:ln w="158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72">
                  <a:extLst>
                    <a:ext uri="{FF2B5EF4-FFF2-40B4-BE49-F238E27FC236}">
                      <a16:creationId xmlns:a16="http://schemas.microsoft.com/office/drawing/2014/main" id="{2529CE94-D0D5-4E8A-8E24-500D077B7EB5}"/>
                    </a:ext>
                  </a:extLst>
                </p:cNvPr>
                <p:cNvCxnSpPr>
                  <a:cxnSpLocks/>
                  <a:stCxn id="15" idx="1"/>
                  <a:endCxn id="26" idx="0"/>
                </p:cNvCxnSpPr>
                <p:nvPr/>
              </p:nvCxnSpPr>
              <p:spPr>
                <a:xfrm rot="10800000" flipV="1">
                  <a:off x="7375281" y="2754304"/>
                  <a:ext cx="636498" cy="610314"/>
                </a:xfrm>
                <a:prstGeom prst="bentConnector2">
                  <a:avLst/>
                </a:prstGeom>
                <a:ln w="158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0" name="Elbow Connector 72">
                  <a:extLst>
                    <a:ext uri="{FF2B5EF4-FFF2-40B4-BE49-F238E27FC236}">
                      <a16:creationId xmlns:a16="http://schemas.microsoft.com/office/drawing/2014/main" id="{996C687B-17C1-4C32-90E5-CCE5039CED89}"/>
                    </a:ext>
                  </a:extLst>
                </p:cNvPr>
                <p:cNvCxnSpPr>
                  <a:cxnSpLocks/>
                  <a:stCxn id="23" idx="3"/>
                  <a:endCxn id="26" idx="0"/>
                </p:cNvCxnSpPr>
                <p:nvPr/>
              </p:nvCxnSpPr>
              <p:spPr>
                <a:xfrm>
                  <a:off x="6100117" y="2754302"/>
                  <a:ext cx="1275164" cy="610316"/>
                </a:xfrm>
                <a:prstGeom prst="bentConnector2">
                  <a:avLst/>
                </a:prstGeom>
                <a:ln w="158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 name="Elbow Connector 36">
                  <a:extLst>
                    <a:ext uri="{FF2B5EF4-FFF2-40B4-BE49-F238E27FC236}">
                      <a16:creationId xmlns:a16="http://schemas.microsoft.com/office/drawing/2014/main" id="{8E3191B5-EA65-41EC-A00A-E605815952A8}"/>
                    </a:ext>
                  </a:extLst>
                </p:cNvPr>
                <p:cNvCxnSpPr>
                  <a:cxnSpLocks/>
                  <a:stCxn id="61" idx="2"/>
                  <a:endCxn id="32" idx="3"/>
                </p:cNvCxnSpPr>
                <p:nvPr/>
              </p:nvCxnSpPr>
              <p:spPr>
                <a:xfrm rot="5400000">
                  <a:off x="6397435" y="1518737"/>
                  <a:ext cx="428640" cy="353892"/>
                </a:xfrm>
                <a:prstGeom prst="bentConnector2">
                  <a:avLst/>
                </a:prstGeom>
                <a:ln w="158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2" name="Elbow Connector 37">
                  <a:extLst>
                    <a:ext uri="{FF2B5EF4-FFF2-40B4-BE49-F238E27FC236}">
                      <a16:creationId xmlns:a16="http://schemas.microsoft.com/office/drawing/2014/main" id="{068AADEB-6F92-444D-9F45-33E16A685672}"/>
                    </a:ext>
                  </a:extLst>
                </p:cNvPr>
                <p:cNvCxnSpPr>
                  <a:cxnSpLocks/>
                  <a:stCxn id="61" idx="2"/>
                  <a:endCxn id="25" idx="1"/>
                </p:cNvCxnSpPr>
                <p:nvPr/>
              </p:nvCxnSpPr>
              <p:spPr>
                <a:xfrm rot="16200000" flipH="1">
                  <a:off x="6748601" y="1521462"/>
                  <a:ext cx="421688" cy="341490"/>
                </a:xfrm>
                <a:prstGeom prst="bentConnector2">
                  <a:avLst/>
                </a:prstGeom>
                <a:ln w="158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EE7D2FBB-CEF6-4DBB-8533-74931B5BB51B}"/>
                    </a:ext>
                  </a:extLst>
                </p:cNvPr>
                <p:cNvSpPr>
                  <a:spLocks noChangeArrowheads="1"/>
                </p:cNvSpPr>
                <p:nvPr/>
              </p:nvSpPr>
              <p:spPr bwMode="auto">
                <a:xfrm>
                  <a:off x="9653004" y="3365541"/>
                  <a:ext cx="622281" cy="504000"/>
                </a:xfrm>
                <a:prstGeom prst="rect">
                  <a:avLst/>
                </a:prstGeom>
                <a:solidFill>
                  <a:schemeClr val="accent6">
                    <a:lumMod val="60000"/>
                    <a:lumOff val="40000"/>
                  </a:schemeClr>
                </a:solidFill>
                <a:ln w="6350">
                  <a:noFill/>
                  <a:miter lim="800000"/>
                  <a:headEnd/>
                  <a:tailEnd/>
                </a:ln>
              </p:spPr>
              <p:txBody>
                <a:bodyPr lIns="45720" rIns="4572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rPr>
                    <a:t>WS </a:t>
                  </a:r>
                  <a:endParaRPr kumimoji="0" lang="cs-CZ" sz="9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cs-CZ" sz="900" b="1" i="0" u="none" strike="noStrike" kern="1200" cap="none" spc="0" normalizeH="0" baseline="0" noProof="0" dirty="0">
                      <a:ln>
                        <a:noFill/>
                      </a:ln>
                      <a:solidFill>
                        <a:srgbClr val="000000"/>
                      </a:solidFill>
                      <a:effectLst/>
                      <a:uLnTx/>
                      <a:uFillTx/>
                      <a:latin typeface="Calibri" panose="020F0502020204030204"/>
                      <a:ea typeface="+mn-ea"/>
                      <a:cs typeface="+mn-cs"/>
                    </a:rPr>
                    <a:t>IFA</a:t>
                  </a:r>
                  <a:endPar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id="{9D5FD978-26E8-4919-AA85-CB3DB9DE8B04}"/>
                    </a:ext>
                  </a:extLst>
                </p:cNvPr>
                <p:cNvSpPr>
                  <a:spLocks noChangeArrowheads="1"/>
                </p:cNvSpPr>
                <p:nvPr/>
              </p:nvSpPr>
              <p:spPr bwMode="auto">
                <a:xfrm>
                  <a:off x="10359068" y="3355636"/>
                  <a:ext cx="583746" cy="504000"/>
                </a:xfrm>
                <a:prstGeom prst="rect">
                  <a:avLst/>
                </a:prstGeom>
                <a:solidFill>
                  <a:schemeClr val="accent6">
                    <a:lumMod val="60000"/>
                    <a:lumOff val="40000"/>
                  </a:schemeClr>
                </a:solidFill>
                <a:ln w="6350">
                  <a:noFill/>
                  <a:miter lim="800000"/>
                  <a:headEnd/>
                  <a:tailEnd/>
                </a:ln>
              </p:spPr>
              <p:txBody>
                <a:bodyPr lIns="45720" rIns="4572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rPr>
                    <a:t>WS </a:t>
                  </a:r>
                  <a:endParaRPr kumimoji="0" lang="cs-CZ" sz="9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cs-CZ" sz="900" b="1" i="0" u="none" strike="noStrike" kern="1200" cap="none" spc="0" normalizeH="0" baseline="0" noProof="0" dirty="0">
                      <a:ln>
                        <a:noFill/>
                      </a:ln>
                      <a:solidFill>
                        <a:srgbClr val="000000"/>
                      </a:solidFill>
                      <a:effectLst/>
                      <a:uLnTx/>
                      <a:uFillTx/>
                      <a:latin typeface="Calibri" panose="020F0502020204030204"/>
                      <a:ea typeface="+mn-ea"/>
                      <a:cs typeface="+mn-cs"/>
                    </a:rPr>
                    <a:t>LDD</a:t>
                  </a:r>
                  <a:endPar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45" name="Rectangle 44">
                  <a:extLst>
                    <a:ext uri="{FF2B5EF4-FFF2-40B4-BE49-F238E27FC236}">
                      <a16:creationId xmlns:a16="http://schemas.microsoft.com/office/drawing/2014/main" id="{96896018-E3E0-41B5-8B57-809C6D544223}"/>
                    </a:ext>
                  </a:extLst>
                </p:cNvPr>
                <p:cNvSpPr>
                  <a:spLocks noChangeArrowheads="1"/>
                </p:cNvSpPr>
                <p:nvPr/>
              </p:nvSpPr>
              <p:spPr bwMode="auto">
                <a:xfrm>
                  <a:off x="9653004" y="3925157"/>
                  <a:ext cx="1953367" cy="360000"/>
                </a:xfrm>
                <a:prstGeom prst="rect">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lIns="45720" rIns="4572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s-CZ" sz="1000" b="1" i="0" u="none" strike="noStrike" kern="1200" cap="none" spc="0" normalizeH="0" baseline="0" noProof="0" dirty="0">
                      <a:ln>
                        <a:noFill/>
                      </a:ln>
                      <a:solidFill>
                        <a:srgbClr val="000000"/>
                      </a:solidFill>
                      <a:effectLst/>
                      <a:uLnTx/>
                      <a:uFillTx/>
                      <a:latin typeface="Calibri" panose="020F0502020204030204"/>
                      <a:ea typeface="+mn-ea"/>
                      <a:cs typeface="+mn-cs"/>
                    </a:rPr>
                    <a:t>Astrid</a:t>
                  </a:r>
                  <a:endParaRPr kumimoji="0" lang="en-GB" sz="10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47" name="Elbow Connector 72">
                  <a:extLst>
                    <a:ext uri="{FF2B5EF4-FFF2-40B4-BE49-F238E27FC236}">
                      <a16:creationId xmlns:a16="http://schemas.microsoft.com/office/drawing/2014/main" id="{1C56F23B-8215-4C72-814B-6D3050FA2F55}"/>
                    </a:ext>
                  </a:extLst>
                </p:cNvPr>
                <p:cNvCxnSpPr>
                  <a:cxnSpLocks/>
                  <a:stCxn id="23" idx="2"/>
                  <a:endCxn id="30" idx="0"/>
                </p:cNvCxnSpPr>
                <p:nvPr/>
              </p:nvCxnSpPr>
              <p:spPr>
                <a:xfrm rot="16200000" flipH="1">
                  <a:off x="5712346" y="2674072"/>
                  <a:ext cx="358044" cy="1022502"/>
                </a:xfrm>
                <a:prstGeom prst="bentConnector3">
                  <a:avLst>
                    <a:gd name="adj1" fmla="val 50000"/>
                  </a:avLst>
                </a:prstGeom>
                <a:ln w="158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 name="Elbow Connector 72">
                  <a:extLst>
                    <a:ext uri="{FF2B5EF4-FFF2-40B4-BE49-F238E27FC236}">
                      <a16:creationId xmlns:a16="http://schemas.microsoft.com/office/drawing/2014/main" id="{3F90D915-C25B-4446-9AE4-045A3951B4DE}"/>
                    </a:ext>
                  </a:extLst>
                </p:cNvPr>
                <p:cNvCxnSpPr>
                  <a:cxnSpLocks/>
                  <a:stCxn id="23" idx="2"/>
                  <a:endCxn id="28" idx="0"/>
                </p:cNvCxnSpPr>
                <p:nvPr/>
              </p:nvCxnSpPr>
              <p:spPr>
                <a:xfrm rot="16200000" flipH="1">
                  <a:off x="5352650" y="3033769"/>
                  <a:ext cx="350848" cy="295915"/>
                </a:xfrm>
                <a:prstGeom prst="bentConnector3">
                  <a:avLst>
                    <a:gd name="adj1" fmla="val 50000"/>
                  </a:avLst>
                </a:prstGeom>
                <a:ln w="158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87024ACC-9CBB-4D47-8255-BA15A9B4CB4A}"/>
                    </a:ext>
                  </a:extLst>
                </p:cNvPr>
                <p:cNvCxnSpPr>
                  <a:cxnSpLocks/>
                  <a:stCxn id="16" idx="3"/>
                  <a:endCxn id="24" idx="1"/>
                </p:cNvCxnSpPr>
                <p:nvPr/>
              </p:nvCxnSpPr>
              <p:spPr>
                <a:xfrm flipV="1">
                  <a:off x="7509668" y="870341"/>
                  <a:ext cx="728320" cy="1"/>
                </a:xfrm>
                <a:prstGeom prst="straightConnector1">
                  <a:avLst/>
                </a:prstGeom>
                <a:ln w="1587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0F7DAAC4-AFEA-4291-8F7B-0037B0FDB5EF}"/>
                    </a:ext>
                  </a:extLst>
                </p:cNvPr>
                <p:cNvCxnSpPr>
                  <a:cxnSpLocks/>
                  <a:stCxn id="24" idx="3"/>
                  <a:endCxn id="37" idx="1"/>
                </p:cNvCxnSpPr>
                <p:nvPr/>
              </p:nvCxnSpPr>
              <p:spPr>
                <a:xfrm>
                  <a:off x="9367828" y="870341"/>
                  <a:ext cx="728322" cy="0"/>
                </a:xfrm>
                <a:prstGeom prst="straightConnector1">
                  <a:avLst/>
                </a:prstGeom>
                <a:ln w="15875">
                  <a:solidFill>
                    <a:schemeClr val="tx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57" name="Elbow Connector 72">
                  <a:extLst>
                    <a:ext uri="{FF2B5EF4-FFF2-40B4-BE49-F238E27FC236}">
                      <a16:creationId xmlns:a16="http://schemas.microsoft.com/office/drawing/2014/main" id="{DA34F515-A5AB-4D42-A53F-EDF9F55B4CD4}"/>
                    </a:ext>
                  </a:extLst>
                </p:cNvPr>
                <p:cNvCxnSpPr>
                  <a:cxnSpLocks/>
                  <a:stCxn id="15" idx="2"/>
                  <a:endCxn id="33" idx="0"/>
                </p:cNvCxnSpPr>
                <p:nvPr/>
              </p:nvCxnSpPr>
              <p:spPr>
                <a:xfrm rot="5400000">
                  <a:off x="8364828" y="3013123"/>
                  <a:ext cx="373770" cy="360132"/>
                </a:xfrm>
                <a:prstGeom prst="bentConnector3">
                  <a:avLst>
                    <a:gd name="adj1" fmla="val 50000"/>
                  </a:avLst>
                </a:prstGeom>
                <a:ln w="158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8" name="Elbow Connector 72">
                  <a:extLst>
                    <a:ext uri="{FF2B5EF4-FFF2-40B4-BE49-F238E27FC236}">
                      <a16:creationId xmlns:a16="http://schemas.microsoft.com/office/drawing/2014/main" id="{4B2A7FA5-1C75-43F3-B92C-D540561A9849}"/>
                    </a:ext>
                  </a:extLst>
                </p:cNvPr>
                <p:cNvCxnSpPr>
                  <a:cxnSpLocks/>
                  <a:stCxn id="15" idx="2"/>
                  <a:endCxn id="34" idx="0"/>
                </p:cNvCxnSpPr>
                <p:nvPr/>
              </p:nvCxnSpPr>
              <p:spPr>
                <a:xfrm rot="16200000" flipH="1">
                  <a:off x="8737460" y="3000623"/>
                  <a:ext cx="373510" cy="384872"/>
                </a:xfrm>
                <a:prstGeom prst="bentConnector3">
                  <a:avLst>
                    <a:gd name="adj1" fmla="val 50000"/>
                  </a:avLst>
                </a:prstGeom>
                <a:ln w="158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9" name="Elbow Connector 72">
                  <a:extLst>
                    <a:ext uri="{FF2B5EF4-FFF2-40B4-BE49-F238E27FC236}">
                      <a16:creationId xmlns:a16="http://schemas.microsoft.com/office/drawing/2014/main" id="{EB3588DE-9167-44F4-B664-B70731E325EB}"/>
                    </a:ext>
                  </a:extLst>
                </p:cNvPr>
                <p:cNvCxnSpPr>
                  <a:cxnSpLocks/>
                  <a:stCxn id="66" idx="2"/>
                  <a:endCxn id="44" idx="0"/>
                </p:cNvCxnSpPr>
                <p:nvPr/>
              </p:nvCxnSpPr>
              <p:spPr>
                <a:xfrm rot="16200000" flipH="1">
                  <a:off x="10320704" y="3025399"/>
                  <a:ext cx="349332" cy="311142"/>
                </a:xfrm>
                <a:prstGeom prst="bentConnector3">
                  <a:avLst>
                    <a:gd name="adj1" fmla="val 50000"/>
                  </a:avLst>
                </a:prstGeom>
                <a:ln w="15875">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0" name="Elbow Connector 72">
                  <a:extLst>
                    <a:ext uri="{FF2B5EF4-FFF2-40B4-BE49-F238E27FC236}">
                      <a16:creationId xmlns:a16="http://schemas.microsoft.com/office/drawing/2014/main" id="{5609254D-C4FC-45B2-A4A3-80E1E8847796}"/>
                    </a:ext>
                  </a:extLst>
                </p:cNvPr>
                <p:cNvCxnSpPr>
                  <a:cxnSpLocks/>
                  <a:stCxn id="66" idx="2"/>
                  <a:endCxn id="43" idx="0"/>
                </p:cNvCxnSpPr>
                <p:nvPr/>
              </p:nvCxnSpPr>
              <p:spPr>
                <a:xfrm rot="5400000">
                  <a:off x="9972354" y="2998094"/>
                  <a:ext cx="359237" cy="375655"/>
                </a:xfrm>
                <a:prstGeom prst="bentConnector3">
                  <a:avLst>
                    <a:gd name="adj1" fmla="val 50000"/>
                  </a:avLst>
                </a:prstGeom>
                <a:ln w="158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63B1752B-267F-4B0B-8236-58B1EB9173D1}"/>
                    </a:ext>
                  </a:extLst>
                </p:cNvPr>
                <p:cNvSpPr>
                  <a:spLocks noChangeArrowheads="1"/>
                </p:cNvSpPr>
                <p:nvPr/>
              </p:nvSpPr>
              <p:spPr bwMode="auto">
                <a:xfrm>
                  <a:off x="4618653" y="3925157"/>
                  <a:ext cx="676800" cy="360000"/>
                </a:xfrm>
                <a:prstGeom prst="rect">
                  <a:avLst/>
                </a:prstGeom>
                <a:ln w="15875">
                  <a:solidFill>
                    <a:schemeClr val="tx1"/>
                  </a:solidFill>
                </a:ln>
              </p:spPr>
              <p:style>
                <a:lnRef idx="1">
                  <a:schemeClr val="accent1"/>
                </a:lnRef>
                <a:fillRef idx="0">
                  <a:schemeClr val="accent1"/>
                </a:fillRef>
                <a:effectRef idx="0">
                  <a:schemeClr val="accent1"/>
                </a:effectRef>
                <a:fontRef idx="minor">
                  <a:schemeClr val="tx1"/>
                </a:fontRef>
              </p:style>
              <p:txBody>
                <a:bodyPr lIns="0" tIns="0" rIns="0" bIns="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cs-CZ" sz="1000" b="1" i="0" u="none" strike="noStrike" kern="1200" cap="none" spc="0" normalizeH="0" baseline="0" noProof="0" dirty="0">
                      <a:ln>
                        <a:noFill/>
                      </a:ln>
                      <a:solidFill>
                        <a:sysClr val="windowText" lastClr="000000"/>
                      </a:solidFill>
                      <a:effectLst/>
                      <a:uLnTx/>
                      <a:uFillTx/>
                      <a:latin typeface="Calibri" panose="020F0502020204030204"/>
                      <a:ea typeface="+mn-ea"/>
                      <a:cs typeface="+mn-cs"/>
                    </a:rPr>
                    <a:t>Didier</a:t>
                  </a:r>
                  <a:endParaRPr kumimoji="0" lang="en-GB" sz="1000" b="1"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63" name="Rectangle 62">
                  <a:extLst>
                    <a:ext uri="{FF2B5EF4-FFF2-40B4-BE49-F238E27FC236}">
                      <a16:creationId xmlns:a16="http://schemas.microsoft.com/office/drawing/2014/main" id="{6970768D-5FF2-4D85-99BE-E0CFF9BD37EF}"/>
                    </a:ext>
                  </a:extLst>
                </p:cNvPr>
                <p:cNvSpPr>
                  <a:spLocks noChangeArrowheads="1"/>
                </p:cNvSpPr>
                <p:nvPr/>
              </p:nvSpPr>
              <p:spPr bwMode="auto">
                <a:xfrm>
                  <a:off x="11023606" y="3355636"/>
                  <a:ext cx="583746" cy="504000"/>
                </a:xfrm>
                <a:prstGeom prst="rect">
                  <a:avLst/>
                </a:prstGeom>
                <a:solidFill>
                  <a:schemeClr val="accent6">
                    <a:lumMod val="60000"/>
                    <a:lumOff val="40000"/>
                  </a:schemeClr>
                </a:solidFill>
                <a:ln w="6350">
                  <a:noFill/>
                  <a:miter lim="800000"/>
                  <a:headEnd/>
                  <a:tailEnd/>
                </a:ln>
              </p:spPr>
              <p:txBody>
                <a:bodyPr lIns="45720" rIns="4572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rPr>
                    <a:t>WS </a:t>
                  </a:r>
                  <a:endParaRPr kumimoji="0" lang="cs-CZ" sz="9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cs-CZ" sz="900" b="1" i="0" u="none" strike="noStrike" kern="1200" cap="none" spc="0" normalizeH="0" baseline="0" noProof="0" dirty="0">
                      <a:ln>
                        <a:noFill/>
                      </a:ln>
                      <a:solidFill>
                        <a:srgbClr val="000000"/>
                      </a:solidFill>
                      <a:effectLst/>
                      <a:uLnTx/>
                      <a:uFillTx/>
                      <a:latin typeface="Calibri" panose="020F0502020204030204"/>
                      <a:ea typeface="+mn-ea"/>
                      <a:cs typeface="+mn-cs"/>
                    </a:rPr>
                    <a:t>PAT</a:t>
                  </a:r>
                  <a:endPar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72" name="Elbow Connector 37">
                  <a:extLst>
                    <a:ext uri="{FF2B5EF4-FFF2-40B4-BE49-F238E27FC236}">
                      <a16:creationId xmlns:a16="http://schemas.microsoft.com/office/drawing/2014/main" id="{43316AE0-1516-4353-BA4F-C201885BBF2B}"/>
                    </a:ext>
                  </a:extLst>
                </p:cNvPr>
                <p:cNvCxnSpPr>
                  <a:cxnSpLocks/>
                  <a:stCxn id="61" idx="3"/>
                  <a:endCxn id="18" idx="1"/>
                </p:cNvCxnSpPr>
                <p:nvPr/>
              </p:nvCxnSpPr>
              <p:spPr>
                <a:xfrm>
                  <a:off x="7514350" y="1330122"/>
                  <a:ext cx="234674" cy="135783"/>
                </a:xfrm>
                <a:prstGeom prst="bentConnector3">
                  <a:avLst>
                    <a:gd name="adj1" fmla="val 50000"/>
                  </a:avLst>
                </a:prstGeom>
                <a:ln w="158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4" name="Elbow Connector 72">
                <a:extLst>
                  <a:ext uri="{FF2B5EF4-FFF2-40B4-BE49-F238E27FC236}">
                    <a16:creationId xmlns:a16="http://schemas.microsoft.com/office/drawing/2014/main" id="{3A1890A3-FC7A-414F-BB5B-C4445D8D1BF6}"/>
                  </a:ext>
                </a:extLst>
              </p:cNvPr>
              <p:cNvCxnSpPr>
                <a:cxnSpLocks/>
                <a:stCxn id="23" idx="2"/>
                <a:endCxn id="17" idx="0"/>
              </p:cNvCxnSpPr>
              <p:nvPr/>
            </p:nvCxnSpPr>
            <p:spPr>
              <a:xfrm rot="5400000">
                <a:off x="3053915" y="3149567"/>
                <a:ext cx="388640" cy="540732"/>
              </a:xfrm>
              <a:prstGeom prst="bentConnector3">
                <a:avLst>
                  <a:gd name="adj1" fmla="val 50000"/>
                </a:avLst>
              </a:prstGeom>
              <a:ln w="158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10" name="Rectangle 9">
              <a:extLst>
                <a:ext uri="{FF2B5EF4-FFF2-40B4-BE49-F238E27FC236}">
                  <a16:creationId xmlns:a16="http://schemas.microsoft.com/office/drawing/2014/main" id="{6F11126D-6397-411C-AB05-DE7157822423}"/>
                </a:ext>
              </a:extLst>
            </p:cNvPr>
            <p:cNvSpPr>
              <a:spLocks noChangeArrowheads="1"/>
            </p:cNvSpPr>
            <p:nvPr/>
          </p:nvSpPr>
          <p:spPr bwMode="auto">
            <a:xfrm>
              <a:off x="1581637" y="3614252"/>
              <a:ext cx="865043" cy="558288"/>
            </a:xfrm>
            <a:prstGeom prst="rect">
              <a:avLst/>
            </a:prstGeom>
            <a:solidFill>
              <a:schemeClr val="accent2">
                <a:lumMod val="60000"/>
                <a:lumOff val="40000"/>
              </a:schemeClr>
            </a:solidFill>
            <a:ln w="6350">
              <a:noFill/>
              <a:miter lim="800000"/>
              <a:headEnd/>
              <a:tailEnd/>
            </a:ln>
          </p:spPr>
          <p:txBody>
            <a:bodyPr lIns="0" tIns="0" rIns="0" bIns="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Calibri" panose="020F0502020204030204"/>
                  <a:ea typeface="+mn-ea"/>
                  <a:cs typeface="+mn-cs"/>
                </a:rPr>
                <a:t>W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900" b="1" i="0" u="none" strike="noStrike" kern="1200" cap="none" spc="0" normalizeH="0" baseline="0" noProof="0">
                  <a:ln>
                    <a:noFill/>
                  </a:ln>
                  <a:solidFill>
                    <a:srgbClr val="000000"/>
                  </a:solidFill>
                  <a:effectLst/>
                  <a:uLnTx/>
                  <a:uFillTx/>
                  <a:latin typeface="Calibri" panose="020F0502020204030204"/>
                  <a:ea typeface="+mn-ea"/>
                  <a:cs typeface="+mn-cs"/>
                </a:rPr>
                <a:t>R&amp;M</a:t>
              </a:r>
              <a:endPar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DF0ECF1C-D91B-4BA1-B21D-F8ED455A32EB}"/>
                </a:ext>
              </a:extLst>
            </p:cNvPr>
            <p:cNvSpPr>
              <a:spLocks noChangeArrowheads="1"/>
            </p:cNvSpPr>
            <p:nvPr/>
          </p:nvSpPr>
          <p:spPr bwMode="auto">
            <a:xfrm>
              <a:off x="1558830" y="4243442"/>
              <a:ext cx="865043" cy="398777"/>
            </a:xfrm>
            <a:prstGeom prst="rect">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lIns="0" tIns="0" rIns="0" bIns="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Calibri" panose="020F0502020204030204"/>
                  <a:ea typeface="+mn-ea"/>
                  <a:cs typeface="+mn-cs"/>
                </a:rPr>
                <a:t>Fredrik (R)</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Calibri" panose="020F0502020204030204"/>
                  <a:ea typeface="+mn-ea"/>
                  <a:cs typeface="+mn-cs"/>
                </a:rPr>
                <a:t>Václav (M)</a:t>
              </a:r>
              <a:endParaRPr kumimoji="0" lang="en-GB" sz="10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Elbow Connector 72">
              <a:extLst>
                <a:ext uri="{FF2B5EF4-FFF2-40B4-BE49-F238E27FC236}">
                  <a16:creationId xmlns:a16="http://schemas.microsoft.com/office/drawing/2014/main" id="{0A038DA5-5B5E-415B-BFB9-7D259670ED6B}"/>
                </a:ext>
              </a:extLst>
            </p:cNvPr>
            <p:cNvCxnSpPr>
              <a:cxnSpLocks/>
              <a:stCxn id="23" idx="2"/>
              <a:endCxn id="10" idx="0"/>
            </p:cNvCxnSpPr>
            <p:nvPr/>
          </p:nvCxnSpPr>
          <p:spPr>
            <a:xfrm rot="5400000">
              <a:off x="2572061" y="2667710"/>
              <a:ext cx="388639" cy="1504443"/>
            </a:xfrm>
            <a:prstGeom prst="bentConnector3">
              <a:avLst>
                <a:gd name="adj1" fmla="val 50000"/>
              </a:avLst>
            </a:prstGeom>
            <a:ln w="15875">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sp>
        <p:nvSpPr>
          <p:cNvPr id="61" name="Rectangle 60">
            <a:extLst>
              <a:ext uri="{FF2B5EF4-FFF2-40B4-BE49-F238E27FC236}">
                <a16:creationId xmlns:a16="http://schemas.microsoft.com/office/drawing/2014/main" id="{08DBCFCC-8C19-4C0C-9D3D-F645284760BB}"/>
              </a:ext>
            </a:extLst>
          </p:cNvPr>
          <p:cNvSpPr>
            <a:spLocks noChangeArrowheads="1"/>
          </p:cNvSpPr>
          <p:nvPr/>
        </p:nvSpPr>
        <p:spPr bwMode="auto">
          <a:xfrm>
            <a:off x="4455855" y="1971218"/>
            <a:ext cx="1819129" cy="328021"/>
          </a:xfrm>
          <a:prstGeom prst="rect">
            <a:avLst/>
          </a:prstGeom>
          <a:ln w="15875">
            <a:solidFill>
              <a:schemeClr val="tx2"/>
            </a:solidFill>
          </a:ln>
        </p:spPr>
        <p:style>
          <a:lnRef idx="1">
            <a:schemeClr val="accent1"/>
          </a:lnRef>
          <a:fillRef idx="0">
            <a:schemeClr val="accent1"/>
          </a:fillRef>
          <a:effectRef idx="0">
            <a:schemeClr val="accent1"/>
          </a:effectRef>
          <a:fontRef idx="minor">
            <a:schemeClr val="tx1"/>
          </a:fontRef>
        </p:style>
        <p:txBody>
          <a:bodyPr lIns="0" tIns="0" rIns="0" bIns="0" anchor="ctr" anchorCtr="1"/>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Calibri" panose="020F0502020204030204"/>
                <a:ea typeface="+mn-ea"/>
                <a:cs typeface="+mn-cs"/>
              </a:rPr>
              <a:t>SC Chairman</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000000"/>
                </a:solidFill>
                <a:effectLst/>
                <a:uLnTx/>
                <a:uFillTx/>
                <a:latin typeface="Calibri" panose="020F0502020204030204"/>
                <a:ea typeface="+mn-ea"/>
                <a:cs typeface="+mn-cs"/>
              </a:rPr>
              <a:t>PMT</a:t>
            </a:r>
          </a:p>
        </p:txBody>
      </p:sp>
      <p:sp>
        <p:nvSpPr>
          <p:cNvPr id="66566" name="Rectangle 66565">
            <a:extLst>
              <a:ext uri="{FF2B5EF4-FFF2-40B4-BE49-F238E27FC236}">
                <a16:creationId xmlns:a16="http://schemas.microsoft.com/office/drawing/2014/main" id="{DEBB6F76-B288-43CD-A24F-0621871DD7F4}"/>
              </a:ext>
            </a:extLst>
          </p:cNvPr>
          <p:cNvSpPr/>
          <p:nvPr/>
        </p:nvSpPr>
        <p:spPr>
          <a:xfrm>
            <a:off x="600785" y="1206645"/>
            <a:ext cx="3932043" cy="144655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cs-CZ" sz="1400" b="1" i="0" u="none" strike="noStrike" kern="1200" cap="none" spc="0" normalizeH="0" baseline="0" noProof="0" dirty="0">
                <a:ln>
                  <a:noFill/>
                </a:ln>
                <a:solidFill>
                  <a:srgbClr val="000000"/>
                </a:solidFill>
                <a:effectLst/>
                <a:uLnTx/>
                <a:uFillTx/>
                <a:latin typeface="Calibri" panose="020F0502020204030204"/>
                <a:ea typeface="+mn-ea"/>
                <a:cs typeface="+mn-cs"/>
              </a:rPr>
              <a:t>PMT = Project Managment Team</a:t>
            </a:r>
            <a:endParaRPr kumimoji="0" lang="en-US" sz="14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Martin Høgh Møller (Energinet.dk) - Chairman</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Ulf Kasper (Amprion)</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Amine Abada (RTE)</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000000"/>
                </a:solidFill>
                <a:effectLst/>
                <a:uLnTx/>
                <a:uFillTx/>
                <a:latin typeface="Calibri" panose="020F0502020204030204"/>
                <a:ea typeface="+mn-ea"/>
                <a:cs typeface="+mn-cs"/>
              </a:rPr>
              <a:t>Iason Avramiotis Falireas (Swissgrid)</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8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69" name="Elbow Connector 72">
            <a:extLst>
              <a:ext uri="{FF2B5EF4-FFF2-40B4-BE49-F238E27FC236}">
                <a16:creationId xmlns:a16="http://schemas.microsoft.com/office/drawing/2014/main" id="{2B3773E2-A9B9-4B4D-ACF4-112E134AF098}"/>
              </a:ext>
            </a:extLst>
          </p:cNvPr>
          <p:cNvCxnSpPr>
            <a:cxnSpLocks/>
            <a:stCxn id="66" idx="2"/>
            <a:endCxn id="63" idx="0"/>
          </p:cNvCxnSpPr>
          <p:nvPr/>
        </p:nvCxnSpPr>
        <p:spPr>
          <a:xfrm rot="16200000" flipH="1">
            <a:off x="10238607" y="3530859"/>
            <a:ext cx="378826" cy="1222964"/>
          </a:xfrm>
          <a:prstGeom prst="bentConnector3">
            <a:avLst>
              <a:gd name="adj1" fmla="val 50000"/>
            </a:avLst>
          </a:prstGeom>
          <a:ln w="15875">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02124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CAC01B-6E7A-4AFD-B50E-4A910A02FCB0}"/>
              </a:ext>
            </a:extLst>
          </p:cNvPr>
          <p:cNvSpPr>
            <a:spLocks noGrp="1"/>
          </p:cNvSpPr>
          <p:nvPr>
            <p:ph type="title"/>
          </p:nvPr>
        </p:nvSpPr>
        <p:spPr/>
        <p:txBody>
          <a:bodyPr/>
          <a:lstStyle/>
          <a:p>
            <a:r>
              <a:rPr lang="en-US" dirty="0"/>
              <a:t>Allocation of task specific for the MARI platform</a:t>
            </a:r>
          </a:p>
        </p:txBody>
      </p:sp>
      <p:pic>
        <p:nvPicPr>
          <p:cNvPr id="4" name="Billede 3">
            <a:extLst>
              <a:ext uri="{FF2B5EF4-FFF2-40B4-BE49-F238E27FC236}">
                <a16:creationId xmlns:a16="http://schemas.microsoft.com/office/drawing/2014/main" id="{957F60BC-CC23-4F50-8001-3BC913A3E280}"/>
              </a:ext>
            </a:extLst>
          </p:cNvPr>
          <p:cNvPicPr>
            <a:picLocks noChangeAspect="1"/>
          </p:cNvPicPr>
          <p:nvPr/>
        </p:nvPicPr>
        <p:blipFill rotWithShape="1">
          <a:blip r:embed="rId2"/>
          <a:srcRect t="46483" r="34878" b="26758"/>
          <a:stretch/>
        </p:blipFill>
        <p:spPr>
          <a:xfrm>
            <a:off x="335960" y="1700988"/>
            <a:ext cx="8269358" cy="1440010"/>
          </a:xfrm>
          <a:prstGeom prst="rect">
            <a:avLst/>
          </a:prstGeom>
        </p:spPr>
      </p:pic>
      <p:sp>
        <p:nvSpPr>
          <p:cNvPr id="7" name="Tekstfelt 6">
            <a:extLst>
              <a:ext uri="{FF2B5EF4-FFF2-40B4-BE49-F238E27FC236}">
                <a16:creationId xmlns:a16="http://schemas.microsoft.com/office/drawing/2014/main" id="{ECB9CAC5-329B-440A-AD88-F13AC5D64B71}"/>
              </a:ext>
            </a:extLst>
          </p:cNvPr>
          <p:cNvSpPr txBox="1"/>
          <p:nvPr/>
        </p:nvSpPr>
        <p:spPr>
          <a:xfrm>
            <a:off x="767962" y="3429000"/>
            <a:ext cx="8496059"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Task B and C should be bundled in one off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TSO’s are in the progress of allocating the above task to specific TSO’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Calibri" panose="020F0502020204030204"/>
                <a:ea typeface="+mn-ea"/>
                <a:cs typeface="+mn-cs"/>
              </a:rPr>
              <a:t>MARI and PICASSO Projects are following the same procedures</a:t>
            </a:r>
          </a:p>
        </p:txBody>
      </p:sp>
      <p:sp>
        <p:nvSpPr>
          <p:cNvPr id="12" name="Tekstfelt 11">
            <a:extLst>
              <a:ext uri="{FF2B5EF4-FFF2-40B4-BE49-F238E27FC236}">
                <a16:creationId xmlns:a16="http://schemas.microsoft.com/office/drawing/2014/main" id="{CA0BDAD0-E4E4-48B0-A292-2A7142DD0582}"/>
              </a:ext>
            </a:extLst>
          </p:cNvPr>
          <p:cNvSpPr txBox="1"/>
          <p:nvPr/>
        </p:nvSpPr>
        <p:spPr>
          <a:xfrm>
            <a:off x="8688018" y="1834188"/>
            <a:ext cx="72000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00000"/>
                </a:solidFill>
                <a:effectLst/>
                <a:uLnTx/>
                <a:uFillTx/>
                <a:latin typeface="Calibri" panose="020F0502020204030204"/>
                <a:ea typeface="+mn-ea"/>
                <a:cs typeface="+mn-cs"/>
              </a:rPr>
              <a:t>A</a:t>
            </a:r>
          </a:p>
        </p:txBody>
      </p:sp>
      <p:sp>
        <p:nvSpPr>
          <p:cNvPr id="13" name="Tekstfelt 12">
            <a:extLst>
              <a:ext uri="{FF2B5EF4-FFF2-40B4-BE49-F238E27FC236}">
                <a16:creationId xmlns:a16="http://schemas.microsoft.com/office/drawing/2014/main" id="{930FC480-8725-4D7B-9E45-854F4FDABD5C}"/>
              </a:ext>
            </a:extLst>
          </p:cNvPr>
          <p:cNvSpPr txBox="1"/>
          <p:nvPr/>
        </p:nvSpPr>
        <p:spPr>
          <a:xfrm>
            <a:off x="8679065" y="2244278"/>
            <a:ext cx="72000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00000"/>
                </a:solidFill>
                <a:effectLst/>
                <a:uLnTx/>
                <a:uFillTx/>
                <a:latin typeface="Calibri" panose="020F0502020204030204"/>
                <a:ea typeface="+mn-ea"/>
                <a:cs typeface="+mn-cs"/>
              </a:rPr>
              <a:t>B</a:t>
            </a:r>
          </a:p>
        </p:txBody>
      </p:sp>
      <p:sp>
        <p:nvSpPr>
          <p:cNvPr id="14" name="Tekstfelt 13">
            <a:extLst>
              <a:ext uri="{FF2B5EF4-FFF2-40B4-BE49-F238E27FC236}">
                <a16:creationId xmlns:a16="http://schemas.microsoft.com/office/drawing/2014/main" id="{C3ED2FB8-6BD7-4034-B1D2-D0C2A0AD6924}"/>
              </a:ext>
            </a:extLst>
          </p:cNvPr>
          <p:cNvSpPr txBox="1"/>
          <p:nvPr/>
        </p:nvSpPr>
        <p:spPr>
          <a:xfrm>
            <a:off x="8675428" y="2654368"/>
            <a:ext cx="72000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00000"/>
                </a:solidFill>
                <a:effectLst/>
                <a:uLnTx/>
                <a:uFillTx/>
                <a:latin typeface="Calibri" panose="020F0502020204030204"/>
                <a:ea typeface="+mn-ea"/>
                <a:cs typeface="+mn-cs"/>
              </a:rPr>
              <a:t>C</a:t>
            </a:r>
          </a:p>
        </p:txBody>
      </p:sp>
    </p:spTree>
    <p:extLst>
      <p:ext uri="{BB962C8B-B14F-4D97-AF65-F5344CB8AC3E}">
        <p14:creationId xmlns:p14="http://schemas.microsoft.com/office/powerpoint/2010/main" val="33495700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90" imgW="663" imgH="664" progId="TCLayout.ActiveDocument.1">
                  <p:embed/>
                </p:oleObj>
              </mc:Choice>
              <mc:Fallback>
                <p:oleObj name="think-cell Slide" r:id="rId90" imgW="663" imgH="664" progId="TCLayout.ActiveDocument.1">
                  <p:embed/>
                  <p:pic>
                    <p:nvPicPr>
                      <p:cNvPr id="11" name="Object 10" hidden="1"/>
                      <p:cNvPicPr/>
                      <p:nvPr/>
                    </p:nvPicPr>
                    <p:blipFill>
                      <a:blip r:embed="rId91"/>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cs-CZ" sz="9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sym typeface="Calibri" panose="020F0502020204030204" pitchFamily="34" charset="0"/>
            </a:endParaRPr>
          </a:p>
        </p:txBody>
      </p:sp>
      <p:sp>
        <p:nvSpPr>
          <p:cNvPr id="174" name="Rectangle 173">
            <a:extLst>
              <a:ext uri="{FF2B5EF4-FFF2-40B4-BE49-F238E27FC236}">
                <a16:creationId xmlns:a16="http://schemas.microsoft.com/office/drawing/2014/main" id="{83E3B874-A074-414D-BA6F-02B59F3867DF}"/>
              </a:ext>
            </a:extLst>
          </p:cNvPr>
          <p:cNvSpPr/>
          <p:nvPr/>
        </p:nvSpPr>
        <p:spPr>
          <a:xfrm>
            <a:off x="0" y="-5566"/>
            <a:ext cx="12192000" cy="501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96" name="Group 195"/>
          <p:cNvGrpSpPr/>
          <p:nvPr/>
        </p:nvGrpSpPr>
        <p:grpSpPr>
          <a:xfrm>
            <a:off x="763922" y="5516299"/>
            <a:ext cx="1131963" cy="230832"/>
            <a:chOff x="3478612" y="3761812"/>
            <a:chExt cx="1131963" cy="230832"/>
          </a:xfrm>
        </p:grpSpPr>
        <p:sp>
          <p:nvSpPr>
            <p:cNvPr id="141" name="Rectangle 140">
              <a:extLst>
                <a:ext uri="{FF2B5EF4-FFF2-40B4-BE49-F238E27FC236}">
                  <a16:creationId xmlns:a16="http://schemas.microsoft.com/office/drawing/2014/main" id="{F43D05C5-6CF7-44E1-BEB8-EDB719180B7E}"/>
                </a:ext>
              </a:extLst>
            </p:cNvPr>
            <p:cNvSpPr/>
            <p:nvPr/>
          </p:nvSpPr>
          <p:spPr>
            <a:xfrm rot="18975608">
              <a:off x="3478612" y="3820593"/>
              <a:ext cx="90488" cy="90488"/>
            </a:xfrm>
            <a:prstGeom prst="rect">
              <a:avLst/>
            </a:prstGeom>
            <a:solidFill>
              <a:srgbClr val="8131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9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sp>
          <p:nvSpPr>
            <p:cNvPr id="193" name="TextBox 192"/>
            <p:cNvSpPr txBox="1"/>
            <p:nvPr/>
          </p:nvSpPr>
          <p:spPr>
            <a:xfrm>
              <a:off x="3685383" y="3761812"/>
              <a:ext cx="92519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Calibri Light" panose="020F0302020204030204"/>
                  <a:ea typeface="+mn-ea"/>
                  <a:cs typeface="+mn-cs"/>
                </a:rPr>
                <a:t>MC meeting</a:t>
              </a:r>
              <a:endParaRPr kumimoji="0" lang="cs-CZ" sz="900" b="0" i="0" u="none" strike="noStrike" kern="1200" cap="none" spc="0" normalizeH="0" baseline="0" noProof="0" dirty="0">
                <a:ln>
                  <a:noFill/>
                </a:ln>
                <a:solidFill>
                  <a:srgbClr val="000000"/>
                </a:solidFill>
                <a:effectLst/>
                <a:uLnTx/>
                <a:uFillTx/>
                <a:latin typeface="Calibri Light" panose="020F0302020204030204"/>
                <a:ea typeface="+mn-ea"/>
                <a:cs typeface="+mn-cs"/>
              </a:endParaRPr>
            </a:p>
          </p:txBody>
        </p:sp>
      </p:grpSp>
      <p:sp>
        <p:nvSpPr>
          <p:cNvPr id="335" name="Rectangle 334"/>
          <p:cNvSpPr/>
          <p:nvPr>
            <p:custDataLst>
              <p:tags r:id="rId4"/>
            </p:custDataLst>
          </p:nvPr>
        </p:nvSpPr>
        <p:spPr bwMode="auto">
          <a:xfrm>
            <a:off x="654050" y="1322388"/>
            <a:ext cx="11015663" cy="381000"/>
          </a:xfrm>
          <a:prstGeom prst="rect">
            <a:avLst/>
          </a:prstGeom>
          <a:solidFill>
            <a:schemeClr val="bg2"/>
          </a:solidFill>
          <a:ln w="40000" cap="flat" cmpd="sng" algn="ctr">
            <a:noFill/>
            <a:prstDash val="solid"/>
            <a:round/>
            <a:headEnd type="none" w="med" len="med"/>
            <a:tailEnd type="none" w="med" len="med"/>
          </a:ln>
          <a:effectLst/>
          <a:extLst>
            <a:ext uri="{91240B29-F687-4F45-9708-019B960494DF}">
              <a14:hiddenLine xmlns:a14="http://schemas.microsoft.com/office/drawing/2010/main" w="400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B41AA42D-58B2-4148-9BF4-B5A5F970CC71}"/>
              </a:ext>
            </a:extLst>
          </p:cNvPr>
          <p:cNvSpPr/>
          <p:nvPr>
            <p:custDataLst>
              <p:tags r:id="rId5"/>
            </p:custDataLst>
          </p:nvPr>
        </p:nvSpPr>
        <p:spPr bwMode="auto">
          <a:xfrm>
            <a:off x="654050" y="1703387"/>
            <a:ext cx="11015663" cy="274638"/>
          </a:xfrm>
          <a:prstGeom prst="rect">
            <a:avLst/>
          </a:prstGeom>
          <a:solidFill>
            <a:schemeClr val="bg2"/>
          </a:solidFill>
          <a:ln w="40000" cap="flat" cmpd="sng" algn="ctr">
            <a:noFill/>
            <a:prstDash val="solid"/>
            <a:round/>
            <a:headEnd type="none" w="med" len="med"/>
            <a:tailEnd type="none" w="med" len="med"/>
          </a:ln>
          <a:effectLst/>
          <a:extLst>
            <a:ext uri="{91240B29-F687-4F45-9708-019B960494DF}">
              <a14:hiddenLine xmlns:a14="http://schemas.microsoft.com/office/drawing/2010/main" w="400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3" name="Rectangle 332"/>
          <p:cNvSpPr/>
          <p:nvPr>
            <p:custDataLst>
              <p:tags r:id="rId6"/>
            </p:custDataLst>
          </p:nvPr>
        </p:nvSpPr>
        <p:spPr bwMode="auto">
          <a:xfrm>
            <a:off x="654050" y="695325"/>
            <a:ext cx="11015663" cy="368300"/>
          </a:xfrm>
          <a:prstGeom prst="rect">
            <a:avLst/>
          </a:prstGeom>
          <a:solidFill>
            <a:schemeClr val="bg2"/>
          </a:solidFill>
          <a:ln w="40000" cap="flat" cmpd="sng" algn="ctr">
            <a:noFill/>
            <a:prstDash val="solid"/>
            <a:round/>
            <a:headEnd type="none" w="med" len="med"/>
            <a:tailEnd type="none" w="med" len="med"/>
          </a:ln>
          <a:effectLst/>
          <a:extLst>
            <a:ext uri="{91240B29-F687-4F45-9708-019B960494DF}">
              <a14:hiddenLine xmlns:a14="http://schemas.microsoft.com/office/drawing/2010/main" w="400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34" name="Rectangle 333"/>
          <p:cNvSpPr/>
          <p:nvPr>
            <p:custDataLst>
              <p:tags r:id="rId7"/>
            </p:custDataLst>
          </p:nvPr>
        </p:nvSpPr>
        <p:spPr bwMode="auto">
          <a:xfrm>
            <a:off x="654050" y="1063625"/>
            <a:ext cx="11015663" cy="258763"/>
          </a:xfrm>
          <a:prstGeom prst="rect">
            <a:avLst/>
          </a:prstGeom>
          <a:solidFill>
            <a:schemeClr val="bg2"/>
          </a:solidFill>
          <a:ln w="40000" cap="flat" cmpd="sng" algn="ctr">
            <a:noFill/>
            <a:prstDash val="solid"/>
            <a:round/>
            <a:headEnd type="none" w="med" len="med"/>
            <a:tailEnd type="none" w="med" len="med"/>
          </a:ln>
          <a:effectLst/>
          <a:extLst>
            <a:ext uri="{91240B29-F687-4F45-9708-019B960494DF}">
              <a14:hiddenLine xmlns:a14="http://schemas.microsoft.com/office/drawing/2010/main" w="400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3" name="Rectangle 162">
            <a:extLst>
              <a:ext uri="{FF2B5EF4-FFF2-40B4-BE49-F238E27FC236}">
                <a16:creationId xmlns:a16="http://schemas.microsoft.com/office/drawing/2014/main" id="{B70E2AB5-4D87-4575-8CAB-719382D48304}"/>
              </a:ext>
            </a:extLst>
          </p:cNvPr>
          <p:cNvSpPr/>
          <p:nvPr>
            <p:custDataLst>
              <p:tags r:id="rId8"/>
            </p:custDataLst>
          </p:nvPr>
        </p:nvSpPr>
        <p:spPr bwMode="auto">
          <a:xfrm>
            <a:off x="2716213" y="479425"/>
            <a:ext cx="687388" cy="215900"/>
          </a:xfrm>
          <a:prstGeom prst="rect">
            <a:avLst/>
          </a:prstGeom>
          <a:solidFill>
            <a:schemeClr val="bg2"/>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C51361A8-0D48-4A28-8758-B0FFB37F9185}" type="datetime'0''''''''''''''''2''''/''''''1''''''''''''''''''9'''''''">
              <a:rPr kumimoji="0" lang="cs-CZ" altLang="en-US" sz="1100" b="1" i="0" u="none" strike="noStrike" kern="1200" cap="none" spc="0" normalizeH="0" baseline="0" noProof="0" smtClean="0">
                <a:ln>
                  <a:noFill/>
                </a:ln>
                <a:solidFill>
                  <a:srgbClr val="000000"/>
                </a:solidFill>
                <a:effectLst/>
                <a:uLnTx/>
                <a:uFillTx/>
                <a:latin typeface="Calibri" panose="020F0502020204030204"/>
                <a:ea typeface="+mn-ea"/>
                <a:cs typeface="+mn-cs"/>
                <a:sym typeface="+mn-lt"/>
              </a:rPr>
              <a:pPr marL="0" marR="0" lvl="0" indent="0" algn="ctr" defTabSz="914400" rtl="0" eaLnBrk="1" fontAlgn="auto" latinLnBrk="0" hangingPunct="1">
                <a:lnSpc>
                  <a:spcPct val="100000"/>
                </a:lnSpc>
                <a:spcBef>
                  <a:spcPct val="0"/>
                </a:spcBef>
                <a:spcAft>
                  <a:spcPct val="0"/>
                </a:spcAft>
                <a:buClrTx/>
                <a:buSzTx/>
                <a:buFontTx/>
                <a:buNone/>
                <a:tabLst/>
                <a:defRPr/>
              </a:pPr>
              <a:t>02/19</a:t>
            </a:fld>
            <a:endParaRPr kumimoji="0" lang="cs-CZ" sz="1100" b="1" i="0" u="none" strike="noStrike" kern="1200" cap="none" spc="0" normalizeH="0" baseline="0" noProof="0">
              <a:ln>
                <a:noFill/>
              </a:ln>
              <a:solidFill>
                <a:srgbClr val="000000"/>
              </a:solidFill>
              <a:effectLst/>
              <a:uLnTx/>
              <a:uFillTx/>
              <a:latin typeface="Calibri" panose="020F0502020204030204"/>
              <a:ea typeface="+mn-ea"/>
              <a:cs typeface="+mn-cs"/>
              <a:sym typeface="+mn-lt"/>
            </a:endParaRPr>
          </a:p>
        </p:txBody>
      </p:sp>
      <p:sp>
        <p:nvSpPr>
          <p:cNvPr id="324" name="Rectangle 323"/>
          <p:cNvSpPr/>
          <p:nvPr>
            <p:custDataLst>
              <p:tags r:id="rId9"/>
            </p:custDataLst>
          </p:nvPr>
        </p:nvSpPr>
        <p:spPr bwMode="auto">
          <a:xfrm>
            <a:off x="3403600" y="479425"/>
            <a:ext cx="760413" cy="215900"/>
          </a:xfrm>
          <a:prstGeom prst="rect">
            <a:avLst/>
          </a:prstGeom>
          <a:solidFill>
            <a:schemeClr val="bg2"/>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2DE9C73E-ECEA-45DF-AC64-D83FB7372E13}" type="datetime'''''''''''0''3''''''''''''''''''''''''''''''/''''''1''''''9'''">
              <a:rPr kumimoji="0" lang="cs-CZ" altLang="en-US" sz="1100" b="1" i="0" u="none" strike="noStrike" kern="1200" cap="none" spc="0" normalizeH="0" baseline="0" noProof="0" smtClean="0">
                <a:ln>
                  <a:noFill/>
                </a:ln>
                <a:solidFill>
                  <a:srgbClr val="000000"/>
                </a:solidFill>
                <a:effectLst/>
                <a:uLnTx/>
                <a:uFillTx/>
                <a:latin typeface="Calibri" panose="020F0502020204030204"/>
                <a:ea typeface="+mn-ea"/>
                <a:cs typeface="+mn-cs"/>
                <a:sym typeface="+mn-lt"/>
              </a:rPr>
              <a:pPr marL="0" marR="0" lvl="0" indent="0" algn="ctr" defTabSz="914400" rtl="0" eaLnBrk="1" fontAlgn="auto" latinLnBrk="0" hangingPunct="1">
                <a:lnSpc>
                  <a:spcPct val="100000"/>
                </a:lnSpc>
                <a:spcBef>
                  <a:spcPct val="0"/>
                </a:spcBef>
                <a:spcAft>
                  <a:spcPct val="0"/>
                </a:spcAft>
                <a:buClrTx/>
                <a:buSzTx/>
                <a:buFontTx/>
                <a:buNone/>
                <a:tabLst/>
                <a:defRPr/>
              </a:pPr>
              <a:t>03/19</a:t>
            </a:fld>
            <a:endParaRPr kumimoji="0" lang="cs-CZ" sz="1100" b="1" i="0" u="none" strike="noStrike" kern="1200" cap="none" spc="0" normalizeH="0" baseline="0" noProof="0">
              <a:ln>
                <a:noFill/>
              </a:ln>
              <a:solidFill>
                <a:srgbClr val="000000"/>
              </a:solidFill>
              <a:effectLst/>
              <a:uLnTx/>
              <a:uFillTx/>
              <a:latin typeface="Calibri" panose="020F0502020204030204"/>
              <a:ea typeface="+mn-ea"/>
              <a:cs typeface="+mn-cs"/>
              <a:sym typeface="+mn-lt"/>
            </a:endParaRPr>
          </a:p>
        </p:txBody>
      </p:sp>
      <p:sp>
        <p:nvSpPr>
          <p:cNvPr id="112" name="Rectangle 111"/>
          <p:cNvSpPr/>
          <p:nvPr>
            <p:custDataLst>
              <p:tags r:id="rId10"/>
            </p:custDataLst>
          </p:nvPr>
        </p:nvSpPr>
        <p:spPr bwMode="auto">
          <a:xfrm>
            <a:off x="4164013" y="479425"/>
            <a:ext cx="735013" cy="215900"/>
          </a:xfrm>
          <a:prstGeom prst="rect">
            <a:avLst/>
          </a:prstGeom>
          <a:solidFill>
            <a:schemeClr val="bg2"/>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CB9A0AFE-F337-4BEA-8F8B-630439F84FC0}" type="datetime'0''4/1''''''''''''''''''''''''9'''''''''''''''">
              <a:rPr kumimoji="0" lang="cs-CZ" altLang="en-US" sz="11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04/19</a:t>
            </a:fld>
            <a:endParaRPr kumimoji="0" lang="cs-CZ" sz="1100" b="1" i="0" u="none" strike="noStrike" kern="1200" cap="none" spc="0" normalizeH="0" baseline="0" noProof="0">
              <a:ln>
                <a:noFill/>
              </a:ln>
              <a:solidFill>
                <a:srgbClr val="000000"/>
              </a:solidFill>
              <a:effectLst/>
              <a:uLnTx/>
              <a:uFillTx/>
              <a:latin typeface="Calibri" panose="020F0502020204030204"/>
              <a:ea typeface="+mn-ea"/>
              <a:cs typeface="+mn-cs"/>
              <a:sym typeface="+mn-lt"/>
            </a:endParaRPr>
          </a:p>
        </p:txBody>
      </p:sp>
      <p:sp>
        <p:nvSpPr>
          <p:cNvPr id="113" name="Rectangle 112"/>
          <p:cNvSpPr/>
          <p:nvPr>
            <p:custDataLst>
              <p:tags r:id="rId11"/>
            </p:custDataLst>
          </p:nvPr>
        </p:nvSpPr>
        <p:spPr bwMode="auto">
          <a:xfrm>
            <a:off x="4899025" y="479425"/>
            <a:ext cx="760413" cy="215900"/>
          </a:xfrm>
          <a:prstGeom prst="rect">
            <a:avLst/>
          </a:prstGeom>
          <a:solidFill>
            <a:schemeClr val="bg2"/>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AB71CA0F-0015-4977-91CE-3A3057718430}" type="datetime'''''''''''''''''''''''''''''''''''05/''19'''''">
              <a:rPr kumimoji="0" lang="cs-CZ" altLang="en-US" sz="11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05/19</a:t>
            </a:fld>
            <a:endParaRPr kumimoji="0" lang="cs-CZ" sz="11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114" name="Rectangle 113"/>
          <p:cNvSpPr/>
          <p:nvPr>
            <p:custDataLst>
              <p:tags r:id="rId12"/>
            </p:custDataLst>
          </p:nvPr>
        </p:nvSpPr>
        <p:spPr bwMode="auto">
          <a:xfrm>
            <a:off x="5659438" y="479425"/>
            <a:ext cx="736600" cy="215900"/>
          </a:xfrm>
          <a:prstGeom prst="rect">
            <a:avLst/>
          </a:prstGeom>
          <a:solidFill>
            <a:schemeClr val="bg2"/>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C8540738-A408-4424-809B-7BC92B64AECB}" type="datetime'''''''''''0''''''6''''''''''''''''''''/1''''''9'''">
              <a:rPr kumimoji="0" lang="cs-CZ" altLang="en-US" sz="11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06/19</a:t>
            </a:fld>
            <a:endParaRPr kumimoji="0" lang="cs-CZ" sz="1100" b="1" i="0" u="none" strike="noStrike" kern="1200" cap="none" spc="0" normalizeH="0" baseline="0" noProof="0">
              <a:ln>
                <a:noFill/>
              </a:ln>
              <a:solidFill>
                <a:srgbClr val="000000"/>
              </a:solidFill>
              <a:effectLst/>
              <a:uLnTx/>
              <a:uFillTx/>
              <a:latin typeface="Calibri" panose="020F0502020204030204"/>
              <a:ea typeface="+mn-ea"/>
              <a:cs typeface="+mn-cs"/>
              <a:sym typeface="+mn-lt"/>
            </a:endParaRPr>
          </a:p>
        </p:txBody>
      </p:sp>
      <p:sp>
        <p:nvSpPr>
          <p:cNvPr id="120" name="Rectangle 119"/>
          <p:cNvSpPr/>
          <p:nvPr>
            <p:custDataLst>
              <p:tags r:id="rId13"/>
            </p:custDataLst>
          </p:nvPr>
        </p:nvSpPr>
        <p:spPr bwMode="auto">
          <a:xfrm>
            <a:off x="6396038" y="479425"/>
            <a:ext cx="760413" cy="215900"/>
          </a:xfrm>
          <a:prstGeom prst="rect">
            <a:avLst/>
          </a:prstGeom>
          <a:solidFill>
            <a:schemeClr val="bg2"/>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B91803E3-4D35-4003-87F8-AF23B3F34F52}" type="datetime'''''''''''''''0''7''''/''''''''''''''1''9'''''''''''''''">
              <a:rPr kumimoji="0" lang="cs-CZ" altLang="en-US" sz="11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07/19</a:t>
            </a:fld>
            <a:endParaRPr kumimoji="0" lang="cs-CZ" sz="1100" b="1" i="0" u="none" strike="noStrike" kern="1200" cap="none" spc="0" normalizeH="0" baseline="0" noProof="0">
              <a:ln>
                <a:noFill/>
              </a:ln>
              <a:solidFill>
                <a:srgbClr val="000000"/>
              </a:solidFill>
              <a:effectLst/>
              <a:uLnTx/>
              <a:uFillTx/>
              <a:latin typeface="Calibri" panose="020F0502020204030204"/>
              <a:ea typeface="+mn-ea"/>
              <a:cs typeface="+mn-cs"/>
              <a:sym typeface="+mn-lt"/>
            </a:endParaRPr>
          </a:p>
        </p:txBody>
      </p:sp>
      <p:sp>
        <p:nvSpPr>
          <p:cNvPr id="124" name="Rectangle 123"/>
          <p:cNvSpPr/>
          <p:nvPr>
            <p:custDataLst>
              <p:tags r:id="rId14"/>
            </p:custDataLst>
          </p:nvPr>
        </p:nvSpPr>
        <p:spPr bwMode="auto">
          <a:xfrm>
            <a:off x="7156450" y="479425"/>
            <a:ext cx="760413" cy="215900"/>
          </a:xfrm>
          <a:prstGeom prst="rect">
            <a:avLst/>
          </a:prstGeom>
          <a:solidFill>
            <a:schemeClr val="bg2"/>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CCE78DC4-7EDC-4580-86BE-574E024B9076}" type="datetime'''''0''8''''''''''''''''/''''1''''''''''''''''''9'''''''''''''">
              <a:rPr kumimoji="0" lang="cs-CZ" altLang="en-US" sz="11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08/19</a:t>
            </a:fld>
            <a:endParaRPr kumimoji="0" lang="cs-CZ" sz="1100" b="1" i="0" u="none" strike="noStrike" kern="1200" cap="none" spc="0" normalizeH="0" baseline="0" noProof="0">
              <a:ln>
                <a:noFill/>
              </a:ln>
              <a:solidFill>
                <a:srgbClr val="000000"/>
              </a:solidFill>
              <a:effectLst/>
              <a:uLnTx/>
              <a:uFillTx/>
              <a:latin typeface="Calibri" panose="020F0502020204030204"/>
              <a:ea typeface="+mn-ea"/>
              <a:cs typeface="+mn-cs"/>
              <a:sym typeface="+mn-lt"/>
            </a:endParaRPr>
          </a:p>
        </p:txBody>
      </p:sp>
      <p:sp>
        <p:nvSpPr>
          <p:cNvPr id="125" name="Rectangle 124"/>
          <p:cNvSpPr/>
          <p:nvPr>
            <p:custDataLst>
              <p:tags r:id="rId15"/>
            </p:custDataLst>
          </p:nvPr>
        </p:nvSpPr>
        <p:spPr bwMode="auto">
          <a:xfrm>
            <a:off x="7916863" y="479425"/>
            <a:ext cx="735013" cy="215900"/>
          </a:xfrm>
          <a:prstGeom prst="rect">
            <a:avLst/>
          </a:prstGeom>
          <a:solidFill>
            <a:schemeClr val="bg2"/>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2DF17AD9-7CCA-43BC-A257-3303B1104702}" type="datetime'''''''''''''''''''''09''/''''''''1''9'''''''">
              <a:rPr kumimoji="0" lang="cs-CZ" altLang="en-US" sz="11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09/19</a:t>
            </a:fld>
            <a:endParaRPr kumimoji="0" lang="cs-CZ" sz="1100" b="1" i="0" u="none" strike="noStrike" kern="1200" cap="none" spc="0" normalizeH="0" baseline="0" noProof="0">
              <a:ln>
                <a:noFill/>
              </a:ln>
              <a:solidFill>
                <a:srgbClr val="000000"/>
              </a:solidFill>
              <a:effectLst/>
              <a:uLnTx/>
              <a:uFillTx/>
              <a:latin typeface="Calibri" panose="020F0502020204030204"/>
              <a:ea typeface="+mn-ea"/>
              <a:cs typeface="+mn-cs"/>
              <a:sym typeface="+mn-lt"/>
            </a:endParaRPr>
          </a:p>
        </p:txBody>
      </p:sp>
      <p:sp>
        <p:nvSpPr>
          <p:cNvPr id="126" name="Rectangle 125"/>
          <p:cNvSpPr/>
          <p:nvPr>
            <p:custDataLst>
              <p:tags r:id="rId16"/>
            </p:custDataLst>
          </p:nvPr>
        </p:nvSpPr>
        <p:spPr bwMode="auto">
          <a:xfrm>
            <a:off x="8651875" y="479425"/>
            <a:ext cx="760413" cy="215900"/>
          </a:xfrm>
          <a:prstGeom prst="rect">
            <a:avLst/>
          </a:prstGeom>
          <a:solidFill>
            <a:schemeClr val="bg2"/>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4B7BC897-2108-4542-A9F3-7B5FABBB03B4}" type="datetime'''''''''''1''''0''''''''''''''''''/1''9'''''''''''''''''''''''">
              <a:rPr kumimoji="0" lang="cs-CZ" altLang="en-US" sz="11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ctr" defTabSz="914400" rtl="0" eaLnBrk="1" fontAlgn="auto" latinLnBrk="0" hangingPunct="1">
                <a:lnSpc>
                  <a:spcPct val="100000"/>
                </a:lnSpc>
                <a:spcBef>
                  <a:spcPct val="0"/>
                </a:spcBef>
                <a:spcAft>
                  <a:spcPct val="0"/>
                </a:spcAft>
                <a:buClrTx/>
                <a:buSzTx/>
                <a:buFontTx/>
                <a:buNone/>
                <a:tabLst/>
                <a:defRPr/>
              </a:pPr>
              <a:t>10/19</a:t>
            </a:fld>
            <a:endParaRPr kumimoji="0" lang="cs-CZ" sz="1100" b="1" i="0" u="none" strike="noStrike" kern="1200" cap="none" spc="0" normalizeH="0" baseline="0" noProof="0">
              <a:ln>
                <a:noFill/>
              </a:ln>
              <a:solidFill>
                <a:srgbClr val="000000"/>
              </a:solidFill>
              <a:effectLst/>
              <a:uLnTx/>
              <a:uFillTx/>
              <a:latin typeface="Calibri" panose="020F0502020204030204"/>
              <a:ea typeface="+mn-ea"/>
              <a:cs typeface="+mn-cs"/>
              <a:sym typeface="+mn-lt"/>
            </a:endParaRPr>
          </a:p>
        </p:txBody>
      </p:sp>
      <p:sp>
        <p:nvSpPr>
          <p:cNvPr id="144" name="Rectangle 143">
            <a:extLst>
              <a:ext uri="{FF2B5EF4-FFF2-40B4-BE49-F238E27FC236}">
                <a16:creationId xmlns:a16="http://schemas.microsoft.com/office/drawing/2014/main" id="{860471DB-B995-4AB8-A03F-9F1CF1A533B3}"/>
              </a:ext>
            </a:extLst>
          </p:cNvPr>
          <p:cNvSpPr/>
          <p:nvPr>
            <p:custDataLst>
              <p:tags r:id="rId17"/>
            </p:custDataLst>
          </p:nvPr>
        </p:nvSpPr>
        <p:spPr bwMode="auto">
          <a:xfrm>
            <a:off x="9412288" y="479425"/>
            <a:ext cx="736600" cy="215900"/>
          </a:xfrm>
          <a:prstGeom prst="rect">
            <a:avLst/>
          </a:prstGeom>
          <a:solidFill>
            <a:schemeClr val="bg2"/>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60B33F74-F01B-4CF3-BAF3-26CA97E361AF}" type="datetime'''''1''''''''1''''''''''''''''''''''''''/1''9'''''''''''''">
              <a:rPr kumimoji="0" lang="cs-CZ" altLang="en-US" sz="1100" b="1" i="0" u="none" strike="noStrike" kern="1200" cap="none" spc="0" normalizeH="0" baseline="0" noProof="0" smtClean="0">
                <a:ln>
                  <a:noFill/>
                </a:ln>
                <a:solidFill>
                  <a:srgbClr val="000000"/>
                </a:solidFill>
                <a:effectLst/>
                <a:uLnTx/>
                <a:uFillTx/>
                <a:latin typeface="Calibri" panose="020F0502020204030204"/>
                <a:ea typeface="+mn-ea"/>
                <a:cs typeface="+mn-cs"/>
                <a:sym typeface="+mn-lt"/>
              </a:rPr>
              <a:pPr marL="0" marR="0" lvl="0" indent="0" algn="ctr" defTabSz="914400" rtl="0" eaLnBrk="1" fontAlgn="auto" latinLnBrk="0" hangingPunct="1">
                <a:lnSpc>
                  <a:spcPct val="100000"/>
                </a:lnSpc>
                <a:spcBef>
                  <a:spcPct val="0"/>
                </a:spcBef>
                <a:spcAft>
                  <a:spcPct val="0"/>
                </a:spcAft>
                <a:buClrTx/>
                <a:buSzTx/>
                <a:buFontTx/>
                <a:buNone/>
                <a:tabLst/>
                <a:defRPr/>
              </a:pPr>
              <a:t>11/19</a:t>
            </a:fld>
            <a:endParaRPr kumimoji="0" lang="cs-CZ" sz="1100" b="1" i="0" u="none" strike="noStrike" kern="1200" cap="none" spc="0" normalizeH="0" baseline="0" noProof="0">
              <a:ln>
                <a:noFill/>
              </a:ln>
              <a:solidFill>
                <a:srgbClr val="000000"/>
              </a:solidFill>
              <a:effectLst/>
              <a:uLnTx/>
              <a:uFillTx/>
              <a:latin typeface="Calibri" panose="020F0502020204030204"/>
              <a:ea typeface="+mn-ea"/>
              <a:cs typeface="+mn-cs"/>
              <a:sym typeface="+mn-lt"/>
            </a:endParaRPr>
          </a:p>
        </p:txBody>
      </p:sp>
      <p:sp>
        <p:nvSpPr>
          <p:cNvPr id="145" name="Rectangle 144">
            <a:extLst>
              <a:ext uri="{FF2B5EF4-FFF2-40B4-BE49-F238E27FC236}">
                <a16:creationId xmlns:a16="http://schemas.microsoft.com/office/drawing/2014/main" id="{D207711B-E547-4F55-9FD9-7E76DF8F1794}"/>
              </a:ext>
            </a:extLst>
          </p:cNvPr>
          <p:cNvSpPr/>
          <p:nvPr>
            <p:custDataLst>
              <p:tags r:id="rId18"/>
            </p:custDataLst>
          </p:nvPr>
        </p:nvSpPr>
        <p:spPr bwMode="auto">
          <a:xfrm>
            <a:off x="10148888" y="479425"/>
            <a:ext cx="760413" cy="215900"/>
          </a:xfrm>
          <a:prstGeom prst="rect">
            <a:avLst/>
          </a:prstGeom>
          <a:solidFill>
            <a:schemeClr val="bg2"/>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1F1749F9-2B92-4F74-A4F7-CE4299761976}" type="datetime'''''''''''''1''''''2''''''''''''''/''''''1''''9'''">
              <a:rPr kumimoji="0" lang="cs-CZ" altLang="en-US" sz="1100" b="1" i="0" u="none" strike="noStrike" kern="1200" cap="none" spc="0" normalizeH="0" baseline="0" noProof="0" smtClean="0">
                <a:ln>
                  <a:noFill/>
                </a:ln>
                <a:solidFill>
                  <a:srgbClr val="000000"/>
                </a:solidFill>
                <a:effectLst/>
                <a:uLnTx/>
                <a:uFillTx/>
                <a:latin typeface="Calibri" panose="020F0502020204030204"/>
                <a:ea typeface="+mn-ea"/>
                <a:cs typeface="+mn-cs"/>
                <a:sym typeface="+mn-lt"/>
              </a:rPr>
              <a:pPr marL="0" marR="0" lvl="0" indent="0" algn="ctr" defTabSz="914400" rtl="0" eaLnBrk="1" fontAlgn="auto" latinLnBrk="0" hangingPunct="1">
                <a:lnSpc>
                  <a:spcPct val="100000"/>
                </a:lnSpc>
                <a:spcBef>
                  <a:spcPct val="0"/>
                </a:spcBef>
                <a:spcAft>
                  <a:spcPct val="0"/>
                </a:spcAft>
                <a:buClrTx/>
                <a:buSzTx/>
                <a:buFontTx/>
                <a:buNone/>
                <a:tabLst/>
                <a:defRPr/>
              </a:pPr>
              <a:t>12/19</a:t>
            </a:fld>
            <a:endParaRPr kumimoji="0" lang="cs-CZ" sz="1100" b="1" i="0" u="none" strike="noStrike" kern="1200" cap="none" spc="0" normalizeH="0" baseline="0" noProof="0">
              <a:ln>
                <a:noFill/>
              </a:ln>
              <a:solidFill>
                <a:srgbClr val="000000"/>
              </a:solidFill>
              <a:effectLst/>
              <a:uLnTx/>
              <a:uFillTx/>
              <a:latin typeface="Calibri" panose="020F0502020204030204"/>
              <a:ea typeface="+mn-ea"/>
              <a:cs typeface="+mn-cs"/>
              <a:sym typeface="+mn-lt"/>
            </a:endParaRPr>
          </a:p>
        </p:txBody>
      </p:sp>
      <p:sp>
        <p:nvSpPr>
          <p:cNvPr id="146" name="Rectangle 145">
            <a:extLst>
              <a:ext uri="{FF2B5EF4-FFF2-40B4-BE49-F238E27FC236}">
                <a16:creationId xmlns:a16="http://schemas.microsoft.com/office/drawing/2014/main" id="{67B8E8C4-66F2-443B-A748-0B28B5682878}"/>
              </a:ext>
            </a:extLst>
          </p:cNvPr>
          <p:cNvSpPr/>
          <p:nvPr>
            <p:custDataLst>
              <p:tags r:id="rId19"/>
            </p:custDataLst>
          </p:nvPr>
        </p:nvSpPr>
        <p:spPr bwMode="auto">
          <a:xfrm>
            <a:off x="10909300" y="479425"/>
            <a:ext cx="760413" cy="215900"/>
          </a:xfrm>
          <a:prstGeom prst="rect">
            <a:avLst/>
          </a:prstGeom>
          <a:solidFill>
            <a:schemeClr val="bg2"/>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3" rIns="0" bIns="23813"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fld id="{0A4FFA5A-E253-4C27-A64A-4CFDB4EFD0E0}" type="datetime'''''''''0''''1''''''''/''2''''''''''''''''''''''''''0'''''">
              <a:rPr kumimoji="0" lang="cs-CZ" altLang="en-US" sz="1100" b="1" i="0" u="none" strike="noStrike" kern="1200" cap="none" spc="0" normalizeH="0" baseline="0" noProof="0" smtClean="0">
                <a:ln>
                  <a:noFill/>
                </a:ln>
                <a:solidFill>
                  <a:srgbClr val="000000"/>
                </a:solidFill>
                <a:effectLst/>
                <a:uLnTx/>
                <a:uFillTx/>
                <a:latin typeface="Calibri" panose="020F0502020204030204"/>
                <a:ea typeface="+mn-ea"/>
                <a:cs typeface="+mn-cs"/>
                <a:sym typeface="+mn-lt"/>
              </a:rPr>
              <a:pPr marL="0" marR="0" lvl="0" indent="0" algn="ctr" defTabSz="914400" rtl="0" eaLnBrk="1" fontAlgn="auto" latinLnBrk="0" hangingPunct="1">
                <a:lnSpc>
                  <a:spcPct val="100000"/>
                </a:lnSpc>
                <a:spcBef>
                  <a:spcPct val="0"/>
                </a:spcBef>
                <a:spcAft>
                  <a:spcPct val="0"/>
                </a:spcAft>
                <a:buClrTx/>
                <a:buSzTx/>
                <a:buFontTx/>
                <a:buNone/>
                <a:tabLst/>
                <a:defRPr/>
              </a:pPr>
              <a:t>01/20</a:t>
            </a:fld>
            <a:endParaRPr kumimoji="0" lang="cs-CZ" sz="1100" b="1" i="0" u="none" strike="noStrike" kern="1200" cap="none" spc="0" normalizeH="0" baseline="0" noProof="0">
              <a:ln>
                <a:noFill/>
              </a:ln>
              <a:solidFill>
                <a:srgbClr val="000000"/>
              </a:solidFill>
              <a:effectLst/>
              <a:uLnTx/>
              <a:uFillTx/>
              <a:latin typeface="Calibri" panose="020F0502020204030204"/>
              <a:ea typeface="+mn-ea"/>
              <a:cs typeface="+mn-cs"/>
              <a:sym typeface="+mn-lt"/>
            </a:endParaRPr>
          </a:p>
        </p:txBody>
      </p:sp>
      <p:cxnSp>
        <p:nvCxnSpPr>
          <p:cNvPr id="166" name="Straight Connector 165"/>
          <p:cNvCxnSpPr/>
          <p:nvPr>
            <p:custDataLst>
              <p:tags r:id="rId20"/>
            </p:custDataLst>
          </p:nvPr>
        </p:nvCxnSpPr>
        <p:spPr bwMode="auto">
          <a:xfrm>
            <a:off x="7156450" y="695325"/>
            <a:ext cx="0" cy="474186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custDataLst>
              <p:tags r:id="rId21"/>
            </p:custDataLst>
          </p:nvPr>
        </p:nvCxnSpPr>
        <p:spPr bwMode="auto">
          <a:xfrm>
            <a:off x="2716213" y="695325"/>
            <a:ext cx="0" cy="4741863"/>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custDataLst>
              <p:tags r:id="rId22"/>
            </p:custDataLst>
          </p:nvPr>
        </p:nvCxnSpPr>
        <p:spPr bwMode="auto">
          <a:xfrm>
            <a:off x="6396038" y="695325"/>
            <a:ext cx="0" cy="474186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C82C9DF-9D6C-41BD-9418-728CAA5634B0}"/>
              </a:ext>
            </a:extLst>
          </p:cNvPr>
          <p:cNvCxnSpPr/>
          <p:nvPr>
            <p:custDataLst>
              <p:tags r:id="rId23"/>
            </p:custDataLst>
          </p:nvPr>
        </p:nvCxnSpPr>
        <p:spPr bwMode="auto">
          <a:xfrm>
            <a:off x="5659438" y="695325"/>
            <a:ext cx="0" cy="474186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custDataLst>
              <p:tags r:id="rId24"/>
            </p:custDataLst>
          </p:nvPr>
        </p:nvCxnSpPr>
        <p:spPr bwMode="auto">
          <a:xfrm>
            <a:off x="654050" y="695325"/>
            <a:ext cx="0" cy="4741863"/>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custDataLst>
              <p:tags r:id="rId25"/>
            </p:custDataLst>
          </p:nvPr>
        </p:nvCxnSpPr>
        <p:spPr bwMode="auto">
          <a:xfrm>
            <a:off x="4899025" y="695325"/>
            <a:ext cx="0" cy="474186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EEBD009E-78A9-409A-A6BB-D173325CE715}"/>
              </a:ext>
            </a:extLst>
          </p:cNvPr>
          <p:cNvCxnSpPr/>
          <p:nvPr>
            <p:custDataLst>
              <p:tags r:id="rId26"/>
            </p:custDataLst>
          </p:nvPr>
        </p:nvCxnSpPr>
        <p:spPr bwMode="auto">
          <a:xfrm>
            <a:off x="10148888" y="695325"/>
            <a:ext cx="0" cy="474186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custDataLst>
              <p:tags r:id="rId27"/>
            </p:custDataLst>
          </p:nvPr>
        </p:nvCxnSpPr>
        <p:spPr bwMode="auto">
          <a:xfrm>
            <a:off x="11669713" y="695325"/>
            <a:ext cx="0" cy="4741863"/>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CFF0FE0B-5EEB-4FCA-94F3-4CC9B1060B51}"/>
              </a:ext>
            </a:extLst>
          </p:cNvPr>
          <p:cNvCxnSpPr/>
          <p:nvPr>
            <p:custDataLst>
              <p:tags r:id="rId28"/>
            </p:custDataLst>
          </p:nvPr>
        </p:nvCxnSpPr>
        <p:spPr bwMode="auto">
          <a:xfrm>
            <a:off x="10909300" y="695325"/>
            <a:ext cx="0" cy="474186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77F0ECC5-7CAA-45A3-88E1-DFCFE68E0A3B}"/>
              </a:ext>
            </a:extLst>
          </p:cNvPr>
          <p:cNvCxnSpPr/>
          <p:nvPr>
            <p:custDataLst>
              <p:tags r:id="rId29"/>
            </p:custDataLst>
          </p:nvPr>
        </p:nvCxnSpPr>
        <p:spPr bwMode="auto">
          <a:xfrm>
            <a:off x="3403600" y="695325"/>
            <a:ext cx="0" cy="474186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custDataLst>
              <p:tags r:id="rId30"/>
            </p:custDataLst>
          </p:nvPr>
        </p:nvCxnSpPr>
        <p:spPr bwMode="auto">
          <a:xfrm>
            <a:off x="8651875" y="695325"/>
            <a:ext cx="0" cy="474186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custDataLst>
              <p:tags r:id="rId31"/>
            </p:custDataLst>
          </p:nvPr>
        </p:nvCxnSpPr>
        <p:spPr bwMode="auto">
          <a:xfrm>
            <a:off x="7916863" y="695325"/>
            <a:ext cx="0" cy="474186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2" name="Straight Connector 331"/>
          <p:cNvCxnSpPr/>
          <p:nvPr>
            <p:custDataLst>
              <p:tags r:id="rId32"/>
            </p:custDataLst>
          </p:nvPr>
        </p:nvCxnSpPr>
        <p:spPr bwMode="auto">
          <a:xfrm>
            <a:off x="654050" y="1978025"/>
            <a:ext cx="11015663" cy="0"/>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8" name="Straight Connector 347"/>
          <p:cNvCxnSpPr/>
          <p:nvPr>
            <p:custDataLst>
              <p:tags r:id="rId33"/>
            </p:custDataLst>
          </p:nvPr>
        </p:nvCxnSpPr>
        <p:spPr bwMode="auto">
          <a:xfrm>
            <a:off x="654050" y="4616450"/>
            <a:ext cx="11015663" cy="0"/>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custDataLst>
              <p:tags r:id="rId34"/>
            </p:custDataLst>
          </p:nvPr>
        </p:nvCxnSpPr>
        <p:spPr bwMode="auto">
          <a:xfrm>
            <a:off x="654050" y="3397250"/>
            <a:ext cx="11015663" cy="0"/>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custDataLst>
              <p:tags r:id="rId35"/>
            </p:custDataLst>
          </p:nvPr>
        </p:nvCxnSpPr>
        <p:spPr bwMode="auto">
          <a:xfrm>
            <a:off x="654050" y="5437188"/>
            <a:ext cx="110156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197437EF-364B-4138-8C3F-AB9BB498CB66}"/>
              </a:ext>
            </a:extLst>
          </p:cNvPr>
          <p:cNvCxnSpPr/>
          <p:nvPr>
            <p:custDataLst>
              <p:tags r:id="rId36"/>
            </p:custDataLst>
          </p:nvPr>
        </p:nvCxnSpPr>
        <p:spPr bwMode="gray">
          <a:xfrm>
            <a:off x="4040188" y="695325"/>
            <a:ext cx="0" cy="4910138"/>
          </a:xfrm>
          <a:prstGeom prst="line">
            <a:avLst/>
          </a:prstGeom>
          <a:ln w="19050" cap="flat" cmpd="sng" algn="ctr">
            <a:solidFill>
              <a:srgbClr val="7740B5"/>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5" name="Straight Connector 204"/>
          <p:cNvCxnSpPr/>
          <p:nvPr>
            <p:custDataLst>
              <p:tags r:id="rId37"/>
            </p:custDataLst>
          </p:nvPr>
        </p:nvCxnSpPr>
        <p:spPr bwMode="gray">
          <a:xfrm>
            <a:off x="6076950" y="695325"/>
            <a:ext cx="0" cy="4910138"/>
          </a:xfrm>
          <a:prstGeom prst="line">
            <a:avLst/>
          </a:prstGeom>
          <a:ln w="19050" cap="flat" cmpd="sng" algn="ctr">
            <a:solidFill>
              <a:srgbClr val="C0C0C0"/>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custDataLst>
              <p:tags r:id="rId38"/>
            </p:custDataLst>
          </p:nvPr>
        </p:nvCxnSpPr>
        <p:spPr bwMode="auto">
          <a:xfrm>
            <a:off x="654050" y="695325"/>
            <a:ext cx="110156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65" name="Chevron 230">
            <a:extLst>
              <a:ext uri="{FF2B5EF4-FFF2-40B4-BE49-F238E27FC236}">
                <a16:creationId xmlns:a16="http://schemas.microsoft.com/office/drawing/2014/main" id="{5FD55BF5-CD79-47F4-8F6F-97FF102AEE9A}"/>
              </a:ext>
            </a:extLst>
          </p:cNvPr>
          <p:cNvSpPr/>
          <p:nvPr>
            <p:custDataLst>
              <p:tags r:id="rId39"/>
            </p:custDataLst>
          </p:nvPr>
        </p:nvSpPr>
        <p:spPr bwMode="auto">
          <a:xfrm>
            <a:off x="6380163" y="1085850"/>
            <a:ext cx="1928813" cy="214313"/>
          </a:xfrm>
          <a:prstGeom prst="chevron">
            <a:avLst>
              <a:gd name="adj" fmla="val 18519"/>
            </a:avLst>
          </a:prstGeom>
          <a:solidFill>
            <a:schemeClr val="folHlink"/>
          </a:solidFill>
          <a:ln w="9525" cap="flat" cmpd="sng" algn="ctr">
            <a:solidFill>
              <a:schemeClr val="tx1"/>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FF0000"/>
                </a:solidFill>
                <a:effectLst/>
                <a:uLnTx/>
                <a:uFillTx/>
                <a:latin typeface="Calibri" panose="020F0502020204030204"/>
                <a:ea typeface="+mn-ea"/>
                <a:cs typeface="+mn-cs"/>
              </a:rPr>
              <a:t>    </a:t>
            </a:r>
            <a:r>
              <a:rPr kumimoji="0" lang="en-GB" altLang="en-US" sz="800" b="0" i="0" u="none" strike="noStrike" kern="1200" cap="none" spc="0" normalizeH="0" baseline="0" noProof="0" dirty="0">
                <a:ln>
                  <a:noFill/>
                </a:ln>
                <a:solidFill>
                  <a:srgbClr val="C30C3E"/>
                </a:solidFill>
                <a:effectLst/>
                <a:uLnTx/>
                <a:uFillTx/>
                <a:latin typeface="Calibri" panose="020F0502020204030204"/>
                <a:ea typeface="+mn-ea"/>
                <a:cs typeface="+mn-cs"/>
              </a:rPr>
              <a:t>Complement to GAP</a:t>
            </a:r>
          </a:p>
        </p:txBody>
      </p:sp>
      <p:sp>
        <p:nvSpPr>
          <p:cNvPr id="226" name="Pentagon 225"/>
          <p:cNvSpPr/>
          <p:nvPr>
            <p:custDataLst>
              <p:tags r:id="rId40"/>
            </p:custDataLst>
          </p:nvPr>
        </p:nvSpPr>
        <p:spPr bwMode="auto">
          <a:xfrm>
            <a:off x="3476625" y="1344613"/>
            <a:ext cx="833438" cy="336550"/>
          </a:xfrm>
          <a:prstGeom prst="homePlate">
            <a:avLst>
              <a:gd name="adj" fmla="val 18396"/>
            </a:avLst>
          </a:prstGeom>
          <a:solidFill>
            <a:schemeClr val="folHlink"/>
          </a:solidFill>
          <a:ln w="9525" cap="flat" cmpd="sng" algn="ctr">
            <a:solidFill>
              <a:schemeClr val="tx1"/>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900" b="0" i="0" u="none" strike="noStrike" kern="1200" cap="none" spc="0" normalizeH="0" baseline="0" noProof="0">
                <a:ln>
                  <a:noFill/>
                </a:ln>
                <a:solidFill>
                  <a:srgbClr val="000000"/>
                </a:solidFill>
                <a:effectLst/>
                <a:uLnTx/>
                <a:uFillTx/>
                <a:latin typeface="Calibri" panose="020F0502020204030204"/>
                <a:ea typeface="+mn-ea"/>
                <a:cs typeface="+mn-cs"/>
                <a:sym typeface="+mn-lt"/>
              </a:rPr>
              <a:t>Pre Analysis</a:t>
            </a:r>
            <a:endParaRPr kumimoji="0" lang="cs-CZ" sz="900" b="0"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228" name="Chevron 227"/>
          <p:cNvSpPr/>
          <p:nvPr>
            <p:custDataLst>
              <p:tags r:id="rId41"/>
            </p:custDataLst>
          </p:nvPr>
        </p:nvSpPr>
        <p:spPr bwMode="gray">
          <a:xfrm>
            <a:off x="7707313" y="1344613"/>
            <a:ext cx="601663" cy="336550"/>
          </a:xfrm>
          <a:prstGeom prst="chevron">
            <a:avLst>
              <a:gd name="adj" fmla="val 18396"/>
            </a:avLst>
          </a:prstGeom>
          <a:solidFill>
            <a:srgbClr val="0070C0"/>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prstClr val="white"/>
                </a:solidFill>
                <a:effectLst/>
                <a:uLnTx/>
                <a:uFillTx/>
                <a:latin typeface="Calibri" panose="020F0502020204030204"/>
                <a:ea typeface="+mn-ea"/>
                <a:cs typeface="+mn-cs"/>
                <a:sym typeface="+mn-lt"/>
              </a:rPr>
              <a:t>Review</a:t>
            </a:r>
            <a:r>
              <a:rPr kumimoji="0" lang="en-GB" altLang="en-US" sz="900" b="0" i="0" u="none" strike="noStrike" kern="1200" cap="none" spc="0" normalizeH="0" baseline="0" noProof="0" dirty="0">
                <a:ln>
                  <a:noFill/>
                </a:ln>
                <a:solidFill>
                  <a:prstClr val="white"/>
                </a:solidFill>
                <a:effectLst/>
                <a:uLnTx/>
                <a:uFillTx/>
                <a:latin typeface="Calibri" panose="020F0502020204030204"/>
                <a:ea typeface="+mn-ea"/>
                <a:cs typeface="+mn-cs"/>
                <a:sym typeface="+mn-lt"/>
              </a:rPr>
              <a:t> </a:t>
            </a:r>
            <a:endParaRPr kumimoji="0" lang="cs-CZ" sz="900" b="0" i="0" u="none" strike="noStrike" kern="1200" cap="none" spc="0" normalizeH="0" baseline="0" noProof="0" dirty="0">
              <a:ln>
                <a:noFill/>
              </a:ln>
              <a:solidFill>
                <a:prstClr val="white"/>
              </a:solidFill>
              <a:effectLst/>
              <a:uLnTx/>
              <a:uFillTx/>
              <a:latin typeface="Calibri" panose="020F0502020204030204"/>
              <a:ea typeface="+mn-ea"/>
              <a:cs typeface="+mn-cs"/>
              <a:sym typeface="+mn-lt"/>
            </a:endParaRPr>
          </a:p>
        </p:txBody>
      </p:sp>
      <p:sp>
        <p:nvSpPr>
          <p:cNvPr id="229" name="Chevron 228"/>
          <p:cNvSpPr/>
          <p:nvPr>
            <p:custDataLst>
              <p:tags r:id="rId42"/>
            </p:custDataLst>
          </p:nvPr>
        </p:nvSpPr>
        <p:spPr bwMode="gray">
          <a:xfrm>
            <a:off x="7094538" y="1344613"/>
            <a:ext cx="674688" cy="336550"/>
          </a:xfrm>
          <a:prstGeom prst="chevron">
            <a:avLst>
              <a:gd name="adj" fmla="val 18396"/>
            </a:avLst>
          </a:prstGeom>
          <a:solidFill>
            <a:srgbClr val="007770"/>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prstClr val="white"/>
                </a:solidFill>
                <a:effectLst/>
                <a:uLnTx/>
                <a:uFillTx/>
                <a:latin typeface="Calibri" panose="020F0502020204030204"/>
                <a:ea typeface="+mn-ea"/>
                <a:cs typeface="+mn-cs"/>
              </a:rPr>
              <a:t>Review</a:t>
            </a:r>
            <a:endParaRPr kumimoji="0" lang="cs-CZ" sz="800" b="0" i="0" u="none" strike="noStrike" kern="1200" cap="none" spc="0" normalizeH="0" baseline="0" noProof="0" dirty="0">
              <a:ln>
                <a:noFill/>
              </a:ln>
              <a:solidFill>
                <a:prstClr val="white"/>
              </a:solidFill>
              <a:effectLst/>
              <a:uLnTx/>
              <a:uFillTx/>
              <a:latin typeface="Calibri" panose="020F0502020204030204"/>
              <a:ea typeface="+mn-ea"/>
              <a:cs typeface="+mn-cs"/>
              <a:sym typeface="+mn-lt"/>
            </a:endParaRPr>
          </a:p>
        </p:txBody>
      </p:sp>
      <p:sp>
        <p:nvSpPr>
          <p:cNvPr id="23" name="Arrow: Chevron 22">
            <a:extLst>
              <a:ext uri="{FF2B5EF4-FFF2-40B4-BE49-F238E27FC236}">
                <a16:creationId xmlns:a16="http://schemas.microsoft.com/office/drawing/2014/main" id="{FB9776BB-DA26-4EC2-A33A-54D83FE7F723}"/>
              </a:ext>
            </a:extLst>
          </p:cNvPr>
          <p:cNvSpPr/>
          <p:nvPr>
            <p:custDataLst>
              <p:tags r:id="rId43"/>
            </p:custDataLst>
          </p:nvPr>
        </p:nvSpPr>
        <p:spPr bwMode="auto">
          <a:xfrm>
            <a:off x="10633075" y="3421063"/>
            <a:ext cx="1027113" cy="304800"/>
          </a:xfrm>
          <a:prstGeom prst="chevron">
            <a:avLst>
              <a:gd name="adj" fmla="val 18229"/>
            </a:avLst>
          </a:prstGeom>
          <a:solidFill>
            <a:srgbClr val="969696"/>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90488" r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600" b="0" i="0" u="none" strike="noStrike" kern="1200" cap="none" spc="0" normalizeH="0" baseline="0" noProof="0" dirty="0">
                <a:ln>
                  <a:noFill/>
                </a:ln>
                <a:solidFill>
                  <a:prstClr val="white"/>
                </a:solidFill>
                <a:effectLst/>
                <a:uLnTx/>
                <a:uFillTx/>
                <a:latin typeface="Calibri" panose="020F0502020204030204"/>
                <a:ea typeface="+mn-ea"/>
                <a:cs typeface="+mn-cs"/>
              </a:rPr>
              <a:t>Contract negotiation</a:t>
            </a:r>
            <a:endParaRPr kumimoji="0" lang="cs-CZ" sz="600" b="0" i="0" u="none" strike="noStrike" kern="1200" cap="none" spc="0" normalizeH="0" baseline="0" noProof="0" dirty="0">
              <a:ln>
                <a:noFill/>
              </a:ln>
              <a:solidFill>
                <a:prstClr val="white"/>
              </a:solidFill>
              <a:effectLst/>
              <a:uLnTx/>
              <a:uFillTx/>
              <a:latin typeface="Calibri" panose="020F0502020204030204"/>
              <a:ea typeface="+mn-ea"/>
              <a:cs typeface="+mn-cs"/>
              <a:sym typeface="+mn-lt"/>
            </a:endParaRPr>
          </a:p>
        </p:txBody>
      </p:sp>
      <p:sp>
        <p:nvSpPr>
          <p:cNvPr id="230" name="Chevron 229"/>
          <p:cNvSpPr/>
          <p:nvPr>
            <p:custDataLst>
              <p:tags r:id="rId44"/>
            </p:custDataLst>
          </p:nvPr>
        </p:nvSpPr>
        <p:spPr bwMode="auto">
          <a:xfrm>
            <a:off x="5229225" y="1344613"/>
            <a:ext cx="1927225" cy="336550"/>
          </a:xfrm>
          <a:prstGeom prst="chevron">
            <a:avLst>
              <a:gd name="adj" fmla="val 18396"/>
            </a:avLst>
          </a:prstGeom>
          <a:solidFill>
            <a:schemeClr val="hlink"/>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Calibri" panose="020F0502020204030204"/>
                <a:ea typeface="+mn-ea"/>
                <a:cs typeface="+mn-cs"/>
              </a:rPr>
              <a:t>Requirement Catalogue </a:t>
            </a:r>
            <a:r>
              <a:rPr kumimoji="0" lang="en-GB" altLang="en-US" sz="8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 final (V2)</a:t>
            </a:r>
            <a:endParaRPr kumimoji="0" lang="cs-CZ" sz="800" b="0"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232" name="Chevron 231"/>
          <p:cNvSpPr/>
          <p:nvPr>
            <p:custDataLst>
              <p:tags r:id="rId45"/>
            </p:custDataLst>
          </p:nvPr>
        </p:nvSpPr>
        <p:spPr bwMode="gray">
          <a:xfrm>
            <a:off x="3586163" y="704850"/>
            <a:ext cx="601663" cy="336550"/>
          </a:xfrm>
          <a:prstGeom prst="chevron">
            <a:avLst>
              <a:gd name="adj" fmla="val 18396"/>
            </a:avLst>
          </a:prstGeom>
          <a:solidFill>
            <a:srgbClr val="007770"/>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prstClr val="white"/>
                </a:solidFill>
                <a:effectLst/>
                <a:uLnTx/>
                <a:uFillTx/>
                <a:latin typeface="Calibri" panose="020F0502020204030204"/>
                <a:ea typeface="+mn-ea"/>
                <a:cs typeface="+mn-cs"/>
                <a:sym typeface="+mn-lt"/>
              </a:rPr>
              <a:t>Review</a:t>
            </a:r>
            <a:endParaRPr kumimoji="0" lang="cs-CZ" sz="800" b="0" i="0" u="none" strike="noStrike" kern="1200" cap="none" spc="0" normalizeH="0" baseline="0" noProof="0" dirty="0">
              <a:ln>
                <a:noFill/>
              </a:ln>
              <a:solidFill>
                <a:prstClr val="white"/>
              </a:solidFill>
              <a:effectLst/>
              <a:uLnTx/>
              <a:uFillTx/>
              <a:latin typeface="Calibri" panose="020F0502020204030204"/>
              <a:ea typeface="+mn-ea"/>
              <a:cs typeface="+mn-cs"/>
              <a:sym typeface="+mn-lt"/>
            </a:endParaRPr>
          </a:p>
        </p:txBody>
      </p:sp>
      <p:sp>
        <p:nvSpPr>
          <p:cNvPr id="321" name="Pentagon 320"/>
          <p:cNvSpPr/>
          <p:nvPr>
            <p:custDataLst>
              <p:tags r:id="rId46"/>
            </p:custDataLst>
          </p:nvPr>
        </p:nvSpPr>
        <p:spPr bwMode="gray">
          <a:xfrm>
            <a:off x="6659563" y="3421063"/>
            <a:ext cx="4029075" cy="304800"/>
          </a:xfrm>
          <a:prstGeom prst="chevron">
            <a:avLst>
              <a:gd name="adj" fmla="val 18229"/>
            </a:avLst>
          </a:prstGeom>
          <a:solidFill>
            <a:srgbClr val="E05428"/>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900" b="0" i="0" u="none" strike="noStrike" kern="1200" cap="none" spc="0" normalizeH="0" baseline="0" noProof="0" dirty="0">
                <a:ln>
                  <a:noFill/>
                </a:ln>
                <a:solidFill>
                  <a:prstClr val="white"/>
                </a:solidFill>
                <a:effectLst/>
                <a:uLnTx/>
                <a:uFillTx/>
                <a:latin typeface="Calibri" panose="020F0502020204030204"/>
                <a:ea typeface="+mn-ea"/>
                <a:cs typeface="+mn-cs"/>
              </a:rPr>
              <a:t>Preparation of  (template) supplier contract</a:t>
            </a:r>
            <a:endPar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sym typeface="+mn-lt"/>
            </a:endParaRPr>
          </a:p>
        </p:txBody>
      </p:sp>
      <p:sp>
        <p:nvSpPr>
          <p:cNvPr id="9" name="Arrow: Chevron 8">
            <a:extLst>
              <a:ext uri="{FF2B5EF4-FFF2-40B4-BE49-F238E27FC236}">
                <a16:creationId xmlns:a16="http://schemas.microsoft.com/office/drawing/2014/main" id="{791417B7-7AF2-4CBB-AA28-23B27B18C504}"/>
              </a:ext>
            </a:extLst>
          </p:cNvPr>
          <p:cNvSpPr/>
          <p:nvPr>
            <p:custDataLst>
              <p:tags r:id="rId47"/>
            </p:custDataLst>
          </p:nvPr>
        </p:nvSpPr>
        <p:spPr bwMode="auto">
          <a:xfrm>
            <a:off x="9494838" y="3144838"/>
            <a:ext cx="2165350" cy="228600"/>
          </a:xfrm>
          <a:prstGeom prst="chevron">
            <a:avLst>
              <a:gd name="adj" fmla="val 18056"/>
            </a:avLst>
          </a:prstGeom>
          <a:solidFill>
            <a:srgbClr val="969696"/>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90488" rIns="0" numCol="1" spcCol="0" rtlCol="0" anchor="ctr"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900" b="0" i="0" u="none" strike="noStrike" kern="1200" cap="none" spc="0" normalizeH="0" baseline="0" noProof="0" dirty="0">
                <a:ln>
                  <a:noFill/>
                </a:ln>
                <a:solidFill>
                  <a:prstClr val="white"/>
                </a:solidFill>
                <a:effectLst/>
                <a:uLnTx/>
                <a:uFillTx/>
                <a:latin typeface="Calibri" panose="020F0502020204030204"/>
                <a:ea typeface="+mn-ea"/>
                <a:cs typeface="+mn-cs"/>
              </a:rPr>
              <a:t>Tender process</a:t>
            </a:r>
          </a:p>
        </p:txBody>
      </p:sp>
      <p:sp>
        <p:nvSpPr>
          <p:cNvPr id="231" name="Chevron 230"/>
          <p:cNvSpPr/>
          <p:nvPr>
            <p:custDataLst>
              <p:tags r:id="rId48"/>
            </p:custDataLst>
          </p:nvPr>
        </p:nvSpPr>
        <p:spPr bwMode="gray">
          <a:xfrm>
            <a:off x="6110288" y="1085850"/>
            <a:ext cx="309563" cy="214313"/>
          </a:xfrm>
          <a:prstGeom prst="chevron">
            <a:avLst>
              <a:gd name="adj" fmla="val 18519"/>
            </a:avLst>
          </a:prstGeom>
          <a:solidFill>
            <a:srgbClr val="007770"/>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prstClr val="white"/>
                </a:solidFill>
                <a:effectLst/>
                <a:uLnTx/>
                <a:uFillTx/>
                <a:latin typeface="Calibri" panose="020F0502020204030204"/>
                <a:ea typeface="+mn-ea"/>
                <a:cs typeface="+mn-cs"/>
              </a:rPr>
              <a:t>Review</a:t>
            </a:r>
          </a:p>
        </p:txBody>
      </p:sp>
      <p:sp>
        <p:nvSpPr>
          <p:cNvPr id="233" name="Chevron 232"/>
          <p:cNvSpPr/>
          <p:nvPr>
            <p:custDataLst>
              <p:tags r:id="rId49"/>
            </p:custDataLst>
          </p:nvPr>
        </p:nvSpPr>
        <p:spPr bwMode="auto">
          <a:xfrm>
            <a:off x="4248150" y="1344613"/>
            <a:ext cx="1042988" cy="336550"/>
          </a:xfrm>
          <a:prstGeom prst="chevron">
            <a:avLst>
              <a:gd name="adj" fmla="val 18396"/>
            </a:avLst>
          </a:prstGeom>
          <a:solidFill>
            <a:schemeClr val="hlink"/>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488" rIns="109538"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RC - closed points (V1)</a:t>
            </a:r>
            <a:endParaRPr kumimoji="0" lang="cs-CZ" sz="800" b="0"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298" name="Chevron 297"/>
          <p:cNvSpPr/>
          <p:nvPr>
            <p:custDataLst>
              <p:tags r:id="rId50"/>
            </p:custDataLst>
          </p:nvPr>
        </p:nvSpPr>
        <p:spPr bwMode="gray">
          <a:xfrm>
            <a:off x="5965825" y="2001838"/>
            <a:ext cx="2343150" cy="336550"/>
          </a:xfrm>
          <a:prstGeom prst="chevron">
            <a:avLst>
              <a:gd name="adj" fmla="val 18396"/>
            </a:avLst>
          </a:prstGeom>
          <a:solidFill>
            <a:srgbClr val="0070C0"/>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prstClr val="white"/>
                </a:solidFill>
                <a:effectLst/>
                <a:uLnTx/>
                <a:uFillTx/>
                <a:latin typeface="Calibri" panose="020F0502020204030204"/>
                <a:ea typeface="+mn-ea"/>
                <a:cs typeface="+mn-cs"/>
              </a:rPr>
              <a:t>Tender planning = submission of tenderers, opening, selection,  evaluation and award</a:t>
            </a:r>
            <a:endParaRPr kumimoji="0" lang="en-GB" sz="800" b="0" i="0" u="none" strike="noStrike" kern="1200" cap="none" spc="0" normalizeH="0" baseline="0" noProof="0" dirty="0">
              <a:ln>
                <a:noFill/>
              </a:ln>
              <a:solidFill>
                <a:prstClr val="white"/>
              </a:solidFill>
              <a:effectLst/>
              <a:uLnTx/>
              <a:uFillTx/>
              <a:latin typeface="Calibri" panose="020F0502020204030204"/>
              <a:ea typeface="+mn-ea"/>
              <a:cs typeface="+mn-cs"/>
              <a:sym typeface="+mn-lt"/>
            </a:endParaRPr>
          </a:p>
        </p:txBody>
      </p:sp>
      <p:sp>
        <p:nvSpPr>
          <p:cNvPr id="296" name="Pentagon 295"/>
          <p:cNvSpPr/>
          <p:nvPr>
            <p:custDataLst>
              <p:tags r:id="rId51"/>
            </p:custDataLst>
          </p:nvPr>
        </p:nvSpPr>
        <p:spPr bwMode="gray">
          <a:xfrm>
            <a:off x="4899025" y="2001838"/>
            <a:ext cx="1128713" cy="336550"/>
          </a:xfrm>
          <a:prstGeom prst="homePlate">
            <a:avLst>
              <a:gd name="adj" fmla="val 18396"/>
            </a:avLst>
          </a:prstGeom>
          <a:solidFill>
            <a:srgbClr val="0070C0"/>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488" rIns="71438"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prstClr val="white"/>
                </a:solidFill>
                <a:effectLst/>
                <a:uLnTx/>
                <a:uFillTx/>
                <a:latin typeface="Calibri" panose="020F0502020204030204"/>
                <a:ea typeface="+mn-ea"/>
                <a:cs typeface="+mn-cs"/>
              </a:rPr>
              <a:t>Determining procurement method</a:t>
            </a:r>
            <a:endParaRPr kumimoji="0" lang="en-GB" sz="700" b="0" i="0" u="none" strike="noStrike" kern="1200" cap="none" spc="0" normalizeH="0" baseline="0" noProof="0" dirty="0">
              <a:ln>
                <a:noFill/>
              </a:ln>
              <a:solidFill>
                <a:prstClr val="white"/>
              </a:solidFill>
              <a:effectLst/>
              <a:uLnTx/>
              <a:uFillTx/>
              <a:latin typeface="Calibri" panose="020F0502020204030204"/>
              <a:ea typeface="+mn-ea"/>
              <a:cs typeface="+mn-cs"/>
              <a:sym typeface="+mn-lt"/>
            </a:endParaRPr>
          </a:p>
        </p:txBody>
      </p:sp>
      <p:sp>
        <p:nvSpPr>
          <p:cNvPr id="322" name="Pentagon 321"/>
          <p:cNvSpPr/>
          <p:nvPr>
            <p:custDataLst>
              <p:tags r:id="rId52"/>
            </p:custDataLst>
          </p:nvPr>
        </p:nvSpPr>
        <p:spPr bwMode="gray">
          <a:xfrm>
            <a:off x="5095875" y="3770313"/>
            <a:ext cx="6564313" cy="228600"/>
          </a:xfrm>
          <a:prstGeom prst="homePlate">
            <a:avLst>
              <a:gd name="adj" fmla="val 18056"/>
            </a:avLst>
          </a:prstGeom>
          <a:solidFill>
            <a:srgbClr val="E05428"/>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900" b="0" i="0" u="none" strike="noStrike" kern="1200" cap="none" spc="0" normalizeH="0" baseline="0" noProof="0" dirty="0">
                <a:ln>
                  <a:noFill/>
                </a:ln>
                <a:solidFill>
                  <a:prstClr val="white"/>
                </a:solidFill>
                <a:effectLst/>
                <a:uLnTx/>
                <a:uFillTx/>
                <a:latin typeface="Calibri" panose="020F0502020204030204"/>
                <a:ea typeface="+mn-ea"/>
                <a:cs typeface="+mn-cs"/>
              </a:rPr>
              <a:t>Cooperation contract</a:t>
            </a:r>
            <a:r>
              <a:rPr kumimoji="0" lang="cs-CZ" altLang="en-US" sz="900" b="0" i="0" u="none" strike="noStrike" kern="1200" cap="none" spc="0" normalizeH="0" baseline="0" noProof="0" dirty="0">
                <a:ln>
                  <a:noFill/>
                </a:ln>
                <a:solidFill>
                  <a:prstClr val="white"/>
                </a:solidFill>
                <a:effectLst/>
                <a:uLnTx/>
                <a:uFillTx/>
                <a:latin typeface="Calibri" panose="020F0502020204030204"/>
                <a:ea typeface="+mn-ea"/>
                <a:cs typeface="+mn-cs"/>
              </a:rPr>
              <a:t> (</a:t>
            </a:r>
            <a:r>
              <a:rPr kumimoji="0" lang="en-GB" altLang="en-US" sz="900" b="0" i="0" u="none" strike="noStrike" kern="1200" cap="none" spc="0" normalizeH="0" baseline="0" noProof="0" dirty="0">
                <a:ln>
                  <a:noFill/>
                </a:ln>
                <a:solidFill>
                  <a:prstClr val="white"/>
                </a:solidFill>
                <a:effectLst/>
                <a:uLnTx/>
                <a:uFillTx/>
                <a:latin typeface="Calibri" panose="020F0502020204030204"/>
                <a:ea typeface="+mn-ea"/>
                <a:cs typeface="+mn-cs"/>
              </a:rPr>
              <a:t>after MC decision</a:t>
            </a:r>
            <a:r>
              <a:rPr kumimoji="0" lang="cs-CZ" altLang="en-US" sz="900" b="0" i="0" u="none" strike="noStrike" kern="1200" cap="none" spc="0" normalizeH="0" baseline="0" noProof="0" dirty="0">
                <a:ln>
                  <a:noFill/>
                </a:ln>
                <a:solidFill>
                  <a:prstClr val="white"/>
                </a:solidFill>
                <a:effectLst/>
                <a:uLnTx/>
                <a:uFillTx/>
                <a:latin typeface="Calibri" panose="020F0502020204030204"/>
                <a:ea typeface="+mn-ea"/>
                <a:cs typeface="+mn-cs"/>
              </a:rPr>
              <a:t>)</a:t>
            </a:r>
            <a:endParaRPr kumimoji="0" lang="en-GB" sz="900" b="0" i="0" u="none" strike="noStrike" kern="1200" cap="none" spc="0" normalizeH="0" baseline="0" noProof="0" dirty="0">
              <a:ln>
                <a:noFill/>
              </a:ln>
              <a:solidFill>
                <a:prstClr val="white"/>
              </a:solidFill>
              <a:effectLst/>
              <a:uLnTx/>
              <a:uFillTx/>
              <a:latin typeface="Calibri" panose="020F0502020204030204"/>
              <a:ea typeface="+mn-ea"/>
              <a:cs typeface="+mn-cs"/>
              <a:sym typeface="+mn-lt"/>
            </a:endParaRPr>
          </a:p>
        </p:txBody>
      </p:sp>
      <p:sp>
        <p:nvSpPr>
          <p:cNvPr id="198" name="Pentagon 321">
            <a:extLst>
              <a:ext uri="{FF2B5EF4-FFF2-40B4-BE49-F238E27FC236}">
                <a16:creationId xmlns:a16="http://schemas.microsoft.com/office/drawing/2014/main" id="{3B668DA0-7803-4DDC-B2C9-30CED6F0BA66}"/>
              </a:ext>
            </a:extLst>
          </p:cNvPr>
          <p:cNvSpPr/>
          <p:nvPr>
            <p:custDataLst>
              <p:tags r:id="rId53"/>
            </p:custDataLst>
          </p:nvPr>
        </p:nvSpPr>
        <p:spPr bwMode="gray">
          <a:xfrm>
            <a:off x="4483100" y="4043363"/>
            <a:ext cx="1152525" cy="276225"/>
          </a:xfrm>
          <a:prstGeom prst="homePlate">
            <a:avLst>
              <a:gd name="adj" fmla="val 18391"/>
            </a:avLst>
          </a:prstGeom>
          <a:solidFill>
            <a:srgbClr val="E05428"/>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sz="600" b="0" i="0" u="none" strike="noStrike" kern="1200" cap="none" spc="0" normalizeH="0" baseline="0" noProof="0" dirty="0">
                <a:ln>
                  <a:noFill/>
                </a:ln>
                <a:solidFill>
                  <a:prstClr val="white"/>
                </a:solidFill>
                <a:effectLst/>
                <a:uLnTx/>
                <a:uFillTx/>
                <a:latin typeface="Calibri" panose="020F0502020204030204"/>
                <a:ea typeface="+mn-ea"/>
                <a:cs typeface="+mn-cs"/>
                <a:sym typeface="+mn-lt"/>
              </a:rPr>
              <a:t>Decision on jurisdiction of procurement (SC /who)</a:t>
            </a:r>
          </a:p>
        </p:txBody>
      </p:sp>
      <p:sp>
        <p:nvSpPr>
          <p:cNvPr id="142" name="Pentagon 321">
            <a:extLst>
              <a:ext uri="{FF2B5EF4-FFF2-40B4-BE49-F238E27FC236}">
                <a16:creationId xmlns:a16="http://schemas.microsoft.com/office/drawing/2014/main" id="{33DE0662-02EF-4E3F-ABBF-BB75989D7170}"/>
              </a:ext>
            </a:extLst>
          </p:cNvPr>
          <p:cNvSpPr/>
          <p:nvPr>
            <p:custDataLst>
              <p:tags r:id="rId54"/>
            </p:custDataLst>
          </p:nvPr>
        </p:nvSpPr>
        <p:spPr bwMode="auto">
          <a:xfrm>
            <a:off x="3403600" y="5186363"/>
            <a:ext cx="5224463" cy="228600"/>
          </a:xfrm>
          <a:prstGeom prst="homePlate">
            <a:avLst>
              <a:gd name="adj" fmla="val 18056"/>
            </a:avLst>
          </a:prstGeom>
          <a:solidFill>
            <a:srgbClr val="85A8ED"/>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900" b="0" i="0" u="none" strike="noStrike" kern="1200" cap="none" spc="0" normalizeH="0" baseline="0" noProof="0" dirty="0">
                <a:ln>
                  <a:noFill/>
                </a:ln>
                <a:solidFill>
                  <a:srgbClr val="000000"/>
                </a:solidFill>
                <a:effectLst/>
                <a:uLnTx/>
                <a:uFillTx/>
                <a:latin typeface="Calibri" panose="020F0502020204030204"/>
                <a:ea typeface="+mn-ea"/>
                <a:cs typeface="+mn-cs"/>
              </a:rPr>
              <a:t>Support of LWG</a:t>
            </a:r>
            <a:endParaRPr kumimoji="0" lang="en-GB" sz="900" b="0"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297" name="Pentagon 296"/>
          <p:cNvSpPr/>
          <p:nvPr>
            <p:custDataLst>
              <p:tags r:id="rId55"/>
            </p:custDataLst>
          </p:nvPr>
        </p:nvSpPr>
        <p:spPr bwMode="gray">
          <a:xfrm>
            <a:off x="8677275" y="2763838"/>
            <a:ext cx="417513" cy="336550"/>
          </a:xfrm>
          <a:prstGeom prst="homePlate">
            <a:avLst>
              <a:gd name="adj" fmla="val 18396"/>
            </a:avLst>
          </a:prstGeom>
          <a:solidFill>
            <a:srgbClr val="0070C0"/>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a:ln>
                  <a:noFill/>
                </a:ln>
                <a:solidFill>
                  <a:prstClr val="white"/>
                </a:solidFill>
                <a:effectLst/>
                <a:uLnTx/>
                <a:uFillTx/>
                <a:latin typeface="Calibri" panose="020F0502020204030204"/>
                <a:ea typeface="+mn-ea"/>
                <a:cs typeface="+mn-cs"/>
              </a:rPr>
              <a:t>Tender  </a:t>
            </a:r>
            <a:fld id="{3B4ADA6B-9F2C-4AEB-8783-52F599FC64D9}" type="datetime' '">
              <a:rPr kumimoji="0" lang="en-GB" altLang="en-US" sz="8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 </a:t>
            </a:fld>
            <a:br>
              <a:rPr kumimoji="0" lang="en-GB" altLang="en-US" sz="800" b="0" i="0" u="none" strike="noStrike" kern="1200" cap="none" spc="0" normalizeH="0" baseline="0" noProof="0">
                <a:ln>
                  <a:noFill/>
                </a:ln>
                <a:solidFill>
                  <a:prstClr val="white"/>
                </a:solidFill>
                <a:effectLst/>
                <a:uLnTx/>
                <a:uFillTx/>
                <a:latin typeface="Calibri" panose="020F0502020204030204"/>
                <a:ea typeface="+mn-ea"/>
                <a:cs typeface="+mn-cs"/>
              </a:rPr>
            </a:br>
            <a:r>
              <a:rPr kumimoji="0" lang="en-GB" altLang="en-US" sz="800" b="0" i="0" u="none" strike="noStrike" kern="1200" cap="none" spc="0" normalizeH="0" baseline="0" noProof="0">
                <a:ln>
                  <a:noFill/>
                </a:ln>
                <a:solidFill>
                  <a:prstClr val="white"/>
                </a:solidFill>
                <a:effectLst/>
                <a:uLnTx/>
                <a:uFillTx/>
                <a:latin typeface="Calibri" panose="020F0502020204030204"/>
                <a:ea typeface="+mn-ea"/>
                <a:cs typeface="+mn-cs"/>
              </a:rPr>
              <a:t>notice</a:t>
            </a:r>
            <a:endParaRPr kumimoji="0" lang="en-GB" sz="800" b="0" i="0" u="none" strike="noStrike" kern="1200" cap="none" spc="0" normalizeH="0" baseline="0" noProof="0" dirty="0">
              <a:ln>
                <a:noFill/>
              </a:ln>
              <a:solidFill>
                <a:prstClr val="white"/>
              </a:solidFill>
              <a:effectLst/>
              <a:uLnTx/>
              <a:uFillTx/>
              <a:latin typeface="Calibri" panose="020F0502020204030204"/>
              <a:ea typeface="+mn-ea"/>
              <a:cs typeface="+mn-cs"/>
              <a:sym typeface="+mn-lt"/>
            </a:endParaRPr>
          </a:p>
        </p:txBody>
      </p:sp>
      <p:sp>
        <p:nvSpPr>
          <p:cNvPr id="227" name="Pentagon 226"/>
          <p:cNvSpPr/>
          <p:nvPr>
            <p:custDataLst>
              <p:tags r:id="rId56"/>
            </p:custDataLst>
          </p:nvPr>
        </p:nvSpPr>
        <p:spPr bwMode="gray">
          <a:xfrm>
            <a:off x="7156450" y="2382838"/>
            <a:ext cx="1495425" cy="336550"/>
          </a:xfrm>
          <a:prstGeom prst="homePlate">
            <a:avLst>
              <a:gd name="adj" fmla="val 18396"/>
            </a:avLst>
          </a:prstGeom>
          <a:solidFill>
            <a:srgbClr val="0070C0"/>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prstClr val="white"/>
                </a:solidFill>
                <a:effectLst/>
                <a:uLnTx/>
                <a:uFillTx/>
                <a:latin typeface="Calibri" panose="020F0502020204030204"/>
                <a:ea typeface="+mn-ea"/>
                <a:cs typeface="+mn-cs"/>
              </a:rPr>
              <a:t>Official specification documentation</a:t>
            </a:r>
            <a:endParaRPr kumimoji="0" lang="en-GB" sz="800" b="0" i="0" u="none" strike="noStrike" kern="1200" cap="none" spc="0" normalizeH="0" baseline="0" noProof="0" dirty="0">
              <a:ln>
                <a:noFill/>
              </a:ln>
              <a:solidFill>
                <a:prstClr val="white"/>
              </a:solidFill>
              <a:effectLst/>
              <a:uLnTx/>
              <a:uFillTx/>
              <a:latin typeface="Calibri" panose="020F0502020204030204"/>
              <a:ea typeface="+mn-ea"/>
              <a:cs typeface="+mn-cs"/>
              <a:sym typeface="+mn-lt"/>
            </a:endParaRPr>
          </a:p>
        </p:txBody>
      </p:sp>
      <p:sp>
        <p:nvSpPr>
          <p:cNvPr id="173" name="Chevron 227">
            <a:extLst>
              <a:ext uri="{FF2B5EF4-FFF2-40B4-BE49-F238E27FC236}">
                <a16:creationId xmlns:a16="http://schemas.microsoft.com/office/drawing/2014/main" id="{7FAC7E2B-E110-402D-B0F0-EC7B65706AD2}"/>
              </a:ext>
            </a:extLst>
          </p:cNvPr>
          <p:cNvSpPr/>
          <p:nvPr>
            <p:custDataLst>
              <p:tags r:id="rId57"/>
            </p:custDataLst>
          </p:nvPr>
        </p:nvSpPr>
        <p:spPr bwMode="auto">
          <a:xfrm>
            <a:off x="7940675" y="1725613"/>
            <a:ext cx="3719513" cy="228600"/>
          </a:xfrm>
          <a:prstGeom prst="homePlate">
            <a:avLst>
              <a:gd name="adj" fmla="val 18056"/>
            </a:avLst>
          </a:prstGeom>
          <a:solidFill>
            <a:schemeClr val="hlink"/>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900" b="0" i="0" u="none" strike="noStrike" kern="1200" cap="none" spc="0" normalizeH="0" baseline="0" noProof="0" dirty="0">
                <a:ln>
                  <a:noFill/>
                </a:ln>
                <a:solidFill>
                  <a:srgbClr val="000000"/>
                </a:solidFill>
                <a:effectLst/>
                <a:uLnTx/>
                <a:uFillTx/>
                <a:latin typeface="Calibri" panose="020F0502020204030204"/>
                <a:ea typeface="+mn-ea"/>
                <a:cs typeface="+mn-cs"/>
              </a:rPr>
              <a:t>Implementation guide </a:t>
            </a:r>
            <a:fld id="{01AA357D-0FAE-4969-B525-948658D86965}" type="datetime'''''''''''''2''''''''.9''''''''.''''''''1''''9'''''''">
              <a:rPr kumimoji="0" lang="en-GB" altLang="en-US" sz="9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2.9.19</a:t>
            </a:fld>
            <a:r>
              <a:rPr kumimoji="0" lang="en-GB" altLang="en-US" sz="9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cs-CZ" altLang="en-US" sz="900" b="0" i="0" u="none" strike="noStrike" kern="1200" cap="none" spc="0" normalizeH="0" baseline="0" noProof="0" dirty="0">
                <a:ln>
                  <a:noFill/>
                </a:ln>
                <a:solidFill>
                  <a:srgbClr val="000000"/>
                </a:solidFill>
                <a:effectLst/>
                <a:uLnTx/>
                <a:uFillTx/>
                <a:latin typeface="Calibri" panose="020F0502020204030204"/>
                <a:ea typeface="+mn-ea"/>
                <a:cs typeface="+mn-cs"/>
              </a:rPr>
              <a:t>- </a:t>
            </a:r>
            <a:fld id="{B6D6782C-077F-479B-8342-948030154FF1}" type="datetime'3''''1.''''12''''''''''''.2''''''''''''''0'''''''''''">
              <a:rPr kumimoji="0" lang="cs-CZ" altLang="en-US" sz="9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ct val="0"/>
                </a:spcBef>
                <a:spcAft>
                  <a:spcPct val="0"/>
                </a:spcAft>
                <a:buClrTx/>
                <a:buSzTx/>
                <a:buFontTx/>
                <a:buNone/>
                <a:tabLst/>
                <a:defRPr/>
              </a:pPr>
              <a:t>31.12.20</a:t>
            </a:fld>
            <a:endParaRPr kumimoji="0" lang="cs-CZ" sz="900" b="0"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200" name="Pentagon 321">
            <a:extLst>
              <a:ext uri="{FF2B5EF4-FFF2-40B4-BE49-F238E27FC236}">
                <a16:creationId xmlns:a16="http://schemas.microsoft.com/office/drawing/2014/main" id="{5F4F1C7A-FF25-44F8-AD45-1E0715453FB9}"/>
              </a:ext>
            </a:extLst>
          </p:cNvPr>
          <p:cNvSpPr/>
          <p:nvPr>
            <p:custDataLst>
              <p:tags r:id="rId58"/>
            </p:custDataLst>
          </p:nvPr>
        </p:nvSpPr>
        <p:spPr bwMode="gray">
          <a:xfrm>
            <a:off x="4899025" y="4364038"/>
            <a:ext cx="3729038" cy="228600"/>
          </a:xfrm>
          <a:prstGeom prst="homePlate">
            <a:avLst>
              <a:gd name="adj" fmla="val 18056"/>
            </a:avLst>
          </a:prstGeom>
          <a:solidFill>
            <a:srgbClr val="E05428"/>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900" b="0" i="0" u="none" strike="noStrike" kern="1200" cap="none" spc="0" normalizeH="0" baseline="0" noProof="0" dirty="0">
                <a:ln>
                  <a:noFill/>
                </a:ln>
                <a:solidFill>
                  <a:prstClr val="white"/>
                </a:solidFill>
                <a:effectLst/>
                <a:uLnTx/>
                <a:uFillTx/>
                <a:latin typeface="Calibri" panose="020F0502020204030204"/>
                <a:ea typeface="+mn-ea"/>
                <a:cs typeface="+mn-cs"/>
                <a:sym typeface="Calibri Light" panose="020F0302020204030204" pitchFamily="34" charset="0"/>
              </a:rPr>
              <a:t>Mandating tendering TSO (power of attorney or agreement</a:t>
            </a:r>
            <a:r>
              <a:rPr kumimoji="0" lang="en-GB" altLang="en-US" sz="9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rPr>
              <a:t>)</a:t>
            </a:r>
            <a:endParaRPr kumimoji="0" lang="en-GB" sz="900" b="0"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sym typeface="Calibri Light" panose="020F0302020204030204" pitchFamily="34" charset="0"/>
            </a:endParaRPr>
          </a:p>
        </p:txBody>
      </p:sp>
      <p:sp>
        <p:nvSpPr>
          <p:cNvPr id="108" name="Pentagon 107"/>
          <p:cNvSpPr/>
          <p:nvPr>
            <p:custDataLst>
              <p:tags r:id="rId59"/>
            </p:custDataLst>
          </p:nvPr>
        </p:nvSpPr>
        <p:spPr bwMode="auto">
          <a:xfrm>
            <a:off x="2814638" y="704850"/>
            <a:ext cx="833438" cy="336550"/>
          </a:xfrm>
          <a:prstGeom prst="homePlate">
            <a:avLst>
              <a:gd name="adj" fmla="val 18396"/>
            </a:avLst>
          </a:prstGeom>
          <a:solidFill>
            <a:schemeClr val="hlink"/>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Reference document</a:t>
            </a:r>
            <a:endParaRPr kumimoji="0" lang="cs-CZ" sz="800" b="0"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138" name="Pentagon 321">
            <a:extLst>
              <a:ext uri="{FF2B5EF4-FFF2-40B4-BE49-F238E27FC236}">
                <a16:creationId xmlns:a16="http://schemas.microsoft.com/office/drawing/2014/main" id="{604496F0-BB3F-4368-8EFD-EB24B6DD32D9}"/>
              </a:ext>
            </a:extLst>
          </p:cNvPr>
          <p:cNvSpPr/>
          <p:nvPr>
            <p:custDataLst>
              <p:tags r:id="rId60"/>
            </p:custDataLst>
          </p:nvPr>
        </p:nvSpPr>
        <p:spPr bwMode="auto">
          <a:xfrm>
            <a:off x="4138613" y="4640263"/>
            <a:ext cx="4513263" cy="228600"/>
          </a:xfrm>
          <a:prstGeom prst="homePlate">
            <a:avLst>
              <a:gd name="adj" fmla="val 18056"/>
            </a:avLst>
          </a:prstGeom>
          <a:solidFill>
            <a:srgbClr val="85A8ED"/>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Calibri" panose="020F0502020204030204"/>
                <a:ea typeface="+mn-ea"/>
                <a:cs typeface="+mn-cs"/>
                <a:sym typeface="+mn-lt"/>
              </a:rPr>
              <a:t>Support of BA  and  IT requirement Catalogue drafting</a:t>
            </a:r>
          </a:p>
        </p:txBody>
      </p:sp>
      <p:sp>
        <p:nvSpPr>
          <p:cNvPr id="140" name="Pentagon 321">
            <a:extLst>
              <a:ext uri="{FF2B5EF4-FFF2-40B4-BE49-F238E27FC236}">
                <a16:creationId xmlns:a16="http://schemas.microsoft.com/office/drawing/2014/main" id="{73A8302D-3FD2-4A4B-89B5-69AB5728A4B8}"/>
              </a:ext>
            </a:extLst>
          </p:cNvPr>
          <p:cNvSpPr/>
          <p:nvPr>
            <p:custDataLst>
              <p:tags r:id="rId61"/>
            </p:custDataLst>
          </p:nvPr>
        </p:nvSpPr>
        <p:spPr bwMode="auto">
          <a:xfrm>
            <a:off x="3403600" y="4913313"/>
            <a:ext cx="2992438" cy="228600"/>
          </a:xfrm>
          <a:prstGeom prst="homePlate">
            <a:avLst>
              <a:gd name="adj" fmla="val 18056"/>
            </a:avLst>
          </a:prstGeom>
          <a:solidFill>
            <a:srgbClr val="85A8ED"/>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900" b="0" i="0" u="none" strike="noStrike" kern="1200" cap="none" spc="0" normalizeH="0" baseline="0" noProof="0" dirty="0">
                <a:ln>
                  <a:noFill/>
                </a:ln>
                <a:solidFill>
                  <a:srgbClr val="000000"/>
                </a:solidFill>
                <a:effectLst/>
                <a:uLnTx/>
                <a:uFillTx/>
                <a:latin typeface="Calibri" panose="020F0502020204030204"/>
                <a:ea typeface="+mn-ea"/>
                <a:cs typeface="+mn-cs"/>
              </a:rPr>
              <a:t>Input</a:t>
            </a:r>
            <a:r>
              <a:rPr kumimoji="0" lang="en-GB" altLang="en-US" sz="8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GB" altLang="en-US" sz="900" b="0" i="0" u="none" strike="noStrike" kern="1200" cap="none" spc="0" normalizeH="0" baseline="0" noProof="0" dirty="0">
                <a:ln>
                  <a:noFill/>
                </a:ln>
                <a:solidFill>
                  <a:srgbClr val="000000"/>
                </a:solidFill>
                <a:effectLst/>
                <a:uLnTx/>
                <a:uFillTx/>
                <a:latin typeface="Calibri" panose="020F0502020204030204"/>
                <a:ea typeface="+mn-ea"/>
                <a:cs typeface="+mn-cs"/>
              </a:rPr>
              <a:t>for decision on hosting</a:t>
            </a:r>
            <a:endParaRPr kumimoji="0" lang="en-GB" sz="900" b="0"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sp>
        <p:nvSpPr>
          <p:cNvPr id="201" name="Pentagon 320">
            <a:extLst>
              <a:ext uri="{FF2B5EF4-FFF2-40B4-BE49-F238E27FC236}">
                <a16:creationId xmlns:a16="http://schemas.microsoft.com/office/drawing/2014/main" id="{858C5150-E505-42BB-88E1-2385E0FE9652}"/>
              </a:ext>
            </a:extLst>
          </p:cNvPr>
          <p:cNvSpPr/>
          <p:nvPr>
            <p:custDataLst>
              <p:tags r:id="rId62"/>
            </p:custDataLst>
          </p:nvPr>
        </p:nvSpPr>
        <p:spPr bwMode="gray">
          <a:xfrm>
            <a:off x="5635625" y="3421063"/>
            <a:ext cx="1079500" cy="304800"/>
          </a:xfrm>
          <a:prstGeom prst="homePlate">
            <a:avLst>
              <a:gd name="adj" fmla="val 18229"/>
            </a:avLst>
          </a:prstGeom>
          <a:solidFill>
            <a:srgbClr val="E05428"/>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squar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700" b="0" i="0" u="none" strike="noStrike" kern="1200" cap="none" spc="0" normalizeH="0" baseline="0" noProof="0" dirty="0">
                <a:ln>
                  <a:noFill/>
                </a:ln>
                <a:solidFill>
                  <a:prstClr val="white"/>
                </a:solidFill>
                <a:effectLst/>
                <a:uLnTx/>
                <a:uFillTx/>
                <a:latin typeface="Calibri" panose="020F0502020204030204"/>
                <a:ea typeface="+mn-ea"/>
                <a:cs typeface="+mn-cs"/>
              </a:rPr>
              <a:t>Determining model of contract</a:t>
            </a:r>
            <a:endParaRPr kumimoji="0" lang="en-GB" sz="700" b="0" i="0" u="none" strike="noStrike" kern="1200" cap="none" spc="0" normalizeH="0" baseline="0" noProof="0" dirty="0">
              <a:ln>
                <a:noFill/>
              </a:ln>
              <a:solidFill>
                <a:prstClr val="white"/>
              </a:solidFill>
              <a:effectLst/>
              <a:uLnTx/>
              <a:uFillTx/>
              <a:latin typeface="Calibri" panose="020F0502020204030204"/>
              <a:ea typeface="+mn-ea"/>
              <a:cs typeface="+mn-cs"/>
              <a:sym typeface="+mn-lt"/>
            </a:endParaRPr>
          </a:p>
        </p:txBody>
      </p:sp>
      <p:sp>
        <p:nvSpPr>
          <p:cNvPr id="235" name="Pentagon 234"/>
          <p:cNvSpPr/>
          <p:nvPr>
            <p:custDataLst>
              <p:tags r:id="rId63"/>
            </p:custDataLst>
          </p:nvPr>
        </p:nvSpPr>
        <p:spPr bwMode="auto">
          <a:xfrm>
            <a:off x="5291138" y="1085850"/>
            <a:ext cx="858838" cy="214313"/>
          </a:xfrm>
          <a:prstGeom prst="homePlate">
            <a:avLst>
              <a:gd name="adj" fmla="val 18519"/>
            </a:avLst>
          </a:prstGeom>
          <a:solidFill>
            <a:schemeClr val="hlink"/>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a:ln>
                  <a:noFill/>
                </a:ln>
                <a:solidFill>
                  <a:srgbClr val="000000"/>
                </a:solidFill>
                <a:effectLst/>
                <a:uLnTx/>
                <a:uFillTx/>
                <a:latin typeface="Calibri" panose="020F0502020204030204"/>
                <a:ea typeface="+mn-ea"/>
                <a:cs typeface="+mn-cs"/>
              </a:rPr>
              <a:t>GAP analysis</a:t>
            </a:r>
            <a:endParaRPr kumimoji="0" lang="en-GB" altLang="en-US" sz="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25" name="Pentagon 224"/>
          <p:cNvSpPr/>
          <p:nvPr>
            <p:custDataLst>
              <p:tags r:id="rId64"/>
            </p:custDataLst>
          </p:nvPr>
        </p:nvSpPr>
        <p:spPr bwMode="gray">
          <a:xfrm>
            <a:off x="8677275" y="3144838"/>
            <a:ext cx="858838" cy="228600"/>
          </a:xfrm>
          <a:prstGeom prst="homePlate">
            <a:avLst>
              <a:gd name="adj" fmla="val 18056"/>
            </a:avLst>
          </a:prstGeom>
          <a:solidFill>
            <a:srgbClr val="0070C0"/>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90488" rIns="0" rtlCol="0" anchor="ct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800" b="0" i="0" u="none" strike="noStrike" kern="1200" cap="none" spc="0" normalizeH="0" baseline="0" noProof="0" err="1">
                <a:ln>
                  <a:noFill/>
                </a:ln>
                <a:solidFill>
                  <a:prstClr val="white"/>
                </a:solidFill>
                <a:effectLst/>
                <a:uLnTx/>
                <a:uFillTx/>
                <a:latin typeface="Calibri" panose="020F0502020204030204"/>
                <a:ea typeface="+mn-ea"/>
                <a:cs typeface="+mn-cs"/>
              </a:rPr>
              <a:t>RfP</a:t>
            </a:r>
            <a:r>
              <a:rPr kumimoji="0" lang="en-GB" altLang="en-US" sz="800" b="0" i="0" u="none" strike="noStrike" kern="1200" cap="none" spc="0" normalizeH="0" baseline="0" noProof="0">
                <a:ln>
                  <a:noFill/>
                </a:ln>
                <a:solidFill>
                  <a:prstClr val="white"/>
                </a:solidFill>
                <a:effectLst/>
                <a:uLnTx/>
                <a:uFillTx/>
                <a:latin typeface="Calibri" panose="020F0502020204030204"/>
                <a:ea typeface="+mn-ea"/>
                <a:cs typeface="+mn-cs"/>
              </a:rPr>
              <a:t> launch</a:t>
            </a:r>
            <a:endParaRPr kumimoji="0" lang="cs-CZ" sz="800" b="0" i="0" u="none" strike="noStrike" kern="1200" cap="none" spc="0" normalizeH="0" baseline="0" noProof="0" dirty="0">
              <a:ln>
                <a:noFill/>
              </a:ln>
              <a:solidFill>
                <a:prstClr val="white"/>
              </a:solidFill>
              <a:effectLst/>
              <a:uLnTx/>
              <a:uFillTx/>
              <a:latin typeface="Calibri" panose="020F0502020204030204"/>
              <a:ea typeface="+mn-ea"/>
              <a:cs typeface="+mn-cs"/>
              <a:sym typeface="+mn-lt"/>
            </a:endParaRPr>
          </a:p>
        </p:txBody>
      </p:sp>
      <p:sp>
        <p:nvSpPr>
          <p:cNvPr id="244" name="Oval 243"/>
          <p:cNvSpPr/>
          <p:nvPr>
            <p:custDataLst>
              <p:tags r:id="rId65"/>
            </p:custDataLst>
          </p:nvPr>
        </p:nvSpPr>
        <p:spPr bwMode="gray">
          <a:xfrm>
            <a:off x="6019800" y="5548313"/>
            <a:ext cx="114300" cy="114300"/>
          </a:xfrm>
          <a:prstGeom prst="ellipse">
            <a:avLst/>
          </a:prstGeom>
          <a:solidFill>
            <a:srgbClr val="C0C0C0"/>
          </a:solidFill>
          <a:ln w="9525" cap="flat" cmpd="sng" algn="ctr">
            <a:solidFill>
              <a:srgbClr val="C0C0C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1" name="Rectangle 170">
            <a:extLst>
              <a:ext uri="{FF2B5EF4-FFF2-40B4-BE49-F238E27FC236}">
                <a16:creationId xmlns:a16="http://schemas.microsoft.com/office/drawing/2014/main" id="{521361C4-249E-4EF7-AD08-E649978F1EAA}"/>
              </a:ext>
            </a:extLst>
          </p:cNvPr>
          <p:cNvSpPr/>
          <p:nvPr>
            <p:custDataLst>
              <p:tags r:id="rId66"/>
            </p:custDataLst>
          </p:nvPr>
        </p:nvSpPr>
        <p:spPr bwMode="auto">
          <a:xfrm>
            <a:off x="735013" y="1749425"/>
            <a:ext cx="1141413" cy="182563"/>
          </a:xfrm>
          <a:prstGeom prst="rect">
            <a:avLst/>
          </a:prstGeom>
          <a:noFill/>
          <a:ln w="400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00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rPr>
              <a:t>Implementation</a:t>
            </a: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rPr>
              <a:t>guide</a:t>
            </a:r>
            <a:r>
              <a:rPr kumimoji="0" lang="cs-CZ" sz="12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GB" sz="1200" b="0" i="0" u="none" strike="noStrike" kern="1200" cap="none" spc="0" normalizeH="0" baseline="0" noProof="0" dirty="0">
                <a:ln>
                  <a:noFill/>
                </a:ln>
                <a:solidFill>
                  <a:srgbClr val="000000"/>
                </a:solidFill>
                <a:effectLst/>
                <a:uLnTx/>
                <a:uFillTx/>
                <a:latin typeface="Calibri" panose="020F0502020204030204"/>
                <a:ea typeface="+mn-ea"/>
                <a:cs typeface="+mn-cs"/>
              </a:rPr>
              <a:t> </a:t>
            </a:r>
            <a:endParaRPr kumimoji="0" lang="en-GB" sz="6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79" name="Rectangle 278"/>
          <p:cNvSpPr/>
          <p:nvPr>
            <p:custDataLst>
              <p:tags r:id="rId67"/>
            </p:custDataLst>
          </p:nvPr>
        </p:nvSpPr>
        <p:spPr bwMode="auto">
          <a:xfrm>
            <a:off x="735013" y="2033588"/>
            <a:ext cx="931863" cy="273050"/>
          </a:xfrm>
          <a:prstGeom prst="rect">
            <a:avLst/>
          </a:prstGeom>
          <a:noFill/>
          <a:ln w="400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00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900" b="1" i="0" u="none" strike="noStrike" kern="1200" cap="none" spc="0" normalizeH="0" baseline="0" noProof="0" dirty="0">
                <a:ln>
                  <a:noFill/>
                </a:ln>
                <a:solidFill>
                  <a:srgbClr val="000000"/>
                </a:solidFill>
                <a:effectLst/>
                <a:uLnTx/>
                <a:uFillTx/>
                <a:latin typeface="Calibri" panose="020F0502020204030204"/>
                <a:ea typeface="+mn-ea"/>
                <a:cs typeface="+mn-cs"/>
              </a:rPr>
              <a:t>Tender preparation</a:t>
            </a:r>
          </a:p>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900" b="1" i="0" u="none" strike="noStrike" kern="1200" cap="none" spc="0" normalizeH="0" baseline="0" noProof="0" dirty="0">
                <a:ln>
                  <a:noFill/>
                </a:ln>
                <a:solidFill>
                  <a:srgbClr val="000000"/>
                </a:solidFill>
                <a:effectLst/>
                <a:uLnTx/>
                <a:uFillTx/>
                <a:latin typeface="Calibri" panose="020F0502020204030204"/>
                <a:ea typeface="+mn-ea"/>
                <a:cs typeface="+mn-cs"/>
              </a:rPr>
              <a:t> </a:t>
            </a:r>
            <a:endPar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47" name="Rectangle 346"/>
          <p:cNvSpPr/>
          <p:nvPr>
            <p:custDataLst>
              <p:tags r:id="rId68"/>
            </p:custDataLst>
          </p:nvPr>
        </p:nvSpPr>
        <p:spPr bwMode="auto">
          <a:xfrm>
            <a:off x="735013" y="2811463"/>
            <a:ext cx="935038" cy="242888"/>
          </a:xfrm>
          <a:prstGeom prst="rect">
            <a:avLst/>
          </a:prstGeom>
          <a:noFill/>
          <a:ln w="400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00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900" b="1" i="0" u="none" strike="noStrike" kern="1200" cap="none" spc="0" normalizeH="0" baseline="0" noProof="0" dirty="0">
                <a:ln>
                  <a:noFill/>
                </a:ln>
                <a:solidFill>
                  <a:srgbClr val="000000"/>
                </a:solidFill>
                <a:effectLst/>
                <a:uLnTx/>
                <a:uFillTx/>
                <a:latin typeface="Calibri" panose="020F0502020204030204"/>
                <a:ea typeface="+mn-ea"/>
                <a:cs typeface="+mn-cs"/>
              </a:rPr>
              <a:t>Tender for provider</a:t>
            </a:r>
            <a:endParaRPr kumimoji="0" lang="en-GB" sz="10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ct val="0"/>
              </a:spcBef>
              <a:spcAft>
                <a:spcPct val="0"/>
              </a:spcAft>
              <a:buClrTx/>
              <a:buSzTx/>
              <a:buFontTx/>
              <a:buNone/>
              <a:tabLst/>
              <a:defRPr/>
            </a:pPr>
            <a:endParaRPr kumimoji="0" lang="en-GB" sz="7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69" name="Rectangle 268"/>
          <p:cNvSpPr/>
          <p:nvPr>
            <p:custDataLst>
              <p:tags r:id="rId69"/>
            </p:custDataLst>
          </p:nvPr>
        </p:nvSpPr>
        <p:spPr bwMode="auto">
          <a:xfrm>
            <a:off x="735013" y="1444625"/>
            <a:ext cx="1349375" cy="136525"/>
          </a:xfrm>
          <a:prstGeom prst="rect">
            <a:avLst/>
          </a:prstGeom>
          <a:noFill/>
          <a:ln w="400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00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900" b="1" i="0" u="none" strike="noStrike" kern="1200" cap="none" spc="0" normalizeH="0" baseline="0" noProof="0" dirty="0">
                <a:ln>
                  <a:noFill/>
                </a:ln>
                <a:solidFill>
                  <a:srgbClr val="000000"/>
                </a:solidFill>
                <a:effectLst/>
                <a:uLnTx/>
                <a:uFillTx/>
                <a:latin typeface="Calibri" panose="020F0502020204030204"/>
                <a:ea typeface="+mn-ea"/>
                <a:cs typeface="+mn-cs"/>
              </a:rPr>
              <a:t>Requirement Catalogue (RC)</a:t>
            </a:r>
            <a:endPar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137" name="Rectangle 136">
            <a:extLst>
              <a:ext uri="{FF2B5EF4-FFF2-40B4-BE49-F238E27FC236}">
                <a16:creationId xmlns:a16="http://schemas.microsoft.com/office/drawing/2014/main" id="{ECE5CDF7-28EB-4F91-91E1-CD36C4944770}"/>
              </a:ext>
            </a:extLst>
          </p:cNvPr>
          <p:cNvSpPr/>
          <p:nvPr>
            <p:custDataLst>
              <p:tags r:id="rId70"/>
            </p:custDataLst>
          </p:nvPr>
        </p:nvSpPr>
        <p:spPr bwMode="auto">
          <a:xfrm>
            <a:off x="735013" y="4686300"/>
            <a:ext cx="87313" cy="136525"/>
          </a:xfrm>
          <a:prstGeom prst="rect">
            <a:avLst/>
          </a:prstGeom>
          <a:noFill/>
          <a:ln w="400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00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900" b="1" i="0" u="none" strike="noStrike" kern="1200" cap="none" spc="0" normalizeH="0" baseline="0" noProof="0" dirty="0">
                <a:ln>
                  <a:noFill/>
                </a:ln>
                <a:solidFill>
                  <a:srgbClr val="000000"/>
                </a:solidFill>
                <a:effectLst/>
                <a:uLnTx/>
                <a:uFillTx/>
                <a:latin typeface="Calibri" panose="020F0502020204030204"/>
                <a:ea typeface="+mn-ea"/>
                <a:cs typeface="+mn-cs"/>
              </a:rPr>
              <a:t>IT</a:t>
            </a:r>
            <a:endPar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20" name="Rectangle 319"/>
          <p:cNvSpPr/>
          <p:nvPr>
            <p:custDataLst>
              <p:tags r:id="rId71"/>
            </p:custDataLst>
          </p:nvPr>
        </p:nvSpPr>
        <p:spPr bwMode="auto">
          <a:xfrm>
            <a:off x="735013" y="3505200"/>
            <a:ext cx="839788" cy="136525"/>
          </a:xfrm>
          <a:prstGeom prst="rect">
            <a:avLst/>
          </a:prstGeom>
          <a:noFill/>
          <a:ln w="400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00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900" b="1" i="0" u="none" strike="noStrike" kern="1200" cap="none" spc="0" normalizeH="0" baseline="0" noProof="0" dirty="0">
                <a:ln>
                  <a:noFill/>
                </a:ln>
                <a:solidFill>
                  <a:srgbClr val="000000"/>
                </a:solidFill>
                <a:effectLst/>
                <a:uLnTx/>
                <a:uFillTx/>
                <a:latin typeface="Calibri" panose="020F0502020204030204"/>
                <a:ea typeface="+mn-ea"/>
                <a:cs typeface="+mn-cs"/>
              </a:rPr>
              <a:t>Legal preparation</a:t>
            </a:r>
            <a:endPar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77" name="Rectangle 276"/>
          <p:cNvSpPr/>
          <p:nvPr>
            <p:custDataLst>
              <p:tags r:id="rId72"/>
            </p:custDataLst>
          </p:nvPr>
        </p:nvSpPr>
        <p:spPr bwMode="auto">
          <a:xfrm>
            <a:off x="735013" y="804863"/>
            <a:ext cx="1001713" cy="136525"/>
          </a:xfrm>
          <a:prstGeom prst="rect">
            <a:avLst/>
          </a:prstGeom>
          <a:noFill/>
          <a:ln w="400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00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rPr>
              <a:t>Reference Document</a:t>
            </a:r>
          </a:p>
        </p:txBody>
      </p:sp>
      <p:sp>
        <p:nvSpPr>
          <p:cNvPr id="268" name="Rectangle 267"/>
          <p:cNvSpPr/>
          <p:nvPr>
            <p:custDataLst>
              <p:tags r:id="rId73"/>
            </p:custDataLst>
          </p:nvPr>
        </p:nvSpPr>
        <p:spPr bwMode="auto">
          <a:xfrm>
            <a:off x="735013" y="1123950"/>
            <a:ext cx="608013" cy="136525"/>
          </a:xfrm>
          <a:prstGeom prst="rect">
            <a:avLst/>
          </a:prstGeom>
          <a:noFill/>
          <a:ln w="400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00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900" b="1" i="0" u="none" strike="noStrike" kern="1200" cap="none" spc="0" normalizeH="0" baseline="0" noProof="0" dirty="0">
                <a:ln>
                  <a:noFill/>
                </a:ln>
                <a:solidFill>
                  <a:srgbClr val="000000"/>
                </a:solidFill>
                <a:effectLst/>
                <a:uLnTx/>
                <a:uFillTx/>
                <a:latin typeface="Calibri" panose="020F0502020204030204"/>
                <a:ea typeface="+mn-ea"/>
                <a:cs typeface="+mn-cs"/>
              </a:rPr>
              <a:t>GAP analysis</a:t>
            </a:r>
            <a:endParaRPr kumimoji="0" lang="en-GB" sz="900" b="1"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71" name="Rectangle 270"/>
          <p:cNvSpPr/>
          <p:nvPr>
            <p:custDataLst>
              <p:tags r:id="rId74"/>
            </p:custDataLst>
          </p:nvPr>
        </p:nvSpPr>
        <p:spPr bwMode="auto">
          <a:xfrm>
            <a:off x="735013" y="427038"/>
            <a:ext cx="1900238" cy="244475"/>
          </a:xfrm>
          <a:prstGeom prst="rect">
            <a:avLst/>
          </a:prstGeom>
          <a:noFill/>
          <a:ln w="400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00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1600" b="1" i="0" u="none" strike="noStrike" kern="1200" cap="none" spc="0" normalizeH="0" baseline="0" noProof="0" dirty="0">
                <a:ln>
                  <a:noFill/>
                </a:ln>
                <a:solidFill>
                  <a:srgbClr val="000000"/>
                </a:solidFill>
                <a:effectLst/>
                <a:uLnTx/>
                <a:uFillTx/>
                <a:latin typeface="Calibri" panose="020F0502020204030204"/>
                <a:ea typeface="+mn-ea"/>
                <a:cs typeface="+mn-cs"/>
                <a:sym typeface="+mn-lt"/>
              </a:rPr>
              <a:t>Platform development</a:t>
            </a:r>
            <a:endParaRPr kumimoji="0" lang="cs-CZ" sz="1600" b="1" i="0" u="none" strike="noStrike" kern="1200" cap="none" spc="0" normalizeH="0" baseline="0" noProof="0" dirty="0">
              <a:ln>
                <a:noFill/>
              </a:ln>
              <a:solidFill>
                <a:srgbClr val="000000"/>
              </a:solidFill>
              <a:effectLst/>
              <a:uLnTx/>
              <a:uFillTx/>
              <a:latin typeface="Calibri" panose="020F0502020204030204"/>
              <a:ea typeface="+mn-ea"/>
              <a:cs typeface="+mn-cs"/>
              <a:sym typeface="+mn-lt"/>
            </a:endParaRPr>
          </a:p>
        </p:txBody>
      </p:sp>
      <p:grpSp>
        <p:nvGrpSpPr>
          <p:cNvPr id="119" name="Group 118">
            <a:extLst>
              <a:ext uri="{FF2B5EF4-FFF2-40B4-BE49-F238E27FC236}">
                <a16:creationId xmlns:a16="http://schemas.microsoft.com/office/drawing/2014/main" id="{C8C77A0B-2FAA-422C-A3D1-DC8456427B1E}"/>
              </a:ext>
            </a:extLst>
          </p:cNvPr>
          <p:cNvGrpSpPr/>
          <p:nvPr/>
        </p:nvGrpSpPr>
        <p:grpSpPr>
          <a:xfrm>
            <a:off x="778669" y="5747131"/>
            <a:ext cx="1072751" cy="230832"/>
            <a:chOff x="3501632" y="3363073"/>
            <a:chExt cx="1072751" cy="230832"/>
          </a:xfrm>
        </p:grpSpPr>
        <p:sp>
          <p:nvSpPr>
            <p:cNvPr id="136" name="TextBox 135">
              <a:extLst>
                <a:ext uri="{FF2B5EF4-FFF2-40B4-BE49-F238E27FC236}">
                  <a16:creationId xmlns:a16="http://schemas.microsoft.com/office/drawing/2014/main" id="{B923BC1A-0E13-4BE0-A287-1D48BE33C2FD}"/>
                </a:ext>
              </a:extLst>
            </p:cNvPr>
            <p:cNvSpPr txBox="1"/>
            <p:nvPr/>
          </p:nvSpPr>
          <p:spPr>
            <a:xfrm>
              <a:off x="3683000" y="3363073"/>
              <a:ext cx="891383"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Calibri Light" panose="020F0302020204030204"/>
                  <a:ea typeface="+mn-ea"/>
                  <a:cs typeface="+mn-cs"/>
                </a:rPr>
                <a:t>NRA’s Deadline</a:t>
              </a:r>
              <a:endParaRPr kumimoji="0" lang="cs-CZ" sz="900" b="0" i="0" u="none" strike="noStrike" kern="1200" cap="none" spc="0" normalizeH="0" baseline="0" noProof="0" dirty="0">
                <a:ln>
                  <a:noFill/>
                </a:ln>
                <a:solidFill>
                  <a:srgbClr val="000000"/>
                </a:solidFill>
                <a:effectLst/>
                <a:uLnTx/>
                <a:uFillTx/>
                <a:latin typeface="Calibri Light" panose="020F0302020204030204"/>
                <a:ea typeface="+mn-ea"/>
                <a:cs typeface="+mn-cs"/>
              </a:endParaRPr>
            </a:p>
          </p:txBody>
        </p:sp>
        <p:sp>
          <p:nvSpPr>
            <p:cNvPr id="130" name="Oval 129">
              <a:extLst>
                <a:ext uri="{FF2B5EF4-FFF2-40B4-BE49-F238E27FC236}">
                  <a16:creationId xmlns:a16="http://schemas.microsoft.com/office/drawing/2014/main" id="{CD374C5E-89D6-482F-BFE9-4177890CA01A}"/>
                </a:ext>
              </a:extLst>
            </p:cNvPr>
            <p:cNvSpPr/>
            <p:nvPr/>
          </p:nvSpPr>
          <p:spPr>
            <a:xfrm>
              <a:off x="3501632" y="3436299"/>
              <a:ext cx="92869" cy="92869"/>
            </a:xfrm>
            <a:prstGeom prst="ellipse">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900" b="0" i="0" u="none" strike="noStrike" kern="1200" cap="none" spc="0" normalizeH="0" baseline="0" noProof="0">
                <a:ln>
                  <a:noFill/>
                </a:ln>
                <a:solidFill>
                  <a:prstClr val="white"/>
                </a:solidFill>
                <a:effectLst/>
                <a:uLnTx/>
                <a:uFillTx/>
                <a:latin typeface="Calibri Light" panose="020F0302020204030204"/>
                <a:ea typeface="+mn-ea"/>
                <a:cs typeface="+mn-cs"/>
              </a:endParaRPr>
            </a:p>
          </p:txBody>
        </p:sp>
      </p:grpSp>
      <p:sp>
        <p:nvSpPr>
          <p:cNvPr id="252" name="Callout: Bent Line 251">
            <a:extLst>
              <a:ext uri="{FF2B5EF4-FFF2-40B4-BE49-F238E27FC236}">
                <a16:creationId xmlns:a16="http://schemas.microsoft.com/office/drawing/2014/main" id="{531844F3-49B8-4F65-B647-F67333F8DED1}"/>
              </a:ext>
            </a:extLst>
          </p:cNvPr>
          <p:cNvSpPr/>
          <p:nvPr/>
        </p:nvSpPr>
        <p:spPr>
          <a:xfrm>
            <a:off x="8115300" y="95250"/>
            <a:ext cx="3554413" cy="269875"/>
          </a:xfrm>
          <a:prstGeom prst="borderCallout2">
            <a:avLst>
              <a:gd name="adj1" fmla="val 54044"/>
              <a:gd name="adj2" fmla="val -562"/>
              <a:gd name="adj3" fmla="val 82280"/>
              <a:gd name="adj4" fmla="val -10236"/>
              <a:gd name="adj5" fmla="val 363088"/>
              <a:gd name="adj6" fmla="val -25228"/>
            </a:avLst>
          </a:prstGeom>
          <a:noFill/>
          <a:ln w="3175">
            <a:solidFill>
              <a:srgbClr val="C30C3E"/>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C30C3E"/>
                </a:solidFill>
                <a:effectLst/>
                <a:uLnTx/>
                <a:uFillTx/>
                <a:latin typeface="Calibri" panose="020F0502020204030204"/>
                <a:ea typeface="+mn-ea"/>
                <a:cs typeface="+mn-cs"/>
              </a:rPr>
              <a:t>Potential trigger for planning adjustment</a:t>
            </a:r>
            <a:endParaRPr kumimoji="0" lang="cs-CZ" sz="1200" b="0" i="0" u="none" strike="noStrike" kern="1200" cap="none" spc="0" normalizeH="0" baseline="0" noProof="0" dirty="0">
              <a:ln>
                <a:noFill/>
              </a:ln>
              <a:solidFill>
                <a:srgbClr val="C30C3E"/>
              </a:solidFill>
              <a:effectLst/>
              <a:uLnTx/>
              <a:uFillTx/>
              <a:latin typeface="Calibri" panose="020F0502020204030204"/>
              <a:ea typeface="+mn-ea"/>
              <a:cs typeface="+mn-cs"/>
            </a:endParaRPr>
          </a:p>
        </p:txBody>
      </p:sp>
      <p:cxnSp>
        <p:nvCxnSpPr>
          <p:cNvPr id="175" name="Straight Connector 174">
            <a:extLst>
              <a:ext uri="{FF2B5EF4-FFF2-40B4-BE49-F238E27FC236}">
                <a16:creationId xmlns:a16="http://schemas.microsoft.com/office/drawing/2014/main" id="{37645403-1203-4683-83EA-81336549944B}"/>
              </a:ext>
            </a:extLst>
          </p:cNvPr>
          <p:cNvCxnSpPr/>
          <p:nvPr>
            <p:custDataLst>
              <p:tags r:id="rId75"/>
            </p:custDataLst>
          </p:nvPr>
        </p:nvCxnSpPr>
        <p:spPr bwMode="gray">
          <a:xfrm>
            <a:off x="3059907" y="721577"/>
            <a:ext cx="0" cy="4910138"/>
          </a:xfrm>
          <a:prstGeom prst="line">
            <a:avLst/>
          </a:prstGeom>
          <a:ln w="19050" cap="flat" cmpd="sng" algn="ctr">
            <a:solidFill>
              <a:srgbClr val="7740B5"/>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4877DFB-7223-489E-8F93-FF6B024BE3EC}"/>
              </a:ext>
            </a:extLst>
          </p:cNvPr>
          <p:cNvCxnSpPr/>
          <p:nvPr>
            <p:custDataLst>
              <p:tags r:id="rId76"/>
            </p:custDataLst>
          </p:nvPr>
        </p:nvCxnSpPr>
        <p:spPr bwMode="gray">
          <a:xfrm>
            <a:off x="5300823" y="704850"/>
            <a:ext cx="0" cy="4910138"/>
          </a:xfrm>
          <a:prstGeom prst="line">
            <a:avLst/>
          </a:prstGeom>
          <a:ln w="19050" cap="flat" cmpd="sng" algn="ctr">
            <a:solidFill>
              <a:srgbClr val="7740B5"/>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E77D9151-8FC0-421A-AFC3-528E5756704A}"/>
              </a:ext>
            </a:extLst>
          </p:cNvPr>
          <p:cNvCxnSpPr/>
          <p:nvPr>
            <p:custDataLst>
              <p:tags r:id="rId77"/>
            </p:custDataLst>
          </p:nvPr>
        </p:nvCxnSpPr>
        <p:spPr bwMode="gray">
          <a:xfrm>
            <a:off x="5849463" y="689769"/>
            <a:ext cx="0" cy="4910138"/>
          </a:xfrm>
          <a:prstGeom prst="line">
            <a:avLst/>
          </a:prstGeom>
          <a:ln w="19050" cap="flat" cmpd="sng" algn="ctr">
            <a:solidFill>
              <a:srgbClr val="7740B5"/>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DD74B9FB-A961-4F0F-AC77-1086AAB41174}"/>
              </a:ext>
            </a:extLst>
          </p:cNvPr>
          <p:cNvCxnSpPr/>
          <p:nvPr>
            <p:custDataLst>
              <p:tags r:id="rId78"/>
            </p:custDataLst>
          </p:nvPr>
        </p:nvCxnSpPr>
        <p:spPr bwMode="gray">
          <a:xfrm>
            <a:off x="8162134" y="686911"/>
            <a:ext cx="0" cy="4910138"/>
          </a:xfrm>
          <a:prstGeom prst="line">
            <a:avLst/>
          </a:prstGeom>
          <a:ln w="19050" cap="flat" cmpd="sng" algn="ctr">
            <a:solidFill>
              <a:srgbClr val="7740B5"/>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B9B81882-F847-490D-8656-BE2C25EAEA6D}"/>
              </a:ext>
            </a:extLst>
          </p:cNvPr>
          <p:cNvCxnSpPr/>
          <p:nvPr>
            <p:custDataLst>
              <p:tags r:id="rId79"/>
            </p:custDataLst>
          </p:nvPr>
        </p:nvCxnSpPr>
        <p:spPr bwMode="gray">
          <a:xfrm>
            <a:off x="9302276" y="671513"/>
            <a:ext cx="0" cy="4910138"/>
          </a:xfrm>
          <a:prstGeom prst="line">
            <a:avLst/>
          </a:prstGeom>
          <a:ln w="19050" cap="flat" cmpd="sng" algn="ctr">
            <a:solidFill>
              <a:srgbClr val="7740B5"/>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D43089EF-ED4C-47AB-8856-52793EC0741B}"/>
              </a:ext>
            </a:extLst>
          </p:cNvPr>
          <p:cNvCxnSpPr/>
          <p:nvPr>
            <p:custDataLst>
              <p:tags r:id="rId80"/>
            </p:custDataLst>
          </p:nvPr>
        </p:nvCxnSpPr>
        <p:spPr bwMode="auto">
          <a:xfrm>
            <a:off x="9412288" y="686911"/>
            <a:ext cx="0" cy="4741863"/>
          </a:xfrm>
          <a:prstGeom prst="line">
            <a:avLst/>
          </a:prstGeom>
          <a:ln w="317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9EB7F046-D86F-430E-8345-7E56D8BC58BA}"/>
              </a:ext>
            </a:extLst>
          </p:cNvPr>
          <p:cNvCxnSpPr/>
          <p:nvPr>
            <p:custDataLst>
              <p:tags r:id="rId81"/>
            </p:custDataLst>
          </p:nvPr>
        </p:nvCxnSpPr>
        <p:spPr bwMode="gray">
          <a:xfrm>
            <a:off x="10473055" y="671513"/>
            <a:ext cx="0" cy="4910138"/>
          </a:xfrm>
          <a:prstGeom prst="line">
            <a:avLst/>
          </a:prstGeom>
          <a:ln w="19050" cap="flat" cmpd="sng" algn="ctr">
            <a:solidFill>
              <a:srgbClr val="7740B5"/>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2" name="Diamond 61">
            <a:extLst>
              <a:ext uri="{FF2B5EF4-FFF2-40B4-BE49-F238E27FC236}">
                <a16:creationId xmlns:a16="http://schemas.microsoft.com/office/drawing/2014/main" id="{A875EB2F-D20E-48DB-A96F-413C1E3D1D38}"/>
              </a:ext>
            </a:extLst>
          </p:cNvPr>
          <p:cNvSpPr/>
          <p:nvPr>
            <p:custDataLst>
              <p:tags r:id="rId82"/>
            </p:custDataLst>
          </p:nvPr>
        </p:nvSpPr>
        <p:spPr bwMode="gray">
          <a:xfrm>
            <a:off x="3983038" y="5548313"/>
            <a:ext cx="114300" cy="114300"/>
          </a:xfrm>
          <a:prstGeom prst="diamond">
            <a:avLst/>
          </a:prstGeom>
          <a:solidFill>
            <a:srgbClr val="7740B5"/>
          </a:solidFill>
          <a:ln w="9525" cap="flat" cmpd="sng" algn="ctr">
            <a:solidFill>
              <a:srgbClr val="7740B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9" name="Diamond 188">
            <a:extLst>
              <a:ext uri="{FF2B5EF4-FFF2-40B4-BE49-F238E27FC236}">
                <a16:creationId xmlns:a16="http://schemas.microsoft.com/office/drawing/2014/main" id="{87AF2581-273D-47E7-A6E1-D9157BCE200E}"/>
              </a:ext>
            </a:extLst>
          </p:cNvPr>
          <p:cNvSpPr/>
          <p:nvPr>
            <p:custDataLst>
              <p:tags r:id="rId83"/>
            </p:custDataLst>
          </p:nvPr>
        </p:nvSpPr>
        <p:spPr bwMode="gray">
          <a:xfrm>
            <a:off x="5242878" y="5558473"/>
            <a:ext cx="114300" cy="114300"/>
          </a:xfrm>
          <a:prstGeom prst="diamond">
            <a:avLst/>
          </a:prstGeom>
          <a:solidFill>
            <a:srgbClr val="7740B5"/>
          </a:solidFill>
          <a:ln w="9525" cap="flat" cmpd="sng" algn="ctr">
            <a:solidFill>
              <a:srgbClr val="7740B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0" name="Diamond 189">
            <a:extLst>
              <a:ext uri="{FF2B5EF4-FFF2-40B4-BE49-F238E27FC236}">
                <a16:creationId xmlns:a16="http://schemas.microsoft.com/office/drawing/2014/main" id="{1FB1E77C-BB25-4AEE-A118-3B360A35B420}"/>
              </a:ext>
            </a:extLst>
          </p:cNvPr>
          <p:cNvSpPr/>
          <p:nvPr>
            <p:custDataLst>
              <p:tags r:id="rId84"/>
            </p:custDataLst>
          </p:nvPr>
        </p:nvSpPr>
        <p:spPr bwMode="gray">
          <a:xfrm>
            <a:off x="5791518" y="5578793"/>
            <a:ext cx="114300" cy="114300"/>
          </a:xfrm>
          <a:prstGeom prst="diamond">
            <a:avLst/>
          </a:prstGeom>
          <a:solidFill>
            <a:srgbClr val="7740B5"/>
          </a:solidFill>
          <a:ln w="9525" cap="flat" cmpd="sng" algn="ctr">
            <a:solidFill>
              <a:srgbClr val="7740B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2" name="Diamond 191">
            <a:extLst>
              <a:ext uri="{FF2B5EF4-FFF2-40B4-BE49-F238E27FC236}">
                <a16:creationId xmlns:a16="http://schemas.microsoft.com/office/drawing/2014/main" id="{2E4221F6-33D3-4595-AC79-1B873CB1069C}"/>
              </a:ext>
            </a:extLst>
          </p:cNvPr>
          <p:cNvSpPr/>
          <p:nvPr>
            <p:custDataLst>
              <p:tags r:id="rId85"/>
            </p:custDataLst>
          </p:nvPr>
        </p:nvSpPr>
        <p:spPr bwMode="gray">
          <a:xfrm>
            <a:off x="8105458" y="5538153"/>
            <a:ext cx="114300" cy="114300"/>
          </a:xfrm>
          <a:prstGeom prst="diamond">
            <a:avLst/>
          </a:prstGeom>
          <a:solidFill>
            <a:srgbClr val="7740B5"/>
          </a:solidFill>
          <a:ln w="9525" cap="flat" cmpd="sng" algn="ctr">
            <a:solidFill>
              <a:srgbClr val="7740B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4" name="Diamond 193">
            <a:extLst>
              <a:ext uri="{FF2B5EF4-FFF2-40B4-BE49-F238E27FC236}">
                <a16:creationId xmlns:a16="http://schemas.microsoft.com/office/drawing/2014/main" id="{487301E5-075A-420B-BD21-9A6DA1346AFA}"/>
              </a:ext>
            </a:extLst>
          </p:cNvPr>
          <p:cNvSpPr/>
          <p:nvPr>
            <p:custDataLst>
              <p:tags r:id="rId86"/>
            </p:custDataLst>
          </p:nvPr>
        </p:nvSpPr>
        <p:spPr bwMode="gray">
          <a:xfrm>
            <a:off x="9243378" y="5558473"/>
            <a:ext cx="114300" cy="114300"/>
          </a:xfrm>
          <a:prstGeom prst="diamond">
            <a:avLst/>
          </a:prstGeom>
          <a:solidFill>
            <a:srgbClr val="7740B5"/>
          </a:solidFill>
          <a:ln w="9525" cap="flat" cmpd="sng" algn="ctr">
            <a:solidFill>
              <a:srgbClr val="7740B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5" name="Diamond 194">
            <a:extLst>
              <a:ext uri="{FF2B5EF4-FFF2-40B4-BE49-F238E27FC236}">
                <a16:creationId xmlns:a16="http://schemas.microsoft.com/office/drawing/2014/main" id="{57DF59A6-7FFF-436C-AF81-7B70993B8812}"/>
              </a:ext>
            </a:extLst>
          </p:cNvPr>
          <p:cNvSpPr/>
          <p:nvPr>
            <p:custDataLst>
              <p:tags r:id="rId87"/>
            </p:custDataLst>
          </p:nvPr>
        </p:nvSpPr>
        <p:spPr bwMode="gray">
          <a:xfrm>
            <a:off x="10427018" y="5548313"/>
            <a:ext cx="114300" cy="114300"/>
          </a:xfrm>
          <a:prstGeom prst="diamond">
            <a:avLst/>
          </a:prstGeom>
          <a:solidFill>
            <a:srgbClr val="7740B5"/>
          </a:solidFill>
          <a:ln w="9525" cap="flat" cmpd="sng" algn="ctr">
            <a:solidFill>
              <a:srgbClr val="7740B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9" name="Diamond 198">
            <a:extLst>
              <a:ext uri="{FF2B5EF4-FFF2-40B4-BE49-F238E27FC236}">
                <a16:creationId xmlns:a16="http://schemas.microsoft.com/office/drawing/2014/main" id="{A713EA6A-3ECC-4CDA-8789-7B839AA59FD9}"/>
              </a:ext>
            </a:extLst>
          </p:cNvPr>
          <p:cNvSpPr/>
          <p:nvPr>
            <p:custDataLst>
              <p:tags r:id="rId88"/>
            </p:custDataLst>
          </p:nvPr>
        </p:nvSpPr>
        <p:spPr bwMode="gray">
          <a:xfrm>
            <a:off x="2997518" y="5517833"/>
            <a:ext cx="114300" cy="114300"/>
          </a:xfrm>
          <a:prstGeom prst="diamond">
            <a:avLst/>
          </a:prstGeom>
          <a:solidFill>
            <a:srgbClr val="7740B5"/>
          </a:solidFill>
          <a:ln w="9525" cap="flat" cmpd="sng" algn="ctr">
            <a:solidFill>
              <a:srgbClr val="7740B5"/>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cs-CZ"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083164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ACAC01B-6E7A-4AFD-B50E-4A910A02FCB0}"/>
              </a:ext>
            </a:extLst>
          </p:cNvPr>
          <p:cNvSpPr>
            <a:spLocks noGrp="1"/>
          </p:cNvSpPr>
          <p:nvPr>
            <p:ph type="title"/>
          </p:nvPr>
        </p:nvSpPr>
        <p:spPr/>
        <p:txBody>
          <a:bodyPr/>
          <a:lstStyle/>
          <a:p>
            <a:r>
              <a:rPr lang="en-US" dirty="0"/>
              <a:t>Technical work presently being performed in MARI</a:t>
            </a:r>
          </a:p>
        </p:txBody>
      </p:sp>
      <p:pic>
        <p:nvPicPr>
          <p:cNvPr id="3" name="Billede 2">
            <a:extLst>
              <a:ext uri="{FF2B5EF4-FFF2-40B4-BE49-F238E27FC236}">
                <a16:creationId xmlns:a16="http://schemas.microsoft.com/office/drawing/2014/main" id="{3DF385E8-FA46-4255-8C06-AD4F619D99A3}"/>
              </a:ext>
            </a:extLst>
          </p:cNvPr>
          <p:cNvPicPr>
            <a:picLocks noChangeAspect="1"/>
          </p:cNvPicPr>
          <p:nvPr/>
        </p:nvPicPr>
        <p:blipFill>
          <a:blip r:embed="rId2"/>
          <a:stretch>
            <a:fillRect/>
          </a:stretch>
        </p:blipFill>
        <p:spPr>
          <a:xfrm>
            <a:off x="587374" y="1556987"/>
            <a:ext cx="7390100" cy="4176029"/>
          </a:xfrm>
          <a:prstGeom prst="rect">
            <a:avLst/>
          </a:prstGeom>
        </p:spPr>
      </p:pic>
      <p:sp>
        <p:nvSpPr>
          <p:cNvPr id="5" name="Tekstfelt 4">
            <a:extLst>
              <a:ext uri="{FF2B5EF4-FFF2-40B4-BE49-F238E27FC236}">
                <a16:creationId xmlns:a16="http://schemas.microsoft.com/office/drawing/2014/main" id="{6462EAD0-23FD-440E-B384-F0DBFC0F896B}"/>
              </a:ext>
            </a:extLst>
          </p:cNvPr>
          <p:cNvSpPr txBox="1"/>
          <p:nvPr/>
        </p:nvSpPr>
        <p:spPr>
          <a:xfrm>
            <a:off x="8544017" y="1700988"/>
            <a:ext cx="288002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dirty="0">
                <a:ln>
                  <a:noFill/>
                </a:ln>
                <a:solidFill>
                  <a:srgbClr val="000000"/>
                </a:solidFill>
                <a:effectLst/>
                <a:uLnTx/>
                <a:uFillTx/>
                <a:latin typeface="Calibri" panose="020F0502020204030204"/>
                <a:ea typeface="+mn-ea"/>
                <a:cs typeface="+mn-cs"/>
              </a:rPr>
              <a:t>Session file from the TWG meeting 26/6-2019</a:t>
            </a:r>
          </a:p>
        </p:txBody>
      </p:sp>
    </p:spTree>
    <p:extLst>
      <p:ext uri="{BB962C8B-B14F-4D97-AF65-F5344CB8AC3E}">
        <p14:creationId xmlns:p14="http://schemas.microsoft.com/office/powerpoint/2010/main" val="19108283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240A6E-48CE-403B-B3B4-BAD39758E5A5}"/>
              </a:ext>
            </a:extLst>
          </p:cNvPr>
          <p:cNvSpPr>
            <a:spLocks noGrp="1"/>
          </p:cNvSpPr>
          <p:nvPr>
            <p:ph type="body" sz="quarter" idx="11"/>
          </p:nvPr>
        </p:nvSpPr>
        <p:spPr/>
        <p:txBody>
          <a:bodyPr/>
          <a:lstStyle/>
          <a:p>
            <a:r>
              <a:rPr lang="en-GB" dirty="0">
                <a:solidFill>
                  <a:schemeClr val="accent1"/>
                </a:solidFill>
              </a:rPr>
              <a:t>Agenda</a:t>
            </a:r>
            <a:endParaRPr lang="en-US" dirty="0">
              <a:solidFill>
                <a:schemeClr val="accent1"/>
              </a:solidFill>
            </a:endParaRPr>
          </a:p>
        </p:txBody>
      </p:sp>
      <p:sp>
        <p:nvSpPr>
          <p:cNvPr id="3" name="Slide Number Placeholder 2">
            <a:extLst>
              <a:ext uri="{FF2B5EF4-FFF2-40B4-BE49-F238E27FC236}">
                <a16:creationId xmlns:a16="http://schemas.microsoft.com/office/drawing/2014/main" id="{2554C747-F0D3-4254-82F1-E7593AA983BB}"/>
              </a:ext>
            </a:extLst>
          </p:cNvPr>
          <p:cNvSpPr>
            <a:spLocks noGrp="1"/>
          </p:cNvSpPr>
          <p:nvPr>
            <p:ph type="sldNum" sz="quarter" idx="10"/>
          </p:nvPr>
        </p:nvSpPr>
        <p:spPr/>
        <p:txBody>
          <a:bodyPr/>
          <a:lstStyle/>
          <a:p>
            <a:fld id="{D4E6D71C-ACD7-49D2-9689-F9C4024FAC38}" type="slidenum">
              <a:rPr lang="en-US" smtClean="0"/>
              <a:t>3</a:t>
            </a:fld>
            <a:endParaRPr lang="en-US" dirty="0"/>
          </a:p>
        </p:txBody>
      </p:sp>
      <p:sp>
        <p:nvSpPr>
          <p:cNvPr id="5" name="Rectangle 4">
            <a:extLst>
              <a:ext uri="{FF2B5EF4-FFF2-40B4-BE49-F238E27FC236}">
                <a16:creationId xmlns:a16="http://schemas.microsoft.com/office/drawing/2014/main" id="{B62DDA49-6280-41F5-B0A8-27889DD1DB2F}"/>
              </a:ext>
            </a:extLst>
          </p:cNvPr>
          <p:cNvSpPr/>
          <p:nvPr/>
        </p:nvSpPr>
        <p:spPr>
          <a:xfrm>
            <a:off x="9840026" y="6165019"/>
            <a:ext cx="1836037" cy="5760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3D2CB999-74E4-4123-9A99-8740B4EB569C}"/>
              </a:ext>
            </a:extLst>
          </p:cNvPr>
          <p:cNvSpPr txBox="1"/>
          <p:nvPr/>
        </p:nvSpPr>
        <p:spPr>
          <a:xfrm>
            <a:off x="911964" y="1700213"/>
            <a:ext cx="4467890" cy="1754326"/>
          </a:xfrm>
          <a:prstGeom prst="rect">
            <a:avLst/>
          </a:prstGeom>
          <a:noFill/>
        </p:spPr>
        <p:txBody>
          <a:bodyPr wrap="none" rtlCol="0">
            <a:spAutoFit/>
          </a:bodyPr>
          <a:lstStyle/>
          <a:p>
            <a:r>
              <a:rPr lang="en-US" dirty="0"/>
              <a:t>Update from the implementation projects: </a:t>
            </a:r>
          </a:p>
          <a:p>
            <a:pPr marL="285750" indent="-285750">
              <a:buFont typeface="Arial" panose="020B0604020202020204" pitchFamily="34" charset="0"/>
              <a:buChar char="•"/>
            </a:pPr>
            <a:r>
              <a:rPr lang="en-US" dirty="0"/>
              <a:t>IGCC</a:t>
            </a:r>
          </a:p>
          <a:p>
            <a:pPr marL="285750" indent="-285750">
              <a:buFont typeface="Arial" panose="020B0604020202020204" pitchFamily="34" charset="0"/>
              <a:buChar char="•"/>
            </a:pPr>
            <a:r>
              <a:rPr lang="en-US" dirty="0"/>
              <a:t>PICASSO</a:t>
            </a:r>
          </a:p>
          <a:p>
            <a:pPr marL="285750" indent="-285750">
              <a:buFont typeface="Arial" panose="020B0604020202020204" pitchFamily="34" charset="0"/>
              <a:buChar char="•"/>
            </a:pPr>
            <a:r>
              <a:rPr lang="en-US" dirty="0"/>
              <a:t>MARI</a:t>
            </a:r>
          </a:p>
          <a:p>
            <a:pPr marL="285750" indent="-285750">
              <a:buFont typeface="Arial" panose="020B0604020202020204" pitchFamily="34" charset="0"/>
              <a:buChar char="•"/>
            </a:pPr>
            <a:r>
              <a:rPr lang="en-US" dirty="0"/>
              <a:t>TERRE (separate slides)</a:t>
            </a:r>
          </a:p>
          <a:p>
            <a:endParaRPr lang="en-GB" dirty="0"/>
          </a:p>
        </p:txBody>
      </p:sp>
    </p:spTree>
    <p:extLst>
      <p:ext uri="{BB962C8B-B14F-4D97-AF65-F5344CB8AC3E}">
        <p14:creationId xmlns:p14="http://schemas.microsoft.com/office/powerpoint/2010/main" val="24893010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4E6D71C-ACD7-49D2-9689-F9C4024FAC38}" type="slidenum">
              <a:rPr lang="en-IE" smtClean="0"/>
              <a:t>4</a:t>
            </a:fld>
            <a:endParaRPr lang="en-IE" dirty="0"/>
          </a:p>
        </p:txBody>
      </p:sp>
      <p:sp>
        <p:nvSpPr>
          <p:cNvPr id="13" name="Title 12"/>
          <p:cNvSpPr>
            <a:spLocks noGrp="1"/>
          </p:cNvSpPr>
          <p:nvPr>
            <p:ph type="title"/>
          </p:nvPr>
        </p:nvSpPr>
        <p:spPr/>
        <p:txBody>
          <a:bodyPr/>
          <a:lstStyle/>
          <a:p>
            <a:r>
              <a:rPr lang="en-GB" dirty="0"/>
              <a:t>IGCC implementation</a:t>
            </a:r>
          </a:p>
        </p:txBody>
      </p:sp>
      <p:sp>
        <p:nvSpPr>
          <p:cNvPr id="14" name="Content Placeholder 13"/>
          <p:cNvSpPr>
            <a:spLocks noGrp="1"/>
          </p:cNvSpPr>
          <p:nvPr>
            <p:ph sz="quarter" idx="11"/>
          </p:nvPr>
        </p:nvSpPr>
        <p:spPr>
          <a:xfrm>
            <a:off x="3503982" y="3778245"/>
            <a:ext cx="6985577" cy="946155"/>
          </a:xfrm>
        </p:spPr>
        <p:txBody>
          <a:bodyPr>
            <a:normAutofit/>
          </a:bodyPr>
          <a:lstStyle/>
          <a:p>
            <a:endParaRPr lang="en-GB" sz="2000" dirty="0"/>
          </a:p>
        </p:txBody>
      </p:sp>
      <p:sp>
        <p:nvSpPr>
          <p:cNvPr id="15" name="Text Placeholder 14"/>
          <p:cNvSpPr>
            <a:spLocks noGrp="1"/>
          </p:cNvSpPr>
          <p:nvPr>
            <p:ph type="body" sz="quarter" idx="12"/>
          </p:nvPr>
        </p:nvSpPr>
        <p:spPr>
          <a:xfrm>
            <a:off x="6162034" y="5030015"/>
            <a:ext cx="4327525" cy="481785"/>
          </a:xfrm>
        </p:spPr>
        <p:txBody>
          <a:bodyPr/>
          <a:lstStyle/>
          <a:p>
            <a:r>
              <a:rPr lang="en-GB" dirty="0"/>
              <a:t>EBSG</a:t>
            </a:r>
          </a:p>
          <a:p>
            <a:r>
              <a:rPr lang="en-GB" dirty="0"/>
              <a:t>1 July 2019</a:t>
            </a:r>
          </a:p>
        </p:txBody>
      </p:sp>
    </p:spTree>
    <p:extLst>
      <p:ext uri="{BB962C8B-B14F-4D97-AF65-F5344CB8AC3E}">
        <p14:creationId xmlns:p14="http://schemas.microsoft.com/office/powerpoint/2010/main" val="31799399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240A6E-48CE-403B-B3B4-BAD39758E5A5}"/>
              </a:ext>
            </a:extLst>
          </p:cNvPr>
          <p:cNvSpPr>
            <a:spLocks noGrp="1"/>
          </p:cNvSpPr>
          <p:nvPr>
            <p:ph type="body" sz="quarter" idx="11"/>
          </p:nvPr>
        </p:nvSpPr>
        <p:spPr/>
        <p:txBody>
          <a:bodyPr/>
          <a:lstStyle/>
          <a:p>
            <a:r>
              <a:rPr lang="en-GB" dirty="0">
                <a:solidFill>
                  <a:schemeClr val="accent1"/>
                </a:solidFill>
              </a:rPr>
              <a:t>Agenda</a:t>
            </a:r>
            <a:endParaRPr lang="en-US" dirty="0">
              <a:solidFill>
                <a:schemeClr val="accent1"/>
              </a:solidFill>
            </a:endParaRPr>
          </a:p>
        </p:txBody>
      </p:sp>
      <p:sp>
        <p:nvSpPr>
          <p:cNvPr id="3" name="Slide Number Placeholder 2">
            <a:extLst>
              <a:ext uri="{FF2B5EF4-FFF2-40B4-BE49-F238E27FC236}">
                <a16:creationId xmlns:a16="http://schemas.microsoft.com/office/drawing/2014/main" id="{2554C747-F0D3-4254-82F1-E7593AA983BB}"/>
              </a:ext>
            </a:extLst>
          </p:cNvPr>
          <p:cNvSpPr>
            <a:spLocks noGrp="1"/>
          </p:cNvSpPr>
          <p:nvPr>
            <p:ph type="sldNum" sz="quarter" idx="10"/>
          </p:nvPr>
        </p:nvSpPr>
        <p:spPr/>
        <p:txBody>
          <a:bodyPr/>
          <a:lstStyle/>
          <a:p>
            <a:fld id="{D4E6D71C-ACD7-49D2-9689-F9C4024FAC38}" type="slidenum">
              <a:rPr lang="en-US" smtClean="0"/>
              <a:t>5</a:t>
            </a:fld>
            <a:endParaRPr lang="en-US" dirty="0"/>
          </a:p>
        </p:txBody>
      </p:sp>
      <p:sp>
        <p:nvSpPr>
          <p:cNvPr id="4" name="TextBox 3">
            <a:extLst>
              <a:ext uri="{FF2B5EF4-FFF2-40B4-BE49-F238E27FC236}">
                <a16:creationId xmlns:a16="http://schemas.microsoft.com/office/drawing/2014/main" id="{CFF0021F-3466-4B56-8E96-64D48AD029AB}"/>
              </a:ext>
            </a:extLst>
          </p:cNvPr>
          <p:cNvSpPr txBox="1"/>
          <p:nvPr/>
        </p:nvSpPr>
        <p:spPr>
          <a:xfrm>
            <a:off x="1487968" y="1556987"/>
            <a:ext cx="9072063" cy="2970044"/>
          </a:xfrm>
          <a:prstGeom prst="rect">
            <a:avLst/>
          </a:prstGeom>
          <a:noFill/>
        </p:spPr>
        <p:txBody>
          <a:bodyPr wrap="square" rtlCol="0">
            <a:spAutoFit/>
          </a:bodyPr>
          <a:lstStyle/>
          <a:p>
            <a:pPr marL="285750" lvl="0" indent="-285750">
              <a:lnSpc>
                <a:spcPct val="150000"/>
              </a:lnSpc>
              <a:spcAft>
                <a:spcPts val="600"/>
              </a:spcAft>
              <a:buFont typeface="Arial" panose="020B0604020202020204" pitchFamily="34" charset="0"/>
              <a:buChar char="•"/>
            </a:pPr>
            <a:r>
              <a:rPr lang="en-GB" b="1" dirty="0">
                <a:solidFill>
                  <a:schemeClr val="accent1"/>
                </a:solidFill>
              </a:rPr>
              <a:t>IGCC regulation and contract</a:t>
            </a:r>
            <a:endParaRPr lang="en-US" b="1" dirty="0">
              <a:solidFill>
                <a:schemeClr val="accent1"/>
              </a:solidFill>
            </a:endParaRPr>
          </a:p>
          <a:p>
            <a:pPr marL="742950" lvl="1" indent="-285750">
              <a:lnSpc>
                <a:spcPct val="150000"/>
              </a:lnSpc>
              <a:spcAft>
                <a:spcPts val="600"/>
              </a:spcAft>
              <a:buFont typeface="Arial" panose="020B0604020202020204" pitchFamily="34" charset="0"/>
              <a:buChar char="•"/>
            </a:pPr>
            <a:r>
              <a:rPr lang="en-GB" b="1" dirty="0"/>
              <a:t>INIF</a:t>
            </a:r>
            <a:r>
              <a:rPr lang="en-GB" dirty="0"/>
              <a:t>: </a:t>
            </a:r>
            <a:r>
              <a:rPr lang="en-US" dirty="0"/>
              <a:t>status of the imbalance netting implementation framework</a:t>
            </a:r>
            <a:endParaRPr lang="en-GB" dirty="0"/>
          </a:p>
          <a:p>
            <a:pPr marL="742950" lvl="1" indent="-285750">
              <a:lnSpc>
                <a:spcPct val="150000"/>
              </a:lnSpc>
              <a:spcAft>
                <a:spcPts val="600"/>
              </a:spcAft>
              <a:buFont typeface="Arial" panose="020B0604020202020204" pitchFamily="34" charset="0"/>
              <a:buChar char="•"/>
            </a:pPr>
            <a:r>
              <a:rPr lang="en-GB" b="1" dirty="0"/>
              <a:t>IGCC Cooperation Agreement</a:t>
            </a:r>
            <a:endParaRPr lang="en-US" b="1" dirty="0"/>
          </a:p>
          <a:p>
            <a:pPr marL="285750" lvl="0" indent="-285750">
              <a:lnSpc>
                <a:spcPct val="150000"/>
              </a:lnSpc>
              <a:spcAft>
                <a:spcPts val="600"/>
              </a:spcAft>
              <a:buFont typeface="Arial" panose="020B0604020202020204" pitchFamily="34" charset="0"/>
              <a:buChar char="•"/>
            </a:pPr>
            <a:r>
              <a:rPr lang="en-GB" b="1" dirty="0">
                <a:solidFill>
                  <a:schemeClr val="accent1"/>
                </a:solidFill>
              </a:rPr>
              <a:t>IGCC implementation roadmap</a:t>
            </a:r>
          </a:p>
          <a:p>
            <a:pPr marL="285750" lvl="0" indent="-285750">
              <a:lnSpc>
                <a:spcPct val="150000"/>
              </a:lnSpc>
              <a:spcAft>
                <a:spcPts val="600"/>
              </a:spcAft>
              <a:buFont typeface="Arial" panose="020B0604020202020204" pitchFamily="34" charset="0"/>
              <a:buChar char="•"/>
            </a:pPr>
            <a:r>
              <a:rPr lang="en-GB" b="1" dirty="0">
                <a:solidFill>
                  <a:schemeClr val="accent1"/>
                </a:solidFill>
              </a:rPr>
              <a:t>Publication of information</a:t>
            </a:r>
          </a:p>
          <a:p>
            <a:pPr marL="285750" lvl="0" indent="-285750">
              <a:lnSpc>
                <a:spcPct val="150000"/>
              </a:lnSpc>
              <a:spcAft>
                <a:spcPts val="600"/>
              </a:spcAft>
              <a:buFont typeface="Arial" panose="020B0604020202020204" pitchFamily="34" charset="0"/>
              <a:buChar char="•"/>
            </a:pPr>
            <a:r>
              <a:rPr lang="en-GB" dirty="0"/>
              <a:t>Contact points in IGCC</a:t>
            </a:r>
          </a:p>
        </p:txBody>
      </p:sp>
    </p:spTree>
    <p:extLst>
      <p:ext uri="{BB962C8B-B14F-4D97-AF65-F5344CB8AC3E}">
        <p14:creationId xmlns:p14="http://schemas.microsoft.com/office/powerpoint/2010/main" val="26062333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2240A6E-48CE-403B-B3B4-BAD39758E5A5}"/>
              </a:ext>
            </a:extLst>
          </p:cNvPr>
          <p:cNvSpPr>
            <a:spLocks noGrp="1"/>
          </p:cNvSpPr>
          <p:nvPr>
            <p:ph type="body" sz="quarter" idx="11"/>
          </p:nvPr>
        </p:nvSpPr>
        <p:spPr/>
        <p:txBody>
          <a:bodyPr/>
          <a:lstStyle/>
          <a:p>
            <a:r>
              <a:rPr lang="en-GB" dirty="0">
                <a:solidFill>
                  <a:schemeClr val="accent1"/>
                </a:solidFill>
              </a:rPr>
              <a:t>IGCC regulation and contract</a:t>
            </a:r>
            <a:endParaRPr lang="en-US" dirty="0">
              <a:solidFill>
                <a:schemeClr val="accent1"/>
              </a:solidFill>
            </a:endParaRPr>
          </a:p>
        </p:txBody>
      </p:sp>
      <p:sp>
        <p:nvSpPr>
          <p:cNvPr id="3" name="Slide Number Placeholder 2">
            <a:extLst>
              <a:ext uri="{FF2B5EF4-FFF2-40B4-BE49-F238E27FC236}">
                <a16:creationId xmlns:a16="http://schemas.microsoft.com/office/drawing/2014/main" id="{2554C747-F0D3-4254-82F1-E7593AA983BB}"/>
              </a:ext>
            </a:extLst>
          </p:cNvPr>
          <p:cNvSpPr>
            <a:spLocks noGrp="1"/>
          </p:cNvSpPr>
          <p:nvPr>
            <p:ph type="sldNum" sz="quarter" idx="10"/>
          </p:nvPr>
        </p:nvSpPr>
        <p:spPr/>
        <p:txBody>
          <a:bodyPr/>
          <a:lstStyle/>
          <a:p>
            <a:fld id="{D4E6D71C-ACD7-49D2-9689-F9C4024FAC38}" type="slidenum">
              <a:rPr lang="en-US" smtClean="0"/>
              <a:t>6</a:t>
            </a:fld>
            <a:endParaRPr lang="en-US" dirty="0"/>
          </a:p>
        </p:txBody>
      </p:sp>
      <p:sp>
        <p:nvSpPr>
          <p:cNvPr id="4" name="TextBox 3">
            <a:extLst>
              <a:ext uri="{FF2B5EF4-FFF2-40B4-BE49-F238E27FC236}">
                <a16:creationId xmlns:a16="http://schemas.microsoft.com/office/drawing/2014/main" id="{CFF0021F-3466-4B56-8E96-64D48AD029AB}"/>
              </a:ext>
            </a:extLst>
          </p:cNvPr>
          <p:cNvSpPr txBox="1"/>
          <p:nvPr/>
        </p:nvSpPr>
        <p:spPr>
          <a:xfrm>
            <a:off x="911964" y="1428416"/>
            <a:ext cx="10764099" cy="3323987"/>
          </a:xfrm>
          <a:prstGeom prst="rect">
            <a:avLst/>
          </a:prstGeom>
          <a:noFill/>
        </p:spPr>
        <p:txBody>
          <a:bodyPr wrap="square" rtlCol="0">
            <a:spAutoFit/>
          </a:bodyPr>
          <a:lstStyle/>
          <a:p>
            <a:r>
              <a:rPr lang="en-GB" b="1" dirty="0">
                <a:solidFill>
                  <a:schemeClr val="accent1"/>
                </a:solidFill>
              </a:rPr>
              <a:t>1) INIF </a:t>
            </a:r>
            <a:r>
              <a:rPr lang="en-GB" dirty="0"/>
              <a:t>(imbalance netting implementation framework):</a:t>
            </a:r>
          </a:p>
          <a:p>
            <a:pPr marL="342900" indent="-342900">
              <a:spcBef>
                <a:spcPts val="600"/>
              </a:spcBef>
              <a:spcAft>
                <a:spcPts val="600"/>
              </a:spcAft>
              <a:buClr>
                <a:srgbClr val="23618E"/>
              </a:buClr>
              <a:buFont typeface="Arial" panose="020B0604020202020204" pitchFamily="34" charset="0"/>
              <a:buChar char="•"/>
              <a:defRPr/>
            </a:pPr>
            <a:r>
              <a:rPr lang="en-US" dirty="0"/>
              <a:t>NRAs </a:t>
            </a:r>
            <a:r>
              <a:rPr lang="en-GB" dirty="0"/>
              <a:t>requested ACER a two-month extension (exp. 15 July) of their deadline for approving the INIF and are working on a second request for amendments (</a:t>
            </a:r>
            <a:r>
              <a:rPr lang="en-GB" dirty="0" err="1"/>
              <a:t>RfA</a:t>
            </a:r>
            <a:r>
              <a:rPr lang="en-GB" dirty="0"/>
              <a:t>) for INIF.</a:t>
            </a:r>
          </a:p>
          <a:p>
            <a:pPr marL="342900" indent="-342900">
              <a:spcAft>
                <a:spcPts val="600"/>
              </a:spcAft>
              <a:buClr>
                <a:srgbClr val="23618E"/>
              </a:buClr>
              <a:buFont typeface="Arial" panose="020B0604020202020204" pitchFamily="34" charset="0"/>
              <a:buChar char="•"/>
              <a:defRPr/>
            </a:pPr>
            <a:r>
              <a:rPr lang="en-GB" dirty="0"/>
              <a:t>It is likely that the new </a:t>
            </a:r>
            <a:r>
              <a:rPr lang="en-GB" dirty="0" err="1"/>
              <a:t>RfA</a:t>
            </a:r>
            <a:r>
              <a:rPr lang="en-GB" dirty="0"/>
              <a:t> will request to specify further the article on the entities of IGCC, focusing on the legal entity performing each of the functions instead of the current approach, which explains that all IGCC member TSOs are needed to run the platform and share responsibility.</a:t>
            </a:r>
          </a:p>
          <a:p>
            <a:pPr marL="285750" indent="-285750">
              <a:buFont typeface="Arial" panose="020B0604020202020204" pitchFamily="34" charset="0"/>
              <a:buChar char="•"/>
            </a:pPr>
            <a:endParaRPr lang="en-GB" dirty="0"/>
          </a:p>
          <a:p>
            <a:r>
              <a:rPr lang="en-GB" b="1" dirty="0">
                <a:solidFill>
                  <a:schemeClr val="accent1"/>
                </a:solidFill>
              </a:rPr>
              <a:t>2)</a:t>
            </a:r>
            <a:r>
              <a:rPr lang="en-GB" dirty="0"/>
              <a:t> </a:t>
            </a:r>
            <a:r>
              <a:rPr lang="en-GB" b="1" dirty="0">
                <a:solidFill>
                  <a:schemeClr val="accent1"/>
                </a:solidFill>
              </a:rPr>
              <a:t>IGCC Cooperation Agreement</a:t>
            </a:r>
            <a:r>
              <a:rPr lang="en-GB" dirty="0"/>
              <a:t>: </a:t>
            </a:r>
          </a:p>
          <a:p>
            <a:pPr marL="342900" indent="-342900">
              <a:spcBef>
                <a:spcPts val="600"/>
              </a:spcBef>
              <a:spcAft>
                <a:spcPts val="600"/>
              </a:spcAft>
              <a:buClr>
                <a:srgbClr val="23618E"/>
              </a:buClr>
              <a:buFont typeface="Arial" panose="020B0604020202020204" pitchFamily="34" charset="0"/>
              <a:buChar char="•"/>
              <a:defRPr/>
            </a:pPr>
            <a:r>
              <a:rPr lang="en-US" dirty="0"/>
              <a:t>IGCC Member TSOs are </a:t>
            </a:r>
            <a:r>
              <a:rPr lang="en-US" dirty="0" err="1"/>
              <a:t>finalising</a:t>
            </a:r>
            <a:r>
              <a:rPr lang="en-US" dirty="0"/>
              <a:t> the update of the contract of the project</a:t>
            </a:r>
            <a:r>
              <a:rPr lang="en-US" dirty="0">
                <a:sym typeface="Wingdings" panose="05000000000000000000" pitchFamily="2" charset="2"/>
              </a:rPr>
              <a:t>, which started in Q4 2018.</a:t>
            </a:r>
          </a:p>
          <a:p>
            <a:pPr marL="342900" indent="-342900">
              <a:spcBef>
                <a:spcPts val="600"/>
              </a:spcBef>
              <a:spcAft>
                <a:spcPts val="600"/>
              </a:spcAft>
              <a:buClr>
                <a:srgbClr val="23618E"/>
              </a:buClr>
              <a:buFont typeface="Arial" panose="020B0604020202020204" pitchFamily="34" charset="0"/>
              <a:buChar char="•"/>
              <a:defRPr/>
            </a:pPr>
            <a:r>
              <a:rPr lang="en-US" dirty="0">
                <a:sym typeface="Wingdings" panose="05000000000000000000" pitchFamily="2" charset="2"/>
              </a:rPr>
              <a:t>This update was done to align it to the submitted INIF.</a:t>
            </a:r>
          </a:p>
        </p:txBody>
      </p:sp>
    </p:spTree>
    <p:extLst>
      <p:ext uri="{BB962C8B-B14F-4D97-AF65-F5344CB8AC3E}">
        <p14:creationId xmlns:p14="http://schemas.microsoft.com/office/powerpoint/2010/main" val="15936682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286161-C1B4-44BC-B54C-97875C035C0E}"/>
              </a:ext>
            </a:extLst>
          </p:cNvPr>
          <p:cNvSpPr>
            <a:spLocks noGrp="1"/>
          </p:cNvSpPr>
          <p:nvPr>
            <p:ph type="sldNum" sz="quarter" idx="10"/>
          </p:nvPr>
        </p:nvSpPr>
        <p:spPr/>
        <p:txBody>
          <a:bodyPr/>
          <a:lstStyle/>
          <a:p>
            <a:fld id="{D4E6D71C-ACD7-49D2-9689-F9C4024FAC38}" type="slidenum">
              <a:rPr lang="en-IE" smtClean="0"/>
              <a:pPr/>
              <a:t>7</a:t>
            </a:fld>
            <a:endParaRPr lang="en-IE" dirty="0"/>
          </a:p>
        </p:txBody>
      </p:sp>
      <p:sp>
        <p:nvSpPr>
          <p:cNvPr id="3" name="Text Placeholder 2">
            <a:extLst>
              <a:ext uri="{FF2B5EF4-FFF2-40B4-BE49-F238E27FC236}">
                <a16:creationId xmlns:a16="http://schemas.microsoft.com/office/drawing/2014/main" id="{25CD5050-96CD-42EA-97FD-0E1CE8387155}"/>
              </a:ext>
            </a:extLst>
          </p:cNvPr>
          <p:cNvSpPr>
            <a:spLocks noGrp="1"/>
          </p:cNvSpPr>
          <p:nvPr>
            <p:ph type="body" sz="quarter" idx="11"/>
          </p:nvPr>
        </p:nvSpPr>
        <p:spPr>
          <a:xfrm>
            <a:off x="414337" y="456139"/>
            <a:ext cx="11160125" cy="708025"/>
          </a:xfrm>
        </p:spPr>
        <p:txBody>
          <a:bodyPr>
            <a:normAutofit/>
          </a:bodyPr>
          <a:lstStyle/>
          <a:p>
            <a:r>
              <a:rPr lang="en-GB" dirty="0">
                <a:solidFill>
                  <a:schemeClr val="accent1"/>
                </a:solidFill>
              </a:rPr>
              <a:t>Implementation roadmap</a:t>
            </a:r>
            <a:endParaRPr lang="en-US" dirty="0">
              <a:solidFill>
                <a:schemeClr val="accent1"/>
              </a:solidFill>
            </a:endParaRPr>
          </a:p>
        </p:txBody>
      </p:sp>
      <p:graphicFrame>
        <p:nvGraphicFramePr>
          <p:cNvPr id="5" name="Table 4">
            <a:extLst>
              <a:ext uri="{FF2B5EF4-FFF2-40B4-BE49-F238E27FC236}">
                <a16:creationId xmlns:a16="http://schemas.microsoft.com/office/drawing/2014/main" id="{485B0F95-57BE-4258-8628-6BE652267000}"/>
              </a:ext>
            </a:extLst>
          </p:cNvPr>
          <p:cNvGraphicFramePr>
            <a:graphicFrameLocks noGrp="1"/>
          </p:cNvGraphicFramePr>
          <p:nvPr>
            <p:extLst>
              <p:ext uri="{D42A27DB-BD31-4B8C-83A1-F6EECF244321}">
                <p14:modId xmlns:p14="http://schemas.microsoft.com/office/powerpoint/2010/main" val="2122593299"/>
              </p:ext>
            </p:extLst>
          </p:nvPr>
        </p:nvGraphicFramePr>
        <p:xfrm>
          <a:off x="1059103" y="1844989"/>
          <a:ext cx="7200053" cy="3981044"/>
        </p:xfrm>
        <a:graphic>
          <a:graphicData uri="http://schemas.openxmlformats.org/drawingml/2006/table">
            <a:tbl>
              <a:tblPr/>
              <a:tblGrid>
                <a:gridCol w="1172528">
                  <a:extLst>
                    <a:ext uri="{9D8B030D-6E8A-4147-A177-3AD203B41FA5}">
                      <a16:colId xmlns:a16="http://schemas.microsoft.com/office/drawing/2014/main" val="2003724179"/>
                    </a:ext>
                  </a:extLst>
                </a:gridCol>
                <a:gridCol w="1593904">
                  <a:extLst>
                    <a:ext uri="{9D8B030D-6E8A-4147-A177-3AD203B41FA5}">
                      <a16:colId xmlns:a16="http://schemas.microsoft.com/office/drawing/2014/main" val="3936531164"/>
                    </a:ext>
                  </a:extLst>
                </a:gridCol>
                <a:gridCol w="439698">
                  <a:extLst>
                    <a:ext uri="{9D8B030D-6E8A-4147-A177-3AD203B41FA5}">
                      <a16:colId xmlns:a16="http://schemas.microsoft.com/office/drawing/2014/main" val="2533099361"/>
                    </a:ext>
                  </a:extLst>
                </a:gridCol>
                <a:gridCol w="439698">
                  <a:extLst>
                    <a:ext uri="{9D8B030D-6E8A-4147-A177-3AD203B41FA5}">
                      <a16:colId xmlns:a16="http://schemas.microsoft.com/office/drawing/2014/main" val="1861614523"/>
                    </a:ext>
                  </a:extLst>
                </a:gridCol>
                <a:gridCol w="439698">
                  <a:extLst>
                    <a:ext uri="{9D8B030D-6E8A-4147-A177-3AD203B41FA5}">
                      <a16:colId xmlns:a16="http://schemas.microsoft.com/office/drawing/2014/main" val="2396493499"/>
                    </a:ext>
                  </a:extLst>
                </a:gridCol>
                <a:gridCol w="439698">
                  <a:extLst>
                    <a:ext uri="{9D8B030D-6E8A-4147-A177-3AD203B41FA5}">
                      <a16:colId xmlns:a16="http://schemas.microsoft.com/office/drawing/2014/main" val="623417205"/>
                    </a:ext>
                  </a:extLst>
                </a:gridCol>
                <a:gridCol w="439698">
                  <a:extLst>
                    <a:ext uri="{9D8B030D-6E8A-4147-A177-3AD203B41FA5}">
                      <a16:colId xmlns:a16="http://schemas.microsoft.com/office/drawing/2014/main" val="2278166043"/>
                    </a:ext>
                  </a:extLst>
                </a:gridCol>
                <a:gridCol w="439698">
                  <a:extLst>
                    <a:ext uri="{9D8B030D-6E8A-4147-A177-3AD203B41FA5}">
                      <a16:colId xmlns:a16="http://schemas.microsoft.com/office/drawing/2014/main" val="284598555"/>
                    </a:ext>
                  </a:extLst>
                </a:gridCol>
                <a:gridCol w="439698">
                  <a:extLst>
                    <a:ext uri="{9D8B030D-6E8A-4147-A177-3AD203B41FA5}">
                      <a16:colId xmlns:a16="http://schemas.microsoft.com/office/drawing/2014/main" val="1566790911"/>
                    </a:ext>
                  </a:extLst>
                </a:gridCol>
                <a:gridCol w="439698">
                  <a:extLst>
                    <a:ext uri="{9D8B030D-6E8A-4147-A177-3AD203B41FA5}">
                      <a16:colId xmlns:a16="http://schemas.microsoft.com/office/drawing/2014/main" val="1383966652"/>
                    </a:ext>
                  </a:extLst>
                </a:gridCol>
                <a:gridCol w="439698">
                  <a:extLst>
                    <a:ext uri="{9D8B030D-6E8A-4147-A177-3AD203B41FA5}">
                      <a16:colId xmlns:a16="http://schemas.microsoft.com/office/drawing/2014/main" val="3468669627"/>
                    </a:ext>
                  </a:extLst>
                </a:gridCol>
                <a:gridCol w="476339">
                  <a:extLst>
                    <a:ext uri="{9D8B030D-6E8A-4147-A177-3AD203B41FA5}">
                      <a16:colId xmlns:a16="http://schemas.microsoft.com/office/drawing/2014/main" val="2781047193"/>
                    </a:ext>
                  </a:extLst>
                </a:gridCol>
              </a:tblGrid>
              <a:tr h="460604">
                <a:tc gridSpan="2">
                  <a:txBody>
                    <a:bodyPr/>
                    <a:lstStyle/>
                    <a:p>
                      <a:pPr algn="ctr" fontAlgn="b"/>
                      <a:r>
                        <a:rPr lang="en-US" sz="1600" b="0" i="0" u="none" strike="noStrike" dirty="0">
                          <a:solidFill>
                            <a:srgbClr val="000000"/>
                          </a:solidFill>
                          <a:effectLst/>
                          <a:latin typeface="Calibri" panose="020F0502020204030204" pitchFamily="34" charset="0"/>
                        </a:rPr>
                        <a:t>Tentative not-binding roadmap</a:t>
                      </a:r>
                    </a:p>
                  </a:txBody>
                  <a:tcPr marL="7620" marR="7620" marT="7620" marB="0" anchor="b">
                    <a:lnL>
                      <a:noFill/>
                    </a:lnL>
                    <a:lnR>
                      <a:noFill/>
                    </a:lnR>
                    <a:lnT>
                      <a:noFill/>
                    </a:lnT>
                    <a:lnB>
                      <a:noFill/>
                    </a:lnB>
                  </a:tcPr>
                </a:tc>
                <a:tc hMerge="1">
                  <a:txBody>
                    <a:bodyPr/>
                    <a:lstStyle/>
                    <a:p>
                      <a:endParaRPr lang="en-US"/>
                    </a:p>
                  </a:txBody>
                  <a:tcPr/>
                </a:tc>
                <a:tc gridSpan="4">
                  <a:txBody>
                    <a:bodyPr/>
                    <a:lstStyle/>
                    <a:p>
                      <a:pPr algn="ctr" fontAlgn="ctr"/>
                      <a:r>
                        <a:rPr lang="en-US" sz="1600" b="1" i="0" u="none" strike="noStrike" dirty="0">
                          <a:solidFill>
                            <a:srgbClr val="000000"/>
                          </a:solidFill>
                          <a:effectLst/>
                          <a:latin typeface="Calibri" panose="020F0502020204030204" pitchFamily="34" charset="0"/>
                        </a:rPr>
                        <a:t>2018</a:t>
                      </a:r>
                    </a:p>
                  </a:txBody>
                  <a:tcPr marL="7620" marR="7620" marT="7620" marB="0" anchor="ctr">
                    <a:lnL>
                      <a:noFill/>
                    </a:lnL>
                    <a:lnR>
                      <a:noFill/>
                    </a:lnR>
                    <a:lnT>
                      <a:noFill/>
                    </a:lnT>
                    <a:lnB>
                      <a:noFill/>
                    </a:lnB>
                    <a:solidFill>
                      <a:srgbClr val="B4C6E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ctr"/>
                      <a:r>
                        <a:rPr lang="en-US" sz="1600" b="1" i="0" u="none" strike="noStrike" dirty="0">
                          <a:solidFill>
                            <a:srgbClr val="000000"/>
                          </a:solidFill>
                          <a:effectLst/>
                          <a:latin typeface="Calibri" panose="020F0502020204030204" pitchFamily="34" charset="0"/>
                        </a:rPr>
                        <a:t>2019</a:t>
                      </a:r>
                    </a:p>
                  </a:txBody>
                  <a:tcPr marL="7620" marR="7620" marT="7620" marB="0" anchor="ctr">
                    <a:lnL>
                      <a:noFill/>
                    </a:lnL>
                    <a:lnR>
                      <a:noFill/>
                    </a:lnR>
                    <a:lnT>
                      <a:noFill/>
                    </a:lnT>
                    <a:lnB>
                      <a:noFill/>
                    </a:lnB>
                    <a:solidFill>
                      <a:srgbClr val="D9E1F2"/>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2">
                  <a:txBody>
                    <a:bodyPr/>
                    <a:lstStyle/>
                    <a:p>
                      <a:pPr algn="ctr" fontAlgn="ctr"/>
                      <a:r>
                        <a:rPr lang="en-US" sz="1600" b="1" i="0" u="none" strike="noStrike">
                          <a:solidFill>
                            <a:srgbClr val="000000"/>
                          </a:solidFill>
                          <a:effectLst/>
                          <a:latin typeface="Calibri" panose="020F0502020204030204" pitchFamily="34" charset="0"/>
                        </a:rPr>
                        <a:t>2020</a:t>
                      </a:r>
                    </a:p>
                  </a:txBody>
                  <a:tcPr marL="7620" marR="7620" marT="7620" marB="0" anchor="ctr">
                    <a:lnL>
                      <a:noFill/>
                    </a:lnL>
                    <a:lnR>
                      <a:noFill/>
                    </a:lnR>
                    <a:lnT>
                      <a:noFill/>
                    </a:lnT>
                    <a:lnB>
                      <a:noFill/>
                    </a:lnB>
                    <a:solidFill>
                      <a:srgbClr val="B4C6E7"/>
                    </a:solidFill>
                  </a:tcPr>
                </a:tc>
                <a:tc hMerge="1">
                  <a:txBody>
                    <a:bodyPr/>
                    <a:lstStyle/>
                    <a:p>
                      <a:endParaRPr lang="en-US"/>
                    </a:p>
                  </a:txBody>
                  <a:tcPr/>
                </a:tc>
                <a:extLst>
                  <a:ext uri="{0D108BD9-81ED-4DB2-BD59-A6C34878D82A}">
                    <a16:rowId xmlns:a16="http://schemas.microsoft.com/office/drawing/2014/main" val="533619146"/>
                  </a:ext>
                </a:extLst>
              </a:tr>
              <a:tr h="216755">
                <a:tc>
                  <a:txBody>
                    <a:bodyPr/>
                    <a:lstStyle/>
                    <a:p>
                      <a:pPr algn="ctr" fontAlgn="ctr"/>
                      <a:r>
                        <a:rPr lang="en-US" sz="1600" b="1" i="0" u="none" strike="noStrike">
                          <a:solidFill>
                            <a:srgbClr val="000000"/>
                          </a:solidFill>
                          <a:effectLst/>
                          <a:latin typeface="Calibri" panose="020F0502020204030204" pitchFamily="34" charset="0"/>
                        </a:rPr>
                        <a:t>Country</a:t>
                      </a:r>
                    </a:p>
                  </a:txBody>
                  <a:tcPr marL="7620" marR="7620" marT="7620" marB="0" anchor="ctr">
                    <a:lnL>
                      <a:noFill/>
                    </a:lnL>
                    <a:lnR>
                      <a:noFill/>
                    </a:lnR>
                    <a:lnT>
                      <a:noFill/>
                    </a:lnT>
                    <a:lnB>
                      <a:noFill/>
                    </a:lnB>
                  </a:tcPr>
                </a:tc>
                <a:tc>
                  <a:txBody>
                    <a:bodyPr/>
                    <a:lstStyle/>
                    <a:p>
                      <a:pPr algn="ctr" fontAlgn="ctr"/>
                      <a:r>
                        <a:rPr lang="en-US" sz="1600" b="1" i="0" u="none" strike="noStrike">
                          <a:solidFill>
                            <a:srgbClr val="000000"/>
                          </a:solidFill>
                          <a:effectLst/>
                          <a:latin typeface="Calibri" panose="020F0502020204030204" pitchFamily="34" charset="0"/>
                        </a:rPr>
                        <a:t>TSO</a:t>
                      </a:r>
                    </a:p>
                  </a:txBody>
                  <a:tcPr marL="7620" marR="7620" marT="7620" marB="0" anchor="ctr">
                    <a:lnL>
                      <a:noFill/>
                    </a:lnL>
                    <a:lnR>
                      <a:noFill/>
                    </a:lnR>
                    <a:lnT>
                      <a:noFill/>
                    </a:lnT>
                    <a:lnB>
                      <a:noFill/>
                    </a:lnB>
                  </a:tcPr>
                </a:tc>
                <a:tc>
                  <a:txBody>
                    <a:bodyPr/>
                    <a:lstStyle/>
                    <a:p>
                      <a:pPr algn="ctr" fontAlgn="ctr"/>
                      <a:r>
                        <a:rPr lang="en-US" sz="1600" b="1" i="0" u="none" strike="noStrike">
                          <a:solidFill>
                            <a:srgbClr val="000000"/>
                          </a:solidFill>
                          <a:effectLst/>
                          <a:latin typeface="Calibri" panose="020F0502020204030204" pitchFamily="34" charset="0"/>
                        </a:rPr>
                        <a:t>Q1</a:t>
                      </a:r>
                    </a:p>
                  </a:txBody>
                  <a:tcPr marL="7620" marR="7620" marT="7620" marB="0" anchor="ctr">
                    <a:lnL>
                      <a:noFill/>
                    </a:lnL>
                    <a:lnR>
                      <a:noFill/>
                    </a:lnR>
                    <a:lnT>
                      <a:noFill/>
                    </a:lnT>
                    <a:lnB>
                      <a:noFill/>
                    </a:lnB>
                    <a:solidFill>
                      <a:srgbClr val="D0CECE"/>
                    </a:solidFill>
                  </a:tcPr>
                </a:tc>
                <a:tc>
                  <a:txBody>
                    <a:bodyPr/>
                    <a:lstStyle/>
                    <a:p>
                      <a:pPr algn="ctr" fontAlgn="ctr"/>
                      <a:r>
                        <a:rPr lang="en-US" sz="1600" b="1" i="0" u="none" strike="noStrike">
                          <a:solidFill>
                            <a:srgbClr val="000000"/>
                          </a:solidFill>
                          <a:effectLst/>
                          <a:latin typeface="Calibri" panose="020F0502020204030204" pitchFamily="34" charset="0"/>
                        </a:rPr>
                        <a:t>Q2</a:t>
                      </a:r>
                    </a:p>
                  </a:txBody>
                  <a:tcPr marL="7620" marR="7620" marT="7620" marB="0" anchor="ctr">
                    <a:lnL>
                      <a:noFill/>
                    </a:lnL>
                    <a:lnR>
                      <a:noFill/>
                    </a:lnR>
                    <a:lnT>
                      <a:noFill/>
                    </a:lnT>
                    <a:lnB>
                      <a:noFill/>
                    </a:lnB>
                    <a:solidFill>
                      <a:srgbClr val="D0CECE"/>
                    </a:solidFill>
                  </a:tcPr>
                </a:tc>
                <a:tc>
                  <a:txBody>
                    <a:bodyPr/>
                    <a:lstStyle/>
                    <a:p>
                      <a:pPr algn="ctr" fontAlgn="ctr"/>
                      <a:r>
                        <a:rPr lang="en-US" sz="1600" b="1" i="0" u="none" strike="noStrike">
                          <a:solidFill>
                            <a:srgbClr val="000000"/>
                          </a:solidFill>
                          <a:effectLst/>
                          <a:latin typeface="Calibri" panose="020F0502020204030204" pitchFamily="34" charset="0"/>
                        </a:rPr>
                        <a:t>Q3</a:t>
                      </a:r>
                    </a:p>
                  </a:txBody>
                  <a:tcPr marL="7620" marR="7620" marT="7620" marB="0" anchor="ctr">
                    <a:lnL>
                      <a:noFill/>
                    </a:lnL>
                    <a:lnR>
                      <a:noFill/>
                    </a:lnR>
                    <a:lnT>
                      <a:noFill/>
                    </a:lnT>
                    <a:lnB>
                      <a:noFill/>
                    </a:lnB>
                    <a:solidFill>
                      <a:srgbClr val="D0CECE"/>
                    </a:solidFill>
                  </a:tcPr>
                </a:tc>
                <a:tc>
                  <a:txBody>
                    <a:bodyPr/>
                    <a:lstStyle/>
                    <a:p>
                      <a:pPr algn="ctr" fontAlgn="ctr"/>
                      <a:r>
                        <a:rPr lang="en-US" sz="1600" b="1" i="0" u="none" strike="noStrike">
                          <a:solidFill>
                            <a:srgbClr val="000000"/>
                          </a:solidFill>
                          <a:effectLst/>
                          <a:latin typeface="Calibri" panose="020F0502020204030204" pitchFamily="34" charset="0"/>
                        </a:rPr>
                        <a:t>Q4</a:t>
                      </a:r>
                    </a:p>
                  </a:txBody>
                  <a:tcPr marL="7620" marR="7620" marT="7620" marB="0" anchor="ctr">
                    <a:lnL>
                      <a:noFill/>
                    </a:lnL>
                    <a:lnR>
                      <a:noFill/>
                    </a:lnR>
                    <a:lnT>
                      <a:noFill/>
                    </a:lnT>
                    <a:lnB>
                      <a:noFill/>
                    </a:lnB>
                    <a:solidFill>
                      <a:srgbClr val="D0CECE"/>
                    </a:solidFill>
                  </a:tcPr>
                </a:tc>
                <a:tc>
                  <a:txBody>
                    <a:bodyPr/>
                    <a:lstStyle/>
                    <a:p>
                      <a:pPr algn="ctr" fontAlgn="ctr"/>
                      <a:r>
                        <a:rPr lang="en-US" sz="1600" b="1" i="0" u="none" strike="noStrike">
                          <a:solidFill>
                            <a:srgbClr val="000000"/>
                          </a:solidFill>
                          <a:effectLst/>
                          <a:latin typeface="Calibri" panose="020F0502020204030204" pitchFamily="34" charset="0"/>
                        </a:rPr>
                        <a:t>Q1</a:t>
                      </a:r>
                    </a:p>
                  </a:txBody>
                  <a:tcPr marL="7620" marR="7620" marT="7620" marB="0" anchor="ctr">
                    <a:lnL>
                      <a:noFill/>
                    </a:lnL>
                    <a:lnR>
                      <a:noFill/>
                    </a:lnR>
                    <a:lnT>
                      <a:noFill/>
                    </a:lnT>
                    <a:lnB>
                      <a:noFill/>
                    </a:lnB>
                    <a:solidFill>
                      <a:srgbClr val="E7E6E6"/>
                    </a:solidFill>
                  </a:tcPr>
                </a:tc>
                <a:tc>
                  <a:txBody>
                    <a:bodyPr/>
                    <a:lstStyle/>
                    <a:p>
                      <a:pPr algn="ctr" fontAlgn="ctr"/>
                      <a:r>
                        <a:rPr lang="en-US" sz="1600" b="1" i="0" u="none" strike="noStrike">
                          <a:solidFill>
                            <a:srgbClr val="000000"/>
                          </a:solidFill>
                          <a:effectLst/>
                          <a:latin typeface="Calibri" panose="020F0502020204030204" pitchFamily="34" charset="0"/>
                        </a:rPr>
                        <a:t>Q2</a:t>
                      </a:r>
                    </a:p>
                  </a:txBody>
                  <a:tcPr marL="7620" marR="7620" marT="7620" marB="0" anchor="ctr">
                    <a:lnL>
                      <a:noFill/>
                    </a:lnL>
                    <a:lnR>
                      <a:noFill/>
                    </a:lnR>
                    <a:lnT>
                      <a:noFill/>
                    </a:lnT>
                    <a:lnB>
                      <a:noFill/>
                    </a:lnB>
                    <a:solidFill>
                      <a:srgbClr val="E7E6E6"/>
                    </a:solidFill>
                  </a:tcPr>
                </a:tc>
                <a:tc>
                  <a:txBody>
                    <a:bodyPr/>
                    <a:lstStyle/>
                    <a:p>
                      <a:pPr algn="ctr" fontAlgn="ctr"/>
                      <a:r>
                        <a:rPr lang="en-US" sz="1600" b="1" i="0" u="none" strike="noStrike">
                          <a:solidFill>
                            <a:srgbClr val="000000"/>
                          </a:solidFill>
                          <a:effectLst/>
                          <a:latin typeface="Calibri" panose="020F0502020204030204" pitchFamily="34" charset="0"/>
                        </a:rPr>
                        <a:t>Q3</a:t>
                      </a:r>
                    </a:p>
                  </a:txBody>
                  <a:tcPr marL="7620" marR="7620" marT="7620" marB="0" anchor="ctr">
                    <a:lnL>
                      <a:noFill/>
                    </a:lnL>
                    <a:lnR>
                      <a:noFill/>
                    </a:lnR>
                    <a:lnT>
                      <a:noFill/>
                    </a:lnT>
                    <a:lnB>
                      <a:noFill/>
                    </a:lnB>
                    <a:solidFill>
                      <a:srgbClr val="E7E6E6"/>
                    </a:solidFill>
                  </a:tcPr>
                </a:tc>
                <a:tc>
                  <a:txBody>
                    <a:bodyPr/>
                    <a:lstStyle/>
                    <a:p>
                      <a:pPr algn="ctr" fontAlgn="ctr"/>
                      <a:r>
                        <a:rPr lang="en-US" sz="1600" b="1" i="0" u="none" strike="noStrike">
                          <a:solidFill>
                            <a:srgbClr val="000000"/>
                          </a:solidFill>
                          <a:effectLst/>
                          <a:latin typeface="Calibri" panose="020F0502020204030204" pitchFamily="34" charset="0"/>
                        </a:rPr>
                        <a:t>Q4</a:t>
                      </a:r>
                    </a:p>
                  </a:txBody>
                  <a:tcPr marL="7620" marR="7620" marT="7620" marB="0" anchor="ctr">
                    <a:lnL>
                      <a:noFill/>
                    </a:lnL>
                    <a:lnR>
                      <a:noFill/>
                    </a:lnR>
                    <a:lnT>
                      <a:noFill/>
                    </a:lnT>
                    <a:lnB>
                      <a:noFill/>
                    </a:lnB>
                    <a:solidFill>
                      <a:srgbClr val="E7E6E6"/>
                    </a:solidFill>
                  </a:tcPr>
                </a:tc>
                <a:tc>
                  <a:txBody>
                    <a:bodyPr/>
                    <a:lstStyle/>
                    <a:p>
                      <a:pPr algn="ctr" fontAlgn="ctr"/>
                      <a:r>
                        <a:rPr lang="en-US" sz="1600" b="1" i="0" u="none" strike="noStrike">
                          <a:solidFill>
                            <a:srgbClr val="000000"/>
                          </a:solidFill>
                          <a:effectLst/>
                          <a:latin typeface="Calibri" panose="020F0502020204030204" pitchFamily="34" charset="0"/>
                        </a:rPr>
                        <a:t>Q1</a:t>
                      </a:r>
                    </a:p>
                  </a:txBody>
                  <a:tcPr marL="7620" marR="7620" marT="7620" marB="0" anchor="ctr">
                    <a:lnL>
                      <a:noFill/>
                    </a:lnL>
                    <a:lnR>
                      <a:noFill/>
                    </a:lnR>
                    <a:lnT>
                      <a:noFill/>
                    </a:lnT>
                    <a:lnB>
                      <a:noFill/>
                    </a:lnB>
                    <a:solidFill>
                      <a:srgbClr val="D0CECE"/>
                    </a:solidFill>
                  </a:tcPr>
                </a:tc>
                <a:tc>
                  <a:txBody>
                    <a:bodyPr/>
                    <a:lstStyle/>
                    <a:p>
                      <a:pPr algn="ctr" fontAlgn="ctr"/>
                      <a:r>
                        <a:rPr lang="en-US" sz="1600" b="1" i="0" u="none" strike="noStrike">
                          <a:solidFill>
                            <a:srgbClr val="000000"/>
                          </a:solidFill>
                          <a:effectLst/>
                          <a:latin typeface="Calibri" panose="020F0502020204030204" pitchFamily="34" charset="0"/>
                        </a:rPr>
                        <a:t>Q2</a:t>
                      </a:r>
                    </a:p>
                  </a:txBody>
                  <a:tcPr marL="7620" marR="7620" marT="7620" marB="0" anchor="ctr">
                    <a:lnL>
                      <a:noFill/>
                    </a:lnL>
                    <a:lnR>
                      <a:noFill/>
                    </a:lnR>
                    <a:lnT>
                      <a:noFill/>
                    </a:lnT>
                    <a:lnB>
                      <a:noFill/>
                    </a:lnB>
                    <a:solidFill>
                      <a:srgbClr val="D0CECE"/>
                    </a:solidFill>
                  </a:tcPr>
                </a:tc>
                <a:extLst>
                  <a:ext uri="{0D108BD9-81ED-4DB2-BD59-A6C34878D82A}">
                    <a16:rowId xmlns:a16="http://schemas.microsoft.com/office/drawing/2014/main" val="4179001782"/>
                  </a:ext>
                </a:extLst>
              </a:tr>
              <a:tr h="216755">
                <a:tc>
                  <a:txBody>
                    <a:bodyPr/>
                    <a:lstStyle/>
                    <a:p>
                      <a:pPr algn="l" fontAlgn="b"/>
                      <a:r>
                        <a:rPr lang="en-US" sz="1600" b="0" i="0" u="none" strike="noStrike">
                          <a:solidFill>
                            <a:srgbClr val="000000"/>
                          </a:solidFill>
                          <a:effectLst/>
                          <a:latin typeface="Calibri" panose="020F0502020204030204" pitchFamily="34" charset="0"/>
                        </a:rPr>
                        <a:t>Slovenia</a:t>
                      </a: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ELES</a:t>
                      </a: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70AD47"/>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70AD47"/>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ED7D31"/>
                    </a:solidFill>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extLst>
                  <a:ext uri="{0D108BD9-81ED-4DB2-BD59-A6C34878D82A}">
                    <a16:rowId xmlns:a16="http://schemas.microsoft.com/office/drawing/2014/main" val="1981279036"/>
                  </a:ext>
                </a:extLst>
              </a:tr>
              <a:tr h="216755">
                <a:tc>
                  <a:txBody>
                    <a:bodyPr/>
                    <a:lstStyle/>
                    <a:p>
                      <a:pPr algn="l" fontAlgn="b"/>
                      <a:r>
                        <a:rPr lang="en-US" sz="1600" b="0" i="0" u="none" strike="noStrike">
                          <a:solidFill>
                            <a:srgbClr val="000000"/>
                          </a:solidFill>
                          <a:effectLst/>
                          <a:latin typeface="Calibri" panose="020F0502020204030204" pitchFamily="34" charset="0"/>
                        </a:rPr>
                        <a:t>Croatia</a:t>
                      </a: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HOPS</a:t>
                      </a: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70AD47"/>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70AD47"/>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ED7D31"/>
                    </a:solidFill>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extLst>
                  <a:ext uri="{0D108BD9-81ED-4DB2-BD59-A6C34878D82A}">
                    <a16:rowId xmlns:a16="http://schemas.microsoft.com/office/drawing/2014/main" val="3610606449"/>
                  </a:ext>
                </a:extLst>
              </a:tr>
              <a:tr h="216755">
                <a:tc>
                  <a:txBody>
                    <a:bodyPr/>
                    <a:lstStyle/>
                    <a:p>
                      <a:pPr algn="l" fontAlgn="b"/>
                      <a:r>
                        <a:rPr lang="en-US" sz="1600" b="0" i="0" u="none" strike="noStrike">
                          <a:solidFill>
                            <a:srgbClr val="000000"/>
                          </a:solidFill>
                          <a:effectLst/>
                          <a:latin typeface="Calibri" panose="020F0502020204030204" pitchFamily="34" charset="0"/>
                        </a:rPr>
                        <a:t>Denmark</a:t>
                      </a: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Energinet</a:t>
                      </a: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70AD47"/>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ED7D31"/>
                    </a:solidFill>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extLst>
                  <a:ext uri="{0D108BD9-81ED-4DB2-BD59-A6C34878D82A}">
                    <a16:rowId xmlns:a16="http://schemas.microsoft.com/office/drawing/2014/main" val="3753389232"/>
                  </a:ext>
                </a:extLst>
              </a:tr>
              <a:tr h="216755">
                <a:tc>
                  <a:txBody>
                    <a:bodyPr/>
                    <a:lstStyle/>
                    <a:p>
                      <a:pPr algn="l" fontAlgn="b"/>
                      <a:r>
                        <a:rPr lang="en-US" sz="1600" b="0" i="0" u="none" strike="noStrike">
                          <a:solidFill>
                            <a:srgbClr val="000000"/>
                          </a:solidFill>
                          <a:effectLst/>
                          <a:latin typeface="Calibri" panose="020F0502020204030204" pitchFamily="34" charset="0"/>
                        </a:rPr>
                        <a:t>Poland</a:t>
                      </a: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PSE</a:t>
                      </a: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70AD47"/>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ED7D31"/>
                    </a:solidFill>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extLst>
                  <a:ext uri="{0D108BD9-81ED-4DB2-BD59-A6C34878D82A}">
                    <a16:rowId xmlns:a16="http://schemas.microsoft.com/office/drawing/2014/main" val="4257353790"/>
                  </a:ext>
                </a:extLst>
              </a:tr>
              <a:tr h="216755">
                <a:tc>
                  <a:txBody>
                    <a:bodyPr/>
                    <a:lstStyle/>
                    <a:p>
                      <a:pPr algn="l" fontAlgn="b"/>
                      <a:r>
                        <a:rPr lang="en-US" sz="1600" b="0" i="0" u="none" strike="noStrike">
                          <a:solidFill>
                            <a:srgbClr val="000000"/>
                          </a:solidFill>
                          <a:effectLst/>
                          <a:latin typeface="Calibri" panose="020F0502020204030204" pitchFamily="34" charset="0"/>
                        </a:rPr>
                        <a:t>Spain</a:t>
                      </a: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REE</a:t>
                      </a: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70AD47"/>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ED7D31"/>
                    </a:solidFill>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extLst>
                  <a:ext uri="{0D108BD9-81ED-4DB2-BD59-A6C34878D82A}">
                    <a16:rowId xmlns:a16="http://schemas.microsoft.com/office/drawing/2014/main" val="888328224"/>
                  </a:ext>
                </a:extLst>
              </a:tr>
              <a:tr h="216755">
                <a:tc>
                  <a:txBody>
                    <a:bodyPr/>
                    <a:lstStyle/>
                    <a:p>
                      <a:pPr algn="l" fontAlgn="b"/>
                      <a:r>
                        <a:rPr lang="en-US" sz="1600" b="0" i="0" u="none" strike="noStrike">
                          <a:solidFill>
                            <a:srgbClr val="000000"/>
                          </a:solidFill>
                          <a:effectLst/>
                          <a:latin typeface="Calibri" panose="020F0502020204030204" pitchFamily="34" charset="0"/>
                        </a:rPr>
                        <a:t>Portugal</a:t>
                      </a: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REN</a:t>
                      </a: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ED7D31"/>
                    </a:solidFill>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extLst>
                  <a:ext uri="{0D108BD9-81ED-4DB2-BD59-A6C34878D82A}">
                    <a16:rowId xmlns:a16="http://schemas.microsoft.com/office/drawing/2014/main" val="1180118146"/>
                  </a:ext>
                </a:extLst>
              </a:tr>
              <a:tr h="216755">
                <a:tc>
                  <a:txBody>
                    <a:bodyPr/>
                    <a:lstStyle/>
                    <a:p>
                      <a:pPr algn="l" fontAlgn="b"/>
                      <a:r>
                        <a:rPr lang="en-US" sz="1600" b="0" i="0" u="none" strike="noStrike">
                          <a:solidFill>
                            <a:srgbClr val="000000"/>
                          </a:solidFill>
                          <a:effectLst/>
                          <a:latin typeface="Calibri" panose="020F0502020204030204" pitchFamily="34" charset="0"/>
                        </a:rPr>
                        <a:t>Hungary</a:t>
                      </a: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MAVIR</a:t>
                      </a: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ED7D31"/>
                    </a:solidFill>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extLst>
                  <a:ext uri="{0D108BD9-81ED-4DB2-BD59-A6C34878D82A}">
                    <a16:rowId xmlns:a16="http://schemas.microsoft.com/office/drawing/2014/main" val="784800859"/>
                  </a:ext>
                </a:extLst>
              </a:tr>
              <a:tr h="216755">
                <a:tc>
                  <a:txBody>
                    <a:bodyPr/>
                    <a:lstStyle/>
                    <a:p>
                      <a:pPr algn="l" fontAlgn="b"/>
                      <a:r>
                        <a:rPr lang="en-US" sz="1600" b="0" i="0" u="none" strike="noStrike">
                          <a:solidFill>
                            <a:srgbClr val="000000"/>
                          </a:solidFill>
                          <a:effectLst/>
                          <a:latin typeface="Calibri" panose="020F0502020204030204" pitchFamily="34" charset="0"/>
                        </a:rPr>
                        <a:t>Italy</a:t>
                      </a: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Terna</a:t>
                      </a: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ED7D31"/>
                    </a:solidFill>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extLst>
                  <a:ext uri="{0D108BD9-81ED-4DB2-BD59-A6C34878D82A}">
                    <a16:rowId xmlns:a16="http://schemas.microsoft.com/office/drawing/2014/main" val="2042964893"/>
                  </a:ext>
                </a:extLst>
              </a:tr>
              <a:tr h="216755">
                <a:tc>
                  <a:txBody>
                    <a:bodyPr/>
                    <a:lstStyle/>
                    <a:p>
                      <a:pPr algn="l" fontAlgn="b"/>
                      <a:r>
                        <a:rPr lang="en-US" sz="1600" b="0" i="0" u="none" strike="noStrike">
                          <a:solidFill>
                            <a:srgbClr val="000000"/>
                          </a:solidFill>
                          <a:effectLst/>
                          <a:latin typeface="Calibri" panose="020F0502020204030204" pitchFamily="34" charset="0"/>
                        </a:rPr>
                        <a:t>Slovakia</a:t>
                      </a: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SEPS</a:t>
                      </a: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70AD47"/>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ED7D31"/>
                    </a:solidFill>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extLst>
                  <a:ext uri="{0D108BD9-81ED-4DB2-BD59-A6C34878D82A}">
                    <a16:rowId xmlns:a16="http://schemas.microsoft.com/office/drawing/2014/main" val="1545948058"/>
                  </a:ext>
                </a:extLst>
              </a:tr>
              <a:tr h="216755">
                <a:tc>
                  <a:txBody>
                    <a:bodyPr/>
                    <a:lstStyle/>
                    <a:p>
                      <a:pPr algn="l" fontAlgn="b"/>
                      <a:r>
                        <a:rPr lang="en-US" sz="1600" b="0" i="0" u="none" strike="noStrike">
                          <a:solidFill>
                            <a:srgbClr val="000000"/>
                          </a:solidFill>
                          <a:effectLst/>
                          <a:latin typeface="Calibri" panose="020F0502020204030204" pitchFamily="34" charset="0"/>
                        </a:rPr>
                        <a:t>Romania</a:t>
                      </a:r>
                    </a:p>
                  </a:txBody>
                  <a:tcPr marL="7620" marR="7620" marT="7620" marB="0" anchor="b">
                    <a:lnL>
                      <a:noFill/>
                    </a:lnL>
                    <a:lnR>
                      <a:noFill/>
                    </a:lnR>
                    <a:lnT>
                      <a:noFill/>
                    </a:lnT>
                    <a:lnB>
                      <a:noFill/>
                    </a:lnB>
                  </a:tcPr>
                </a:tc>
                <a:tc gridSpan="2">
                  <a:txBody>
                    <a:bodyPr/>
                    <a:lstStyle/>
                    <a:p>
                      <a:pPr algn="l" fontAlgn="b"/>
                      <a:r>
                        <a:rPr lang="en-US" sz="1600" b="0" i="0" u="none" strike="noStrike">
                          <a:solidFill>
                            <a:srgbClr val="000000"/>
                          </a:solidFill>
                          <a:effectLst/>
                          <a:latin typeface="Calibri" panose="020F0502020204030204" pitchFamily="34" charset="0"/>
                        </a:rPr>
                        <a:t>Transelectrica</a:t>
                      </a:r>
                    </a:p>
                  </a:txBody>
                  <a:tcPr marL="7620" marR="7620" marT="7620" marB="0" anchor="b">
                    <a:lnL>
                      <a:noFill/>
                    </a:lnL>
                    <a:lnR>
                      <a:noFill/>
                    </a:lnR>
                    <a:lnT>
                      <a:noFill/>
                    </a:lnT>
                    <a:lnB>
                      <a:noFill/>
                    </a:lnB>
                  </a:tcPr>
                </a:tc>
                <a:tc hMerge="1">
                  <a:txBody>
                    <a:bodyPr/>
                    <a:lstStyle/>
                    <a:p>
                      <a:endParaRPr lang="en-US"/>
                    </a:p>
                  </a:txBody>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70AD47"/>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ED7D31"/>
                    </a:solidFill>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extLst>
                  <a:ext uri="{0D108BD9-81ED-4DB2-BD59-A6C34878D82A}">
                    <a16:rowId xmlns:a16="http://schemas.microsoft.com/office/drawing/2014/main" val="1908980304"/>
                  </a:ext>
                </a:extLst>
              </a:tr>
              <a:tr h="216755">
                <a:tc>
                  <a:txBody>
                    <a:bodyPr/>
                    <a:lstStyle/>
                    <a:p>
                      <a:pPr algn="l" fontAlgn="b"/>
                      <a:r>
                        <a:rPr lang="en-US" sz="1600" b="0" i="0" u="none" strike="noStrike">
                          <a:solidFill>
                            <a:srgbClr val="000000"/>
                          </a:solidFill>
                          <a:effectLst/>
                          <a:latin typeface="Calibri" panose="020F0502020204030204" pitchFamily="34" charset="0"/>
                        </a:rPr>
                        <a:t>Bulgaria</a:t>
                      </a: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ESO</a:t>
                      </a: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70AD47"/>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ED7D31"/>
                    </a:solidFill>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extLst>
                  <a:ext uri="{0D108BD9-81ED-4DB2-BD59-A6C34878D82A}">
                    <a16:rowId xmlns:a16="http://schemas.microsoft.com/office/drawing/2014/main" val="3911210116"/>
                  </a:ext>
                </a:extLst>
              </a:tr>
              <a:tr h="216755">
                <a:tc>
                  <a:txBody>
                    <a:bodyPr/>
                    <a:lstStyle/>
                    <a:p>
                      <a:pPr algn="l" fontAlgn="b"/>
                      <a:r>
                        <a:rPr lang="en-US" sz="1600" b="0" i="0" u="none" strike="noStrike">
                          <a:solidFill>
                            <a:srgbClr val="000000"/>
                          </a:solidFill>
                          <a:effectLst/>
                          <a:latin typeface="Calibri" panose="020F0502020204030204" pitchFamily="34" charset="0"/>
                        </a:rPr>
                        <a:t>Greece</a:t>
                      </a: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ADMIE</a:t>
                      </a: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305496"/>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70AD47"/>
                    </a:solidFill>
                  </a:tcPr>
                </a:tc>
                <a:tc>
                  <a:txBody>
                    <a:bodyPr/>
                    <a:lstStyle/>
                    <a:p>
                      <a:pPr algn="l" fontAlgn="b"/>
                      <a:r>
                        <a:rPr lang="en-US" sz="1600" b="0" i="0" u="none" strike="noStrike">
                          <a:solidFill>
                            <a:srgbClr val="000000"/>
                          </a:solidFill>
                          <a:effectLst/>
                          <a:latin typeface="Calibri" panose="020F0502020204030204" pitchFamily="34" charset="0"/>
                        </a:rPr>
                        <a:t> </a:t>
                      </a:r>
                    </a:p>
                  </a:txBody>
                  <a:tcPr marL="7620" marR="7620" marT="7620" marB="0" anchor="b">
                    <a:lnL>
                      <a:noFill/>
                    </a:lnL>
                    <a:lnR>
                      <a:noFill/>
                    </a:lnR>
                    <a:lnT>
                      <a:noFill/>
                    </a:lnT>
                    <a:lnB>
                      <a:noFill/>
                    </a:lnB>
                    <a:solidFill>
                      <a:srgbClr val="ED7D31"/>
                    </a:solidFill>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extLst>
                  <a:ext uri="{0D108BD9-81ED-4DB2-BD59-A6C34878D82A}">
                    <a16:rowId xmlns:a16="http://schemas.microsoft.com/office/drawing/2014/main" val="329915002"/>
                  </a:ext>
                </a:extLst>
              </a:tr>
              <a:tr h="216755">
                <a:tc>
                  <a:txBody>
                    <a:bodyPr/>
                    <a:lstStyle/>
                    <a:p>
                      <a:pPr algn="l" fontAlgn="b"/>
                      <a:r>
                        <a:rPr lang="en-US" sz="1600" b="0" i="0" u="none" strike="noStrike">
                          <a:solidFill>
                            <a:srgbClr val="000000"/>
                          </a:solidFill>
                          <a:effectLst/>
                          <a:latin typeface="Calibri" panose="020F0502020204030204" pitchFamily="34" charset="0"/>
                        </a:rPr>
                        <a:t>Serbia</a:t>
                      </a:r>
                    </a:p>
                  </a:txBody>
                  <a:tcPr marL="7620" marR="7620" marT="7620" marB="0" anchor="b">
                    <a:lnL>
                      <a:noFill/>
                    </a:lnL>
                    <a:lnR>
                      <a:noFill/>
                    </a:lnR>
                    <a:lnT>
                      <a:noFill/>
                    </a:lnT>
                    <a:lnB>
                      <a:noFill/>
                    </a:lnB>
                  </a:tcPr>
                </a:tc>
                <a:tc>
                  <a:txBody>
                    <a:bodyPr/>
                    <a:lstStyle/>
                    <a:p>
                      <a:pPr algn="l" fontAlgn="b"/>
                      <a:r>
                        <a:rPr lang="en-US" sz="1600" b="0" i="0" u="none" strike="noStrike">
                          <a:solidFill>
                            <a:srgbClr val="000000"/>
                          </a:solidFill>
                          <a:effectLst/>
                          <a:latin typeface="Calibri" panose="020F0502020204030204" pitchFamily="34" charset="0"/>
                        </a:rPr>
                        <a:t>EMS</a:t>
                      </a:r>
                    </a:p>
                  </a:txBody>
                  <a:tcPr marL="7620" marR="7620" marT="7620" marB="0" anchor="b">
                    <a:lnL>
                      <a:noFill/>
                    </a:lnL>
                    <a:lnR>
                      <a:noFill/>
                    </a:lnR>
                    <a:lnT>
                      <a:noFill/>
                    </a:lnT>
                    <a:lnB>
                      <a:noFill/>
                    </a:lnB>
                  </a:tcPr>
                </a:tc>
                <a:tc gridSpan="2">
                  <a:txBody>
                    <a:bodyPr/>
                    <a:lstStyle/>
                    <a:p>
                      <a:pPr algn="l" fontAlgn="b"/>
                      <a:r>
                        <a:rPr lang="en-US" sz="1600" b="0" i="0" u="none" strike="noStrike">
                          <a:solidFill>
                            <a:srgbClr val="000000"/>
                          </a:solidFill>
                          <a:effectLst/>
                          <a:latin typeface="Calibri" panose="020F0502020204030204" pitchFamily="34" charset="0"/>
                        </a:rPr>
                        <a:t>TBC</a:t>
                      </a:r>
                    </a:p>
                  </a:txBody>
                  <a:tcPr marL="7620" marR="7620" marT="7620" marB="0" anchor="b">
                    <a:lnL>
                      <a:noFill/>
                    </a:lnL>
                    <a:lnR>
                      <a:noFill/>
                    </a:lnR>
                    <a:lnT>
                      <a:noFill/>
                    </a:lnT>
                    <a:lnB>
                      <a:noFill/>
                    </a:lnB>
                  </a:tcPr>
                </a:tc>
                <a:tc hMerge="1">
                  <a:txBody>
                    <a:bodyPr/>
                    <a:lstStyle/>
                    <a:p>
                      <a:endParaRPr lang="en-US"/>
                    </a:p>
                  </a:txBody>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a:solidFill>
                          <a:srgbClr val="000000"/>
                        </a:solidFill>
                        <a:effectLst/>
                        <a:latin typeface="Calibri" panose="020F0502020204030204" pitchFamily="34" charset="0"/>
                      </a:endParaRPr>
                    </a:p>
                  </a:txBody>
                  <a:tcPr marL="7620" marR="7620" marT="7620" marB="0" anchor="b">
                    <a:lnL>
                      <a:noFill/>
                    </a:lnL>
                    <a:lnR>
                      <a:noFill/>
                    </a:lnR>
                    <a:lnT>
                      <a:noFill/>
                    </a:lnT>
                    <a:lnB>
                      <a:noFill/>
                    </a:lnB>
                  </a:tcPr>
                </a:tc>
                <a:tc>
                  <a:txBody>
                    <a:bodyPr/>
                    <a:lstStyle/>
                    <a:p>
                      <a:pPr algn="l" fontAlgn="b"/>
                      <a:endParaRPr lang="en-US" sz="1600" b="0" i="0" u="none" strike="noStrike" dirty="0">
                        <a:solidFill>
                          <a:srgbClr val="000000"/>
                        </a:solidFill>
                        <a:effectLst/>
                        <a:latin typeface="Calibri" panose="020F0502020204030204" pitchFamily="34" charset="0"/>
                      </a:endParaRPr>
                    </a:p>
                  </a:txBody>
                  <a:tcPr marL="7620" marR="7620" marT="7620" marB="0" anchor="b">
                    <a:lnL>
                      <a:noFill/>
                    </a:lnL>
                    <a:lnR>
                      <a:noFill/>
                    </a:lnR>
                    <a:lnT>
                      <a:noFill/>
                    </a:lnT>
                    <a:lnB>
                      <a:noFill/>
                    </a:lnB>
                  </a:tcPr>
                </a:tc>
                <a:extLst>
                  <a:ext uri="{0D108BD9-81ED-4DB2-BD59-A6C34878D82A}">
                    <a16:rowId xmlns:a16="http://schemas.microsoft.com/office/drawing/2014/main" val="1845418000"/>
                  </a:ext>
                </a:extLst>
              </a:tr>
            </a:tbl>
          </a:graphicData>
        </a:graphic>
      </p:graphicFrame>
      <p:pic>
        <p:nvPicPr>
          <p:cNvPr id="6" name="Picture 5">
            <a:extLst>
              <a:ext uri="{FF2B5EF4-FFF2-40B4-BE49-F238E27FC236}">
                <a16:creationId xmlns:a16="http://schemas.microsoft.com/office/drawing/2014/main" id="{036B8AFD-2B17-4866-B437-717014C7DAFD}"/>
              </a:ext>
            </a:extLst>
          </p:cNvPr>
          <p:cNvPicPr>
            <a:picLocks noChangeAspect="1"/>
          </p:cNvPicPr>
          <p:nvPr/>
        </p:nvPicPr>
        <p:blipFill>
          <a:blip r:embed="rId3"/>
          <a:stretch>
            <a:fillRect/>
          </a:stretch>
        </p:blipFill>
        <p:spPr>
          <a:xfrm>
            <a:off x="8281743" y="2996997"/>
            <a:ext cx="3590925" cy="1285875"/>
          </a:xfrm>
          <a:prstGeom prst="rect">
            <a:avLst/>
          </a:prstGeom>
        </p:spPr>
      </p:pic>
      <p:sp>
        <p:nvSpPr>
          <p:cNvPr id="7" name="TextBox 6">
            <a:extLst>
              <a:ext uri="{FF2B5EF4-FFF2-40B4-BE49-F238E27FC236}">
                <a16:creationId xmlns:a16="http://schemas.microsoft.com/office/drawing/2014/main" id="{0999B7A5-46DD-4D6C-99A6-7D27BB69C858}"/>
              </a:ext>
            </a:extLst>
          </p:cNvPr>
          <p:cNvSpPr txBox="1"/>
          <p:nvPr/>
        </p:nvSpPr>
        <p:spPr>
          <a:xfrm>
            <a:off x="767963" y="1319910"/>
            <a:ext cx="11008206" cy="369332"/>
          </a:xfrm>
          <a:prstGeom prst="rect">
            <a:avLst/>
          </a:prstGeom>
          <a:noFill/>
        </p:spPr>
        <p:txBody>
          <a:bodyPr wrap="none" rtlCol="0">
            <a:spAutoFit/>
          </a:bodyPr>
          <a:lstStyle/>
          <a:p>
            <a:r>
              <a:rPr lang="en-GB" b="1" dirty="0"/>
              <a:t>EB GL Art. 22(5)</a:t>
            </a:r>
            <a:r>
              <a:rPr lang="en-GB" dirty="0"/>
              <a:t>: deadline for implementation is one year after the approval of the INIF (est. Q2/Q3 2020).</a:t>
            </a:r>
            <a:endParaRPr lang="en-US" dirty="0"/>
          </a:p>
        </p:txBody>
      </p:sp>
    </p:spTree>
    <p:extLst>
      <p:ext uri="{BB962C8B-B14F-4D97-AF65-F5344CB8AC3E}">
        <p14:creationId xmlns:p14="http://schemas.microsoft.com/office/powerpoint/2010/main" val="36605660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286161-C1B4-44BC-B54C-97875C035C0E}"/>
              </a:ext>
            </a:extLst>
          </p:cNvPr>
          <p:cNvSpPr>
            <a:spLocks noGrp="1"/>
          </p:cNvSpPr>
          <p:nvPr>
            <p:ph type="sldNum" sz="quarter" idx="10"/>
          </p:nvPr>
        </p:nvSpPr>
        <p:spPr/>
        <p:txBody>
          <a:bodyPr/>
          <a:lstStyle/>
          <a:p>
            <a:fld id="{D4E6D71C-ACD7-49D2-9689-F9C4024FAC38}" type="slidenum">
              <a:rPr lang="en-IE" smtClean="0"/>
              <a:pPr/>
              <a:t>8</a:t>
            </a:fld>
            <a:endParaRPr lang="en-IE" dirty="0"/>
          </a:p>
        </p:txBody>
      </p:sp>
      <p:sp>
        <p:nvSpPr>
          <p:cNvPr id="3" name="Text Placeholder 2">
            <a:extLst>
              <a:ext uri="{FF2B5EF4-FFF2-40B4-BE49-F238E27FC236}">
                <a16:creationId xmlns:a16="http://schemas.microsoft.com/office/drawing/2014/main" id="{25CD5050-96CD-42EA-97FD-0E1CE8387155}"/>
              </a:ext>
            </a:extLst>
          </p:cNvPr>
          <p:cNvSpPr>
            <a:spLocks noGrp="1"/>
          </p:cNvSpPr>
          <p:nvPr>
            <p:ph type="body" sz="quarter" idx="11"/>
          </p:nvPr>
        </p:nvSpPr>
        <p:spPr>
          <a:xfrm>
            <a:off x="414337" y="456139"/>
            <a:ext cx="11160125" cy="708025"/>
          </a:xfrm>
        </p:spPr>
        <p:txBody>
          <a:bodyPr>
            <a:normAutofit/>
          </a:bodyPr>
          <a:lstStyle/>
          <a:p>
            <a:r>
              <a:rPr lang="en-GB" dirty="0">
                <a:solidFill>
                  <a:schemeClr val="accent1"/>
                </a:solidFill>
              </a:rPr>
              <a:t>Implementation roadmap</a:t>
            </a:r>
            <a:endParaRPr lang="en-US" dirty="0">
              <a:solidFill>
                <a:schemeClr val="accent1"/>
              </a:solidFill>
            </a:endParaRPr>
          </a:p>
        </p:txBody>
      </p:sp>
      <p:sp>
        <p:nvSpPr>
          <p:cNvPr id="13" name="TextBox 12">
            <a:extLst>
              <a:ext uri="{FF2B5EF4-FFF2-40B4-BE49-F238E27FC236}">
                <a16:creationId xmlns:a16="http://schemas.microsoft.com/office/drawing/2014/main" id="{C664E330-7120-4C22-8803-190C2A755799}"/>
              </a:ext>
            </a:extLst>
          </p:cNvPr>
          <p:cNvSpPr txBox="1"/>
          <p:nvPr/>
        </p:nvSpPr>
        <p:spPr>
          <a:xfrm>
            <a:off x="767963" y="1268985"/>
            <a:ext cx="10656074" cy="4739759"/>
          </a:xfrm>
          <a:prstGeom prst="rect">
            <a:avLst/>
          </a:prstGeom>
          <a:noFill/>
          <a:ln>
            <a:noFill/>
          </a:ln>
        </p:spPr>
        <p:style>
          <a:lnRef idx="1">
            <a:schemeClr val="accent2"/>
          </a:lnRef>
          <a:fillRef idx="2">
            <a:schemeClr val="accent2"/>
          </a:fillRef>
          <a:effectRef idx="1">
            <a:schemeClr val="accent2"/>
          </a:effectRef>
          <a:fontRef idx="minor">
            <a:schemeClr val="dk1"/>
          </a:fontRef>
        </p:style>
        <p:txBody>
          <a:bodyPr wrap="square" rtlCol="0">
            <a:spAutoFit/>
          </a:bodyPr>
          <a:lstStyle/>
          <a:p>
            <a:pPr marL="0" lvl="1">
              <a:spcAft>
                <a:spcPts val="600"/>
              </a:spcAft>
              <a:buClr>
                <a:schemeClr val="accent1"/>
              </a:buClr>
            </a:pPr>
            <a:r>
              <a:rPr lang="en-GB" b="1" dirty="0">
                <a:solidFill>
                  <a:schemeClr val="accent1"/>
                </a:solidFill>
              </a:rPr>
              <a:t>Accessions</a:t>
            </a:r>
            <a:endParaRPr lang="en-US" b="1" dirty="0"/>
          </a:p>
          <a:p>
            <a:pPr marL="285750" lvl="1" indent="-285750">
              <a:spcAft>
                <a:spcPts val="600"/>
              </a:spcAft>
              <a:buClr>
                <a:schemeClr val="accent1"/>
              </a:buClr>
              <a:buFont typeface="Arial" panose="020B0604020202020204" pitchFamily="34" charset="0"/>
              <a:buChar char="•"/>
            </a:pPr>
            <a:r>
              <a:rPr lang="en-US" b="1" dirty="0"/>
              <a:t>Denmark - DK1</a:t>
            </a:r>
            <a:r>
              <a:rPr lang="en-US" dirty="0"/>
              <a:t>: changing communication protocols and becoming an LFC area before joining IGCC. Advanced planning of communication line.</a:t>
            </a:r>
          </a:p>
          <a:p>
            <a:pPr marL="285750" lvl="1" indent="-285750">
              <a:spcAft>
                <a:spcPts val="600"/>
              </a:spcAft>
              <a:buClr>
                <a:schemeClr val="accent1"/>
              </a:buClr>
              <a:buFont typeface="Arial" panose="020B0604020202020204" pitchFamily="34" charset="0"/>
              <a:buChar char="•"/>
            </a:pPr>
            <a:r>
              <a:rPr lang="en-US" b="1" dirty="0"/>
              <a:t>Poland - PSE</a:t>
            </a:r>
            <a:r>
              <a:rPr lang="en-US" dirty="0"/>
              <a:t>: communication lines planned and properties on SQM device agreed. Bilateral agreement for accounting of unintended deviations signed. </a:t>
            </a:r>
          </a:p>
          <a:p>
            <a:pPr marL="285750" lvl="1" indent="-285750">
              <a:spcAft>
                <a:spcPts val="600"/>
              </a:spcAft>
              <a:buClr>
                <a:schemeClr val="accent1"/>
              </a:buClr>
              <a:buFont typeface="Arial" panose="020B0604020202020204" pitchFamily="34" charset="0"/>
              <a:buChar char="•"/>
            </a:pPr>
            <a:r>
              <a:rPr lang="en-US" b="1" dirty="0"/>
              <a:t>Spain - REE</a:t>
            </a:r>
            <a:r>
              <a:rPr lang="en-US" dirty="0"/>
              <a:t>: one communication line being agreed between REE-RTE, which will enable to connect REE to </a:t>
            </a:r>
            <a:r>
              <a:rPr lang="en-US" dirty="0" err="1"/>
              <a:t>TransnetBW</a:t>
            </a:r>
            <a:r>
              <a:rPr lang="en-US" dirty="0"/>
              <a:t>. </a:t>
            </a:r>
          </a:p>
          <a:p>
            <a:pPr marL="285750" lvl="1" indent="-285750">
              <a:spcAft>
                <a:spcPts val="600"/>
              </a:spcAft>
              <a:buClr>
                <a:schemeClr val="accent1"/>
              </a:buClr>
              <a:buFont typeface="Arial" panose="020B0604020202020204" pitchFamily="34" charset="0"/>
              <a:buChar char="•"/>
            </a:pPr>
            <a:r>
              <a:rPr lang="en-US" b="1" dirty="0"/>
              <a:t>Portugal - REN</a:t>
            </a:r>
            <a:r>
              <a:rPr lang="en-US" dirty="0"/>
              <a:t>:  one communication line getting ready in Q3 2019.</a:t>
            </a:r>
          </a:p>
          <a:p>
            <a:pPr marL="285750" lvl="1" indent="-285750">
              <a:spcAft>
                <a:spcPts val="600"/>
              </a:spcAft>
              <a:buClr>
                <a:schemeClr val="accent1"/>
              </a:buClr>
              <a:buFont typeface="Arial" panose="020B0604020202020204" pitchFamily="34" charset="0"/>
              <a:buChar char="•"/>
            </a:pPr>
            <a:r>
              <a:rPr lang="en-US" b="1" dirty="0"/>
              <a:t>Hungary - MAVIR</a:t>
            </a:r>
            <a:r>
              <a:rPr lang="en-US" dirty="0"/>
              <a:t>: advanced discussions on protocol and communication lines.</a:t>
            </a:r>
          </a:p>
          <a:p>
            <a:pPr marL="285750" lvl="1" indent="-285750">
              <a:spcAft>
                <a:spcPts val="600"/>
              </a:spcAft>
              <a:buClr>
                <a:schemeClr val="accent1"/>
              </a:buClr>
              <a:buFont typeface="Arial" panose="020B0604020202020204" pitchFamily="34" charset="0"/>
              <a:buChar char="•"/>
            </a:pPr>
            <a:r>
              <a:rPr lang="en-US" b="1" dirty="0"/>
              <a:t>Italy - Terna</a:t>
            </a:r>
            <a:r>
              <a:rPr lang="en-US" dirty="0"/>
              <a:t>: a third party communication line is currently in implementation, protocol discussions.</a:t>
            </a:r>
          </a:p>
          <a:p>
            <a:pPr marL="285750" lvl="1" indent="-285750">
              <a:spcAft>
                <a:spcPts val="600"/>
              </a:spcAft>
              <a:buClr>
                <a:schemeClr val="accent1"/>
              </a:buClr>
              <a:buFont typeface="Arial" panose="020B0604020202020204" pitchFamily="34" charset="0"/>
              <a:buChar char="•"/>
            </a:pPr>
            <a:r>
              <a:rPr lang="en-US" b="1" dirty="0"/>
              <a:t>Slovakia - SEPS</a:t>
            </a:r>
            <a:r>
              <a:rPr lang="en-US" dirty="0"/>
              <a:t>: advanced protocol discussions.</a:t>
            </a:r>
          </a:p>
          <a:p>
            <a:pPr marL="285750" lvl="1" indent="-285750">
              <a:spcAft>
                <a:spcPts val="600"/>
              </a:spcAft>
              <a:buClr>
                <a:schemeClr val="accent1"/>
              </a:buClr>
              <a:buFont typeface="Arial" panose="020B0604020202020204" pitchFamily="34" charset="0"/>
              <a:buChar char="•"/>
            </a:pPr>
            <a:r>
              <a:rPr lang="en-US" b="1" dirty="0"/>
              <a:t>ESO, Transelectrica, ADMIE</a:t>
            </a:r>
            <a:r>
              <a:rPr lang="en-US" dirty="0"/>
              <a:t>: internal planning discussions ongoing. </a:t>
            </a:r>
          </a:p>
          <a:p>
            <a:pPr marL="285750" lvl="1" indent="-285750">
              <a:spcAft>
                <a:spcPts val="600"/>
              </a:spcAft>
              <a:buClr>
                <a:schemeClr val="accent1"/>
              </a:buClr>
              <a:buFont typeface="Arial" panose="020B0604020202020204" pitchFamily="34" charset="0"/>
              <a:buChar char="•"/>
            </a:pPr>
            <a:r>
              <a:rPr lang="en-US" b="1" dirty="0"/>
              <a:t>Serbia - EMS</a:t>
            </a:r>
            <a:r>
              <a:rPr lang="en-US" dirty="0"/>
              <a:t>: pending decision by CE TSOs.</a:t>
            </a:r>
          </a:p>
          <a:p>
            <a:pPr marL="285750" lvl="1" indent="-285750">
              <a:spcAft>
                <a:spcPts val="600"/>
              </a:spcAft>
              <a:buClr>
                <a:schemeClr val="accent1"/>
              </a:buClr>
              <a:buFont typeface="Arial" panose="020B0604020202020204" pitchFamily="34" charset="0"/>
              <a:buChar char="•"/>
            </a:pPr>
            <a:r>
              <a:rPr lang="en-US" dirty="0"/>
              <a:t>Technical discussions with NOS and CGES.</a:t>
            </a:r>
          </a:p>
        </p:txBody>
      </p:sp>
    </p:spTree>
    <p:extLst>
      <p:ext uri="{BB962C8B-B14F-4D97-AF65-F5344CB8AC3E}">
        <p14:creationId xmlns:p14="http://schemas.microsoft.com/office/powerpoint/2010/main" val="14455278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286161-C1B4-44BC-B54C-97875C035C0E}"/>
              </a:ext>
            </a:extLst>
          </p:cNvPr>
          <p:cNvSpPr>
            <a:spLocks noGrp="1"/>
          </p:cNvSpPr>
          <p:nvPr>
            <p:ph type="sldNum" sz="quarter" idx="10"/>
          </p:nvPr>
        </p:nvSpPr>
        <p:spPr/>
        <p:txBody>
          <a:bodyPr/>
          <a:lstStyle/>
          <a:p>
            <a:fld id="{D4E6D71C-ACD7-49D2-9689-F9C4024FAC38}" type="slidenum">
              <a:rPr lang="en-IE" smtClean="0"/>
              <a:pPr/>
              <a:t>9</a:t>
            </a:fld>
            <a:endParaRPr lang="en-IE" dirty="0"/>
          </a:p>
        </p:txBody>
      </p:sp>
      <p:sp>
        <p:nvSpPr>
          <p:cNvPr id="3" name="Text Placeholder 2">
            <a:extLst>
              <a:ext uri="{FF2B5EF4-FFF2-40B4-BE49-F238E27FC236}">
                <a16:creationId xmlns:a16="http://schemas.microsoft.com/office/drawing/2014/main" id="{25CD5050-96CD-42EA-97FD-0E1CE8387155}"/>
              </a:ext>
            </a:extLst>
          </p:cNvPr>
          <p:cNvSpPr>
            <a:spLocks noGrp="1"/>
          </p:cNvSpPr>
          <p:nvPr>
            <p:ph type="body" sz="quarter" idx="11"/>
          </p:nvPr>
        </p:nvSpPr>
        <p:spPr>
          <a:xfrm>
            <a:off x="414337" y="456139"/>
            <a:ext cx="11160125" cy="708025"/>
          </a:xfrm>
        </p:spPr>
        <p:txBody>
          <a:bodyPr>
            <a:normAutofit/>
          </a:bodyPr>
          <a:lstStyle/>
          <a:p>
            <a:r>
              <a:rPr lang="en-GB" dirty="0">
                <a:solidFill>
                  <a:schemeClr val="accent1"/>
                </a:solidFill>
              </a:rPr>
              <a:t>Implementation roadmap</a:t>
            </a:r>
            <a:endParaRPr lang="en-US" dirty="0">
              <a:solidFill>
                <a:schemeClr val="accent1"/>
              </a:solidFill>
            </a:endParaRPr>
          </a:p>
        </p:txBody>
      </p:sp>
      <p:sp>
        <p:nvSpPr>
          <p:cNvPr id="13" name="TextBox 12">
            <a:extLst>
              <a:ext uri="{FF2B5EF4-FFF2-40B4-BE49-F238E27FC236}">
                <a16:creationId xmlns:a16="http://schemas.microsoft.com/office/drawing/2014/main" id="{C664E330-7120-4C22-8803-190C2A755799}"/>
              </a:ext>
            </a:extLst>
          </p:cNvPr>
          <p:cNvSpPr txBox="1"/>
          <p:nvPr/>
        </p:nvSpPr>
        <p:spPr>
          <a:xfrm>
            <a:off x="1199966" y="1556987"/>
            <a:ext cx="9978469" cy="1354217"/>
          </a:xfrm>
          <a:prstGeom prst="rect">
            <a:avLst/>
          </a:prstGeom>
          <a:noFill/>
          <a:ln>
            <a:noFill/>
          </a:ln>
        </p:spPr>
        <p:style>
          <a:lnRef idx="1">
            <a:schemeClr val="accent2"/>
          </a:lnRef>
          <a:fillRef idx="2">
            <a:schemeClr val="accent2"/>
          </a:fillRef>
          <a:effectRef idx="1">
            <a:schemeClr val="accent2"/>
          </a:effectRef>
          <a:fontRef idx="minor">
            <a:schemeClr val="dk1"/>
          </a:fontRef>
        </p:style>
        <p:txBody>
          <a:bodyPr wrap="square" rtlCol="0">
            <a:spAutoFit/>
          </a:bodyPr>
          <a:lstStyle/>
          <a:p>
            <a:pPr marL="0" lvl="1">
              <a:spcAft>
                <a:spcPts val="600"/>
              </a:spcAft>
              <a:buClr>
                <a:schemeClr val="accent1"/>
              </a:buClr>
            </a:pPr>
            <a:r>
              <a:rPr lang="en-GB" b="1" dirty="0">
                <a:solidFill>
                  <a:schemeClr val="accent1"/>
                </a:solidFill>
              </a:rPr>
              <a:t>Host TSO</a:t>
            </a:r>
            <a:r>
              <a:rPr lang="en-US" b="1" dirty="0">
                <a:solidFill>
                  <a:schemeClr val="accent1"/>
                </a:solidFill>
              </a:rPr>
              <a:t> </a:t>
            </a:r>
            <a:r>
              <a:rPr lang="en-US" dirty="0"/>
              <a:t>(</a:t>
            </a:r>
            <a:r>
              <a:rPr lang="en-US" dirty="0" err="1"/>
              <a:t>TransnetBW</a:t>
            </a:r>
            <a:r>
              <a:rPr lang="en-US" dirty="0"/>
              <a:t>):</a:t>
            </a:r>
          </a:p>
          <a:p>
            <a:pPr marL="285750" lvl="1" indent="-285750">
              <a:spcAft>
                <a:spcPts val="600"/>
              </a:spcAft>
              <a:buClr>
                <a:schemeClr val="accent1"/>
              </a:buClr>
              <a:buFont typeface="Arial" panose="020B0604020202020204" pitchFamily="34" charset="0"/>
              <a:buChar char="•"/>
            </a:pPr>
            <a:r>
              <a:rPr lang="en-US" dirty="0" err="1"/>
              <a:t>TransnetBW</a:t>
            </a:r>
            <a:r>
              <a:rPr lang="en-US" dirty="0"/>
              <a:t> has ordered protocol converters </a:t>
            </a:r>
            <a:r>
              <a:rPr lang="en-US" dirty="0" err="1"/>
              <a:t>Tase</a:t>
            </a:r>
            <a:r>
              <a:rPr lang="en-US" dirty="0"/>
              <a:t>/IEC for REE, REN, Terna and </a:t>
            </a:r>
            <a:r>
              <a:rPr lang="en-US" dirty="0" err="1"/>
              <a:t>Energinet</a:t>
            </a:r>
            <a:r>
              <a:rPr lang="en-US" dirty="0"/>
              <a:t>.</a:t>
            </a:r>
          </a:p>
          <a:p>
            <a:pPr marL="285750" lvl="1" indent="-285750">
              <a:spcAft>
                <a:spcPts val="600"/>
              </a:spcAft>
              <a:buClr>
                <a:schemeClr val="accent1"/>
              </a:buClr>
              <a:buFont typeface="Arial" panose="020B0604020202020204" pitchFamily="34" charset="0"/>
              <a:buChar char="•"/>
            </a:pPr>
            <a:r>
              <a:rPr lang="en-US" dirty="0" err="1"/>
              <a:t>TransnetBW</a:t>
            </a:r>
            <a:r>
              <a:rPr lang="en-US" dirty="0"/>
              <a:t> has ordered support from the protocol converter supplier to coordinate the communication of these TSOs with the converter.</a:t>
            </a:r>
          </a:p>
        </p:txBody>
      </p:sp>
    </p:spTree>
    <p:extLst>
      <p:ext uri="{BB962C8B-B14F-4D97-AF65-F5344CB8AC3E}">
        <p14:creationId xmlns:p14="http://schemas.microsoft.com/office/powerpoint/2010/main" val="4398242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MdIRb6dRnapIlTLFnoK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DbHCZeEQb28GmwQcKas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mUxVwiQ2atgnAsx1YT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7Ip1sayHTQW8IFxD5WYsE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hmPwhhrQ82RvoLjm6Zma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CxCZ7AiRFuLp_j9J_dL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iNaZADB7RkWvnIfGk9WcP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_UPdPKiSGuHYYQSmk7_X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luMtAIOSziuzPDnxVr6D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rTZEtjlRQSOGhrLjoHE6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3rIJXmGzTB2G_GoMh2kd6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oMk6FedRYezL6p7z2f0g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9WpB8NBBSqGNzlIdx.Z5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3WtmAEORtS6hgTS1QjBy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z6p.9jvSiW8r2rlO45T6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mCR1294jQXuHJ4n1.gbr7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0bbVIbmbRlqmWEsWqkHLx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vnXFBDJaSWK.YPs1x7rnt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dniHJpgTE6Bue6dYlnL.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15WOSOHQvS.zIz3Rqu3V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eZhYT5RpmWTjfw.mLki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7.Q5lD6SViiwnZeG_NyP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Q3JYOMySZ2TNTf5YjMw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OLXIOKyQku60KrXibbpQ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_oPle5mYTLirrRQo0fb4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Mki5yhRsSEy5he33VW.aL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PppLI4K9SDa7QXx9F_vnR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c5Hd69SOm7yJImuBhW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Lj.8QUrEQdisQDtViY_Gg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vQ_bb3iS1qBgBAmNU6mr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N88ERahTtuPbe18DyytO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GJjfqLfRvGlm99A3j7dP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Qxo7NcRS.yaVYB3MGB.K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MNZDe3NROuOTMwJBxHqA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sKXlyn2NS0a.DqRPtcj70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qr_urawScmBrOrH2fyQ0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w2GQjqgQUC0MrZmktJEV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DSfkES7TNOQXGTwlH1Oz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qSPbZvSQ7yFlnv7gXB1r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J2NtEnoTpOWvPz4SXmy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P0H9TGQh6tduWMSozi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E7vNeGRSsWIYHfEkn_ay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rebKs7KTBmpxp4i.ODS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XgF5jcJSXyPKw1rqymFp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gO1JVTGSbWGHJr2XFjZu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3lF33HbJSnWPH1Y.vU8ru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ghjV1ffvTNWvcWYPKKGkB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eFvgqmTMTnKSUdJzrrX.d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YjG2oAXZRbiwjxQJ9fxea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_ORPTipRH.t_YnEGFz45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iyoq0Y_SzyW6R876iy9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ioY.CYtFTxiCgdN0Taxow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TdBOBB7QcmP2MWvwLhxa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qKycRnyGT2KLftJvP9OmU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xXq6tdGbThCM36_eDNQHn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53CugTaoTtKcP4wzH2nqm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Qjxh19KvQMeoKiQDqqdIj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Z0iJeBuQ.29fTqY2Zv6B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GdfIRnWRzqRjxCD7Lhk4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PBTroI6eQsW6JXfa00DBp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ngJzBrHbTsWOBxqd4PHf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Rgc7QZusQnSJCmHVzV2HZ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LQh4NiByQIK4028KxKnNz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2wnpEb3MS2G187H0sTFKo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W0RVd18VRD6_BL21dUxRG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AN0AucyS36ztkRuUdw6M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6en7GJ86RJOGLI3BYNTpo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ASQhKE_TTKj_wK5jtwlw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lvrQq8KTWKXBz5QYyXvr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PkLYxWOpSA2TyHBm382Ib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w.mLohulRXKsh2U_9gbj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NNSHQaUR7.k.mGyGEFV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Xqo_sXi8T4SXVJTH9p7d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MNZDe3NROuOTMwJBxHqA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DMNZDe3NROuOTMwJBxHqA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DMNZDe3NROuOTMwJBxHqA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DMNZDe3NROuOTMwJBxHqA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MNZDe3NROuOTMwJBxHqA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Q3JYOMySZ2TNTf5YjMwn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MNZDe3NROuOTMwJBxHqA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7c0SKKAPSfeH9ytjAmkmq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7c0SKKAPSfeH9ytjAmkm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QbBa99PR2ueu5Yi.xZGk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7c0SKKAPSfeH9ytjAmkmq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7c0SKKAPSfeH9ytjAmkmq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7c0SKKAPSfeH9ytjAmkmq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7c0SKKAPSfeH9ytjAmkmq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7c0SKKAPSfeH9ytjAmkmqw"/>
</p:tagLst>
</file>

<file path=ppt/theme/theme1.xml><?xml version="1.0" encoding="utf-8"?>
<a:theme xmlns:a="http://schemas.openxmlformats.org/drawingml/2006/main" name="Office Theme">
  <a:themeElements>
    <a:clrScheme name="Entso-e theme 2.0">
      <a:dk1>
        <a:srgbClr val="3F3F3F"/>
      </a:dk1>
      <a:lt1>
        <a:srgbClr val="FFFFFF"/>
      </a:lt1>
      <a:dk2>
        <a:srgbClr val="3F3F3F"/>
      </a:dk2>
      <a:lt2>
        <a:srgbClr val="E7E6E6"/>
      </a:lt2>
      <a:accent1>
        <a:srgbClr val="23618E"/>
      </a:accent1>
      <a:accent2>
        <a:srgbClr val="A1C6D7"/>
      </a:accent2>
      <a:accent3>
        <a:srgbClr val="BF560F"/>
      </a:accent3>
      <a:accent4>
        <a:srgbClr val="F7A431"/>
      </a:accent4>
      <a:accent5>
        <a:srgbClr val="734267"/>
      </a:accent5>
      <a:accent6>
        <a:srgbClr val="9D7793"/>
      </a:accent6>
      <a:hlink>
        <a:srgbClr val="0563C1"/>
      </a:hlink>
      <a:folHlink>
        <a:srgbClr val="954F72"/>
      </a:folHlink>
    </a:clrScheme>
    <a:fontScheme name="ENTSOE NEW">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30E1F866-798B-4DDC-B22F-BCD1A50AA79A}" vid="{3D330E4A-CB6D-4420-9238-4AB8E30DDD60}"/>
    </a:ext>
  </a:extLst>
</a:theme>
</file>

<file path=ppt/theme/theme2.xml><?xml version="1.0" encoding="utf-8"?>
<a:theme xmlns:a="http://schemas.openxmlformats.org/drawingml/2006/main" name="12_Magnus Red 4ENERGY">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square" rtlCol="0">
        <a:spAutoFit/>
      </a:bodyPr>
      <a:lstStyle>
        <a:defPPr>
          <a:defRPr sz="1600" smtClean="0"/>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3.xml><?xml version="1.0" encoding="utf-8"?>
<a:theme xmlns:a="http://schemas.openxmlformats.org/drawingml/2006/main" name="1_Thème Office">
  <a:themeElements>
    <a:clrScheme name="Palissade">
      <a:dk1>
        <a:srgbClr val="000000"/>
      </a:dk1>
      <a:lt1>
        <a:sysClr val="window" lastClr="FFFFFF"/>
      </a:lt1>
      <a:dk2>
        <a:srgbClr val="5E5E5E"/>
      </a:dk2>
      <a:lt2>
        <a:srgbClr val="DDDDDD"/>
      </a:lt2>
      <a:accent1>
        <a:srgbClr val="418AB3"/>
      </a:accent1>
      <a:accent2>
        <a:srgbClr val="A6B727"/>
      </a:accent2>
      <a:accent3>
        <a:srgbClr val="F69200"/>
      </a:accent3>
      <a:accent4>
        <a:srgbClr val="838383"/>
      </a:accent4>
      <a:accent5>
        <a:srgbClr val="FEC306"/>
      </a:accent5>
      <a:accent6>
        <a:srgbClr val="DF5327"/>
      </a:accent6>
      <a:hlink>
        <a:srgbClr val="F59E00"/>
      </a:hlink>
      <a:folHlink>
        <a:srgbClr val="B2B2B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Verre de lait">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9DDFD41AEF010449D0D055600B60DC5" ma:contentTypeVersion="1" ma:contentTypeDescription="Create a new document." ma:contentTypeScope="" ma:versionID="ef287326ae33b33fea4a2afc557ee891">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8C9815E-607A-4654-AC6B-40E8A0B3C807}"/>
</file>

<file path=customXml/itemProps2.xml><?xml version="1.0" encoding="utf-8"?>
<ds:datastoreItem xmlns:ds="http://schemas.openxmlformats.org/officeDocument/2006/customXml" ds:itemID="{CD1606B5-18EE-40D7-8865-67FB27C32393}"/>
</file>

<file path=customXml/itemProps3.xml><?xml version="1.0" encoding="utf-8"?>
<ds:datastoreItem xmlns:ds="http://schemas.openxmlformats.org/officeDocument/2006/customXml" ds:itemID="{785E2FEF-5003-49D0-B5B8-99C7BCCBC186}"/>
</file>

<file path=docProps/app.xml><?xml version="1.0" encoding="utf-8"?>
<Properties xmlns="http://schemas.openxmlformats.org/officeDocument/2006/extended-properties" xmlns:vt="http://schemas.openxmlformats.org/officeDocument/2006/docPropsVTypes">
  <Template/>
  <TotalTime>4798</TotalTime>
  <Words>1515</Words>
  <Application>Microsoft Office PowerPoint</Application>
  <PresentationFormat>Widescreen</PresentationFormat>
  <Paragraphs>365</Paragraphs>
  <Slides>25</Slides>
  <Notes>9</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25</vt:i4>
      </vt:variant>
    </vt:vector>
  </HeadingPairs>
  <TitlesOfParts>
    <vt:vector size="40" baseType="lpstr">
      <vt:lpstr>Arial Unicode MS</vt:lpstr>
      <vt:lpstr>MS PGothic</vt:lpstr>
      <vt:lpstr>MS PGothic</vt:lpstr>
      <vt:lpstr>Arial</vt:lpstr>
      <vt:lpstr>Arial Black</vt:lpstr>
      <vt:lpstr>Calibri</vt:lpstr>
      <vt:lpstr>Calibri Light</vt:lpstr>
      <vt:lpstr>Century Gothic</vt:lpstr>
      <vt:lpstr>Courier New</vt:lpstr>
      <vt:lpstr>Tw Cen MT Condensed</vt:lpstr>
      <vt:lpstr>Wingdings</vt:lpstr>
      <vt:lpstr>Office Theme</vt:lpstr>
      <vt:lpstr>12_Magnus Red 4ENERGY</vt:lpstr>
      <vt:lpstr>1_Thème Office</vt:lpstr>
      <vt:lpstr>think-cell Slide</vt:lpstr>
      <vt:lpstr>Balancing Implementation Projects</vt:lpstr>
      <vt:lpstr>PowerPoint Presentation</vt:lpstr>
      <vt:lpstr>PowerPoint Presentation</vt:lpstr>
      <vt:lpstr>IGCC implem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ICASSO implementation</vt:lpstr>
      <vt:lpstr>PowerPoint Presentation</vt:lpstr>
      <vt:lpstr>PowerPoint Presentation</vt:lpstr>
      <vt:lpstr>PowerPoint Presentation</vt:lpstr>
      <vt:lpstr>PowerPoint Presentation</vt:lpstr>
      <vt:lpstr>PowerPoint Presentation</vt:lpstr>
      <vt:lpstr>MARI implementation</vt:lpstr>
      <vt:lpstr>PowerPoint Presentation</vt:lpstr>
      <vt:lpstr>Focus for the MARI Project</vt:lpstr>
      <vt:lpstr>MARI - Organisation structure</vt:lpstr>
      <vt:lpstr>Allocation of task specific for the MARI platform</vt:lpstr>
      <vt:lpstr>PowerPoint Presentation</vt:lpstr>
      <vt:lpstr>Technical work presently being performed in MARI</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THIS PRESENTATION</dc:title>
  <dc:creator>Ricardo Renedo Williams</dc:creator>
  <cp:keywords>IGCC;IGCC SC</cp:keywords>
  <cp:lastModifiedBy>Alexander Dusolt</cp:lastModifiedBy>
  <cp:revision>568</cp:revision>
  <dcterms:created xsi:type="dcterms:W3CDTF">2018-10-02T08:32:40Z</dcterms:created>
  <dcterms:modified xsi:type="dcterms:W3CDTF">2019-06-27T14:01: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9DDFD41AEF010449D0D055600B60DC5</vt:lpwstr>
  </property>
</Properties>
</file>